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86" r:id="rId2"/>
  </p:sldMasterIdLst>
  <p:sldIdLst>
    <p:sldId id="256" r:id="rId3"/>
    <p:sldId id="258" r:id="rId4"/>
    <p:sldId id="261" r:id="rId5"/>
    <p:sldId id="262" r:id="rId6"/>
    <p:sldId id="267" r:id="rId7"/>
    <p:sldId id="268" r:id="rId8"/>
    <p:sldId id="270" r:id="rId9"/>
  </p:sldIdLst>
  <p:sldSz cx="12192000" cy="6858000"/>
  <p:notesSz cx="6858000" cy="9144000"/>
  <p:custDataLst>
    <p:tags r:id="rId1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оисеева Татьяна Николаевна" initials="МТН" lastIdx="5" clrIdx="0">
    <p:extLst>
      <p:ext uri="{19B8F6BF-5375-455C-9EA6-DF929625EA0E}">
        <p15:presenceInfo xmlns:p15="http://schemas.microsoft.com/office/powerpoint/2012/main" userId="Моисеева Татьяна Никола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1A4"/>
    <a:srgbClr val="0097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98" d="100"/>
          <a:sy n="98" d="100"/>
        </p:scale>
        <p:origin x="72" y="6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image" Target="../media/image1.emf"/><Relationship Id="rId4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w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0490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4" imgW="366" imgH="369" progId="TCLayout.ActiveDocument.1">
                  <p:embed/>
                </p:oleObj>
              </mc:Choice>
              <mc:Fallback>
                <p:oleObj name="think-cell Slide" r:id="rId4" imgW="366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ackGroundTitleSlid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096002" y="3644900"/>
            <a:ext cx="5712884" cy="1801900"/>
          </a:xfrm>
        </p:spPr>
        <p:txBody>
          <a:bodyPr anchor="t">
            <a:noAutofit/>
          </a:bodyPr>
          <a:lstStyle>
            <a:lvl1pPr>
              <a:defRPr sz="12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3117" y="6129705"/>
            <a:ext cx="5232816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675" b="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10527817" y="5860723"/>
            <a:ext cx="1277243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3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35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83119" y="5940871"/>
            <a:ext cx="5232829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5752038"/>
            <a:ext cx="5232829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9" y="5563205"/>
            <a:ext cx="5232829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41" name="TradeSecretEng" hidden="1"/>
          <p:cNvSpPr txBox="1"/>
          <p:nvPr/>
        </p:nvSpPr>
        <p:spPr>
          <a:xfrm>
            <a:off x="9900938" y="176804"/>
            <a:ext cx="698909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en-US" sz="900" b="1" dirty="0" smtClean="0">
                <a:solidFill>
                  <a:schemeClr val="bg2"/>
                </a:solidFill>
              </a:rPr>
              <a:t>Trade Secret</a:t>
            </a:r>
            <a:endParaRPr lang="ru-RU" sz="900" b="1" baseline="0" dirty="0" smtClean="0">
              <a:solidFill>
                <a:schemeClr val="bg2"/>
              </a:solidFill>
            </a:endParaRPr>
          </a:p>
        </p:txBody>
      </p:sp>
      <p:sp>
        <p:nvSpPr>
          <p:cNvPr id="42" name="ConfidentialEng" hidden="1"/>
          <p:cNvSpPr txBox="1"/>
          <p:nvPr/>
        </p:nvSpPr>
        <p:spPr>
          <a:xfrm>
            <a:off x="9916968" y="176804"/>
            <a:ext cx="666849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en-US" sz="900" b="1" dirty="0" smtClean="0">
                <a:solidFill>
                  <a:schemeClr val="bg2"/>
                </a:solidFill>
              </a:rPr>
              <a:t>Confidential</a:t>
            </a:r>
            <a:endParaRPr lang="ru-RU" sz="825" b="1" baseline="0" dirty="0" smtClean="0">
              <a:solidFill>
                <a:schemeClr val="bg2"/>
              </a:solidFill>
            </a:endParaRPr>
          </a:p>
        </p:txBody>
      </p:sp>
      <p:sp>
        <p:nvSpPr>
          <p:cNvPr id="26" name="TradeSecretRus" hidden="1"/>
          <p:cNvSpPr txBox="1"/>
          <p:nvPr/>
        </p:nvSpPr>
        <p:spPr>
          <a:xfrm>
            <a:off x="9657282" y="176804"/>
            <a:ext cx="1186222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ru-RU" sz="900" b="1" dirty="0" smtClean="0">
                <a:solidFill>
                  <a:schemeClr val="bg2"/>
                </a:solidFill>
              </a:rPr>
              <a:t>Коммерческая</a:t>
            </a:r>
            <a:r>
              <a:rPr lang="ru-RU" sz="900" b="1" baseline="0" dirty="0" smtClean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28" name="ConfidentialRus" hidden="1"/>
          <p:cNvSpPr txBox="1"/>
          <p:nvPr/>
        </p:nvSpPr>
        <p:spPr>
          <a:xfrm>
            <a:off x="9711784" y="176804"/>
            <a:ext cx="1077218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ru-RU" sz="900" b="1" dirty="0" smtClean="0">
                <a:solidFill>
                  <a:schemeClr val="bg2"/>
                </a:solidFill>
              </a:rPr>
              <a:t>Конфиденциально</a:t>
            </a:r>
            <a:endParaRPr lang="ru-RU" sz="825" b="1" baseline="0" dirty="0" smtClean="0">
              <a:solidFill>
                <a:schemeClr val="bg2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8653804" y="404665"/>
            <a:ext cx="3193181" cy="3727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675" baseline="0" smtClean="0">
                <a:solidFill>
                  <a:schemeClr val="bg2"/>
                </a:solidFill>
              </a:rPr>
              <a:t>Публичное акционерное </a:t>
            </a:r>
            <a:r>
              <a:rPr lang="ru-RU" sz="675" baseline="0" dirty="0" smtClean="0">
                <a:solidFill>
                  <a:schemeClr val="bg2"/>
                </a:solidFill>
              </a:rPr>
              <a:t>общество</a:t>
            </a:r>
            <a:br>
              <a:rPr lang="ru-RU" sz="675" baseline="0" dirty="0" smtClean="0">
                <a:solidFill>
                  <a:schemeClr val="bg2"/>
                </a:solidFill>
              </a:rPr>
            </a:br>
            <a:r>
              <a:rPr lang="ru-RU" sz="675" baseline="0" dirty="0" smtClean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675" baseline="0" dirty="0" smtClean="0">
                <a:solidFill>
                  <a:schemeClr val="bg2"/>
                </a:solidFill>
              </a:rPr>
            </a:br>
            <a:r>
              <a:rPr lang="ru-RU" sz="675" baseline="0" dirty="0" smtClean="0">
                <a:solidFill>
                  <a:schemeClr val="bg2"/>
                </a:solidFill>
              </a:rPr>
              <a:t>г. Санкт-Петербург, 190000</a:t>
            </a:r>
            <a:endParaRPr lang="ru-RU" sz="675" dirty="0" smtClean="0">
              <a:solidFill>
                <a:schemeClr val="bg2"/>
              </a:solidFill>
            </a:endParaRPr>
          </a:p>
        </p:txBody>
      </p:sp>
      <p:pic>
        <p:nvPicPr>
          <p:cNvPr id="29" name="Logo_GPN_arctic_eng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6749" y="5733256"/>
            <a:ext cx="3102137" cy="579600"/>
          </a:xfrm>
          <a:prstGeom prst="rect">
            <a:avLst/>
          </a:prstGeom>
        </p:spPr>
      </p:pic>
      <p:grpSp>
        <p:nvGrpSpPr>
          <p:cNvPr id="32" name="Logo_GPN_arctic_rus" hidden="1"/>
          <p:cNvGrpSpPr>
            <a:grpSpLocks noChangeAspect="1"/>
          </p:cNvGrpSpPr>
          <p:nvPr/>
        </p:nvGrpSpPr>
        <p:grpSpPr>
          <a:xfrm>
            <a:off x="8588364" y="5733256"/>
            <a:ext cx="3220520" cy="579600"/>
            <a:chOff x="5064695" y="1536503"/>
            <a:chExt cx="3281363" cy="787400"/>
          </a:xfrm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5064695" y="1536503"/>
              <a:ext cx="1506538" cy="787400"/>
            </a:xfrm>
            <a:custGeom>
              <a:avLst/>
              <a:gdLst>
                <a:gd name="T0" fmla="*/ 4579 w 6641"/>
                <a:gd name="T1" fmla="*/ 929 h 3472"/>
                <a:gd name="T2" fmla="*/ 4637 w 6641"/>
                <a:gd name="T3" fmla="*/ 1603 h 3472"/>
                <a:gd name="T4" fmla="*/ 2711 w 6641"/>
                <a:gd name="T5" fmla="*/ 1741 h 3472"/>
                <a:gd name="T6" fmla="*/ 3024 w 6641"/>
                <a:gd name="T7" fmla="*/ 1601 h 3472"/>
                <a:gd name="T8" fmla="*/ 2880 w 6641"/>
                <a:gd name="T9" fmla="*/ 1209 h 3472"/>
                <a:gd name="T10" fmla="*/ 3013 w 6641"/>
                <a:gd name="T11" fmla="*/ 929 h 3472"/>
                <a:gd name="T12" fmla="*/ 2802 w 6641"/>
                <a:gd name="T13" fmla="*/ 879 h 3472"/>
                <a:gd name="T14" fmla="*/ 3103 w 6641"/>
                <a:gd name="T15" fmla="*/ 810 h 3472"/>
                <a:gd name="T16" fmla="*/ 3205 w 6641"/>
                <a:gd name="T17" fmla="*/ 1142 h 3472"/>
                <a:gd name="T18" fmla="*/ 3114 w 6641"/>
                <a:gd name="T19" fmla="*/ 1261 h 3472"/>
                <a:gd name="T20" fmla="*/ 3191 w 6641"/>
                <a:gd name="T21" fmla="*/ 1669 h 3472"/>
                <a:gd name="T22" fmla="*/ 2890 w 6641"/>
                <a:gd name="T23" fmla="*/ 1738 h 3472"/>
                <a:gd name="T24" fmla="*/ 2969 w 6641"/>
                <a:gd name="T25" fmla="*/ 1414 h 3472"/>
                <a:gd name="T26" fmla="*/ 4213 w 6641"/>
                <a:gd name="T27" fmla="*/ 1413 h 3472"/>
                <a:gd name="T28" fmla="*/ 4292 w 6641"/>
                <a:gd name="T29" fmla="*/ 921 h 3472"/>
                <a:gd name="T30" fmla="*/ 5381 w 6641"/>
                <a:gd name="T31" fmla="*/ 808 h 3472"/>
                <a:gd name="T32" fmla="*/ 1482 w 6641"/>
                <a:gd name="T33" fmla="*/ 1009 h 3472"/>
                <a:gd name="T34" fmla="*/ 1327 w 6641"/>
                <a:gd name="T35" fmla="*/ 489 h 3472"/>
                <a:gd name="T36" fmla="*/ 1118 w 6641"/>
                <a:gd name="T37" fmla="*/ 959 h 3472"/>
                <a:gd name="T38" fmla="*/ 1123 w 6641"/>
                <a:gd name="T39" fmla="*/ 543 h 3472"/>
                <a:gd name="T40" fmla="*/ 1405 w 6641"/>
                <a:gd name="T41" fmla="*/ 387 h 3472"/>
                <a:gd name="T42" fmla="*/ 959 w 6641"/>
                <a:gd name="T43" fmla="*/ 2014 h 3472"/>
                <a:gd name="T44" fmla="*/ 1188 w 6641"/>
                <a:gd name="T45" fmla="*/ 1963 h 3472"/>
                <a:gd name="T46" fmla="*/ 1369 w 6641"/>
                <a:gd name="T47" fmla="*/ 2119 h 3472"/>
                <a:gd name="T48" fmla="*/ 1352 w 6641"/>
                <a:gd name="T49" fmla="*/ 2351 h 3472"/>
                <a:gd name="T50" fmla="*/ 1110 w 6641"/>
                <a:gd name="T51" fmla="*/ 2528 h 3472"/>
                <a:gd name="T52" fmla="*/ 648 w 6641"/>
                <a:gd name="T53" fmla="*/ 2471 h 3472"/>
                <a:gd name="T54" fmla="*/ 416 w 6641"/>
                <a:gd name="T55" fmla="*/ 2104 h 3472"/>
                <a:gd name="T56" fmla="*/ 531 w 6641"/>
                <a:gd name="T57" fmla="*/ 1703 h 3472"/>
                <a:gd name="T58" fmla="*/ 937 w 6641"/>
                <a:gd name="T59" fmla="*/ 813 h 3472"/>
                <a:gd name="T60" fmla="*/ 186 w 6641"/>
                <a:gd name="T61" fmla="*/ 1186 h 3472"/>
                <a:gd name="T62" fmla="*/ 42 w 6641"/>
                <a:gd name="T63" fmla="*/ 2020 h 3472"/>
                <a:gd name="T64" fmla="*/ 616 w 6641"/>
                <a:gd name="T65" fmla="*/ 2616 h 3472"/>
                <a:gd name="T66" fmla="*/ 1228 w 6641"/>
                <a:gd name="T67" fmla="*/ 2628 h 3472"/>
                <a:gd name="T68" fmla="*/ 1605 w 6641"/>
                <a:gd name="T69" fmla="*/ 2395 h 3472"/>
                <a:gd name="T70" fmla="*/ 5322 w 6641"/>
                <a:gd name="T71" fmla="*/ 2557 h 3472"/>
                <a:gd name="T72" fmla="*/ 5444 w 6641"/>
                <a:gd name="T73" fmla="*/ 2372 h 3472"/>
                <a:gd name="T74" fmla="*/ 4655 w 6641"/>
                <a:gd name="T75" fmla="*/ 2229 h 3472"/>
                <a:gd name="T76" fmla="*/ 3790 w 6641"/>
                <a:gd name="T77" fmla="*/ 2557 h 3472"/>
                <a:gd name="T78" fmla="*/ 3562 w 6641"/>
                <a:gd name="T79" fmla="*/ 2286 h 3472"/>
                <a:gd name="T80" fmla="*/ 3790 w 6641"/>
                <a:gd name="T81" fmla="*/ 2182 h 3472"/>
                <a:gd name="T82" fmla="*/ 3065 w 6641"/>
                <a:gd name="T83" fmla="*/ 2229 h 3472"/>
                <a:gd name="T84" fmla="*/ 2040 w 6641"/>
                <a:gd name="T85" fmla="*/ 2557 h 3472"/>
                <a:gd name="T86" fmla="*/ 3657 w 6641"/>
                <a:gd name="T87" fmla="*/ 2434 h 3472"/>
                <a:gd name="T88" fmla="*/ 5304 w 6641"/>
                <a:gd name="T89" fmla="*/ 2380 h 3472"/>
                <a:gd name="T90" fmla="*/ 5324 w 6641"/>
                <a:gd name="T91" fmla="*/ 2380 h 3472"/>
                <a:gd name="T92" fmla="*/ 3823 w 6641"/>
                <a:gd name="T93" fmla="*/ 2256 h 3472"/>
                <a:gd name="T94" fmla="*/ 1213 w 6641"/>
                <a:gd name="T95" fmla="*/ 1266 h 3472"/>
                <a:gd name="T96" fmla="*/ 1352 w 6641"/>
                <a:gd name="T97" fmla="*/ 1226 h 3472"/>
                <a:gd name="T98" fmla="*/ 1480 w 6641"/>
                <a:gd name="T99" fmla="*/ 392 h 3472"/>
                <a:gd name="T100" fmla="*/ 1121 w 6641"/>
                <a:gd name="T101" fmla="*/ 314 h 3472"/>
                <a:gd name="T102" fmla="*/ 1033 w 6641"/>
                <a:gd name="T103" fmla="*/ 1029 h 3472"/>
                <a:gd name="T104" fmla="*/ 1270 w 6641"/>
                <a:gd name="T105" fmla="*/ 1666 h 3472"/>
                <a:gd name="T106" fmla="*/ 1536 w 6641"/>
                <a:gd name="T107" fmla="*/ 1057 h 3472"/>
                <a:gd name="T108" fmla="*/ 4050 w 6641"/>
                <a:gd name="T109" fmla="*/ 924 h 3472"/>
                <a:gd name="T110" fmla="*/ 4050 w 6641"/>
                <a:gd name="T111" fmla="*/ 1321 h 3472"/>
                <a:gd name="T112" fmla="*/ 4438 w 6641"/>
                <a:gd name="T113" fmla="*/ 834 h 3472"/>
                <a:gd name="T114" fmla="*/ 4428 w 6641"/>
                <a:gd name="T115" fmla="*/ 1705 h 3472"/>
                <a:gd name="T116" fmla="*/ 4734 w 6641"/>
                <a:gd name="T117" fmla="*/ 1731 h 3472"/>
                <a:gd name="T118" fmla="*/ 4799 w 6641"/>
                <a:gd name="T119" fmla="*/ 893 h 3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41" h="3472">
                  <a:moveTo>
                    <a:pt x="4600" y="1626"/>
                  </a:moveTo>
                  <a:lnTo>
                    <a:pt x="4591" y="1625"/>
                  </a:lnTo>
                  <a:lnTo>
                    <a:pt x="4584" y="1622"/>
                  </a:lnTo>
                  <a:lnTo>
                    <a:pt x="4578" y="1619"/>
                  </a:lnTo>
                  <a:lnTo>
                    <a:pt x="4572" y="1614"/>
                  </a:lnTo>
                  <a:lnTo>
                    <a:pt x="4566" y="1609"/>
                  </a:lnTo>
                  <a:lnTo>
                    <a:pt x="4563" y="1603"/>
                  </a:lnTo>
                  <a:lnTo>
                    <a:pt x="4560" y="1596"/>
                  </a:lnTo>
                  <a:lnTo>
                    <a:pt x="4559" y="1588"/>
                  </a:lnTo>
                  <a:lnTo>
                    <a:pt x="4560" y="1587"/>
                  </a:lnTo>
                  <a:lnTo>
                    <a:pt x="4560" y="1587"/>
                  </a:lnTo>
                  <a:lnTo>
                    <a:pt x="4560" y="962"/>
                  </a:lnTo>
                  <a:lnTo>
                    <a:pt x="4560" y="959"/>
                  </a:lnTo>
                  <a:lnTo>
                    <a:pt x="4560" y="957"/>
                  </a:lnTo>
                  <a:lnTo>
                    <a:pt x="4562" y="950"/>
                  </a:lnTo>
                  <a:lnTo>
                    <a:pt x="4564" y="943"/>
                  </a:lnTo>
                  <a:lnTo>
                    <a:pt x="4568" y="938"/>
                  </a:lnTo>
                  <a:lnTo>
                    <a:pt x="4573" y="933"/>
                  </a:lnTo>
                  <a:lnTo>
                    <a:pt x="4579" y="929"/>
                  </a:lnTo>
                  <a:lnTo>
                    <a:pt x="4586" y="926"/>
                  </a:lnTo>
                  <a:lnTo>
                    <a:pt x="4592" y="924"/>
                  </a:lnTo>
                  <a:lnTo>
                    <a:pt x="4599" y="924"/>
                  </a:lnTo>
                  <a:lnTo>
                    <a:pt x="4607" y="924"/>
                  </a:lnTo>
                  <a:lnTo>
                    <a:pt x="4614" y="926"/>
                  </a:lnTo>
                  <a:lnTo>
                    <a:pt x="4621" y="929"/>
                  </a:lnTo>
                  <a:lnTo>
                    <a:pt x="4627" y="933"/>
                  </a:lnTo>
                  <a:lnTo>
                    <a:pt x="4631" y="938"/>
                  </a:lnTo>
                  <a:lnTo>
                    <a:pt x="4635" y="943"/>
                  </a:lnTo>
                  <a:lnTo>
                    <a:pt x="4638" y="950"/>
                  </a:lnTo>
                  <a:lnTo>
                    <a:pt x="4639" y="957"/>
                  </a:lnTo>
                  <a:lnTo>
                    <a:pt x="4639" y="959"/>
                  </a:lnTo>
                  <a:lnTo>
                    <a:pt x="4639" y="960"/>
                  </a:lnTo>
                  <a:lnTo>
                    <a:pt x="4639" y="962"/>
                  </a:lnTo>
                  <a:lnTo>
                    <a:pt x="4639" y="1587"/>
                  </a:lnTo>
                  <a:lnTo>
                    <a:pt x="4639" y="1587"/>
                  </a:lnTo>
                  <a:lnTo>
                    <a:pt x="4639" y="1588"/>
                  </a:lnTo>
                  <a:lnTo>
                    <a:pt x="4639" y="1596"/>
                  </a:lnTo>
                  <a:lnTo>
                    <a:pt x="4637" y="1603"/>
                  </a:lnTo>
                  <a:lnTo>
                    <a:pt x="4632" y="1609"/>
                  </a:lnTo>
                  <a:lnTo>
                    <a:pt x="4628" y="1614"/>
                  </a:lnTo>
                  <a:lnTo>
                    <a:pt x="4622" y="1619"/>
                  </a:lnTo>
                  <a:lnTo>
                    <a:pt x="4615" y="1622"/>
                  </a:lnTo>
                  <a:lnTo>
                    <a:pt x="4608" y="1625"/>
                  </a:lnTo>
                  <a:lnTo>
                    <a:pt x="4600" y="1626"/>
                  </a:lnTo>
                  <a:close/>
                  <a:moveTo>
                    <a:pt x="1872" y="808"/>
                  </a:moveTo>
                  <a:lnTo>
                    <a:pt x="2215" y="808"/>
                  </a:lnTo>
                  <a:lnTo>
                    <a:pt x="2215" y="924"/>
                  </a:lnTo>
                  <a:lnTo>
                    <a:pt x="2051" y="924"/>
                  </a:lnTo>
                  <a:lnTo>
                    <a:pt x="2051" y="1741"/>
                  </a:lnTo>
                  <a:lnTo>
                    <a:pt x="1872" y="1741"/>
                  </a:lnTo>
                  <a:lnTo>
                    <a:pt x="1872" y="808"/>
                  </a:lnTo>
                  <a:close/>
                  <a:moveTo>
                    <a:pt x="2241" y="1741"/>
                  </a:moveTo>
                  <a:lnTo>
                    <a:pt x="2417" y="1741"/>
                  </a:lnTo>
                  <a:lnTo>
                    <a:pt x="2434" y="1493"/>
                  </a:lnTo>
                  <a:lnTo>
                    <a:pt x="2518" y="1493"/>
                  </a:lnTo>
                  <a:lnTo>
                    <a:pt x="2536" y="1741"/>
                  </a:lnTo>
                  <a:lnTo>
                    <a:pt x="2711" y="1741"/>
                  </a:lnTo>
                  <a:lnTo>
                    <a:pt x="2618" y="808"/>
                  </a:lnTo>
                  <a:lnTo>
                    <a:pt x="2335" y="808"/>
                  </a:lnTo>
                  <a:lnTo>
                    <a:pt x="2241" y="1741"/>
                  </a:lnTo>
                  <a:close/>
                  <a:moveTo>
                    <a:pt x="2969" y="1414"/>
                  </a:moveTo>
                  <a:lnTo>
                    <a:pt x="2969" y="1589"/>
                  </a:lnTo>
                  <a:lnTo>
                    <a:pt x="2970" y="1597"/>
                  </a:lnTo>
                  <a:lnTo>
                    <a:pt x="2972" y="1604"/>
                  </a:lnTo>
                  <a:lnTo>
                    <a:pt x="2975" y="1610"/>
                  </a:lnTo>
                  <a:lnTo>
                    <a:pt x="2979" y="1614"/>
                  </a:lnTo>
                  <a:lnTo>
                    <a:pt x="2984" y="1617"/>
                  </a:lnTo>
                  <a:lnTo>
                    <a:pt x="2988" y="1619"/>
                  </a:lnTo>
                  <a:lnTo>
                    <a:pt x="2993" y="1620"/>
                  </a:lnTo>
                  <a:lnTo>
                    <a:pt x="2997" y="1620"/>
                  </a:lnTo>
                  <a:lnTo>
                    <a:pt x="3003" y="1620"/>
                  </a:lnTo>
                  <a:lnTo>
                    <a:pt x="3009" y="1618"/>
                  </a:lnTo>
                  <a:lnTo>
                    <a:pt x="3013" y="1614"/>
                  </a:lnTo>
                  <a:lnTo>
                    <a:pt x="3018" y="1611"/>
                  </a:lnTo>
                  <a:lnTo>
                    <a:pt x="3020" y="1606"/>
                  </a:lnTo>
                  <a:lnTo>
                    <a:pt x="3024" y="1601"/>
                  </a:lnTo>
                  <a:lnTo>
                    <a:pt x="3025" y="1595"/>
                  </a:lnTo>
                  <a:lnTo>
                    <a:pt x="3025" y="1589"/>
                  </a:lnTo>
                  <a:lnTo>
                    <a:pt x="3025" y="1372"/>
                  </a:lnTo>
                  <a:lnTo>
                    <a:pt x="3025" y="1362"/>
                  </a:lnTo>
                  <a:lnTo>
                    <a:pt x="3024" y="1351"/>
                  </a:lnTo>
                  <a:lnTo>
                    <a:pt x="3022" y="1345"/>
                  </a:lnTo>
                  <a:lnTo>
                    <a:pt x="3020" y="1341"/>
                  </a:lnTo>
                  <a:lnTo>
                    <a:pt x="3018" y="1336"/>
                  </a:lnTo>
                  <a:lnTo>
                    <a:pt x="3014" y="1332"/>
                  </a:lnTo>
                  <a:lnTo>
                    <a:pt x="3010" y="1327"/>
                  </a:lnTo>
                  <a:lnTo>
                    <a:pt x="3005" y="1324"/>
                  </a:lnTo>
                  <a:lnTo>
                    <a:pt x="3000" y="1320"/>
                  </a:lnTo>
                  <a:lnTo>
                    <a:pt x="2993" y="1317"/>
                  </a:lnTo>
                  <a:lnTo>
                    <a:pt x="2985" y="1314"/>
                  </a:lnTo>
                  <a:lnTo>
                    <a:pt x="2976" y="1313"/>
                  </a:lnTo>
                  <a:lnTo>
                    <a:pt x="2965" y="1312"/>
                  </a:lnTo>
                  <a:lnTo>
                    <a:pt x="2953" y="1312"/>
                  </a:lnTo>
                  <a:lnTo>
                    <a:pt x="2880" y="1312"/>
                  </a:lnTo>
                  <a:lnTo>
                    <a:pt x="2880" y="1209"/>
                  </a:lnTo>
                  <a:lnTo>
                    <a:pt x="2955" y="1209"/>
                  </a:lnTo>
                  <a:lnTo>
                    <a:pt x="2973" y="1209"/>
                  </a:lnTo>
                  <a:lnTo>
                    <a:pt x="2988" y="1207"/>
                  </a:lnTo>
                  <a:lnTo>
                    <a:pt x="2995" y="1204"/>
                  </a:lnTo>
                  <a:lnTo>
                    <a:pt x="3001" y="1202"/>
                  </a:lnTo>
                  <a:lnTo>
                    <a:pt x="3005" y="1200"/>
                  </a:lnTo>
                  <a:lnTo>
                    <a:pt x="3010" y="1196"/>
                  </a:lnTo>
                  <a:lnTo>
                    <a:pt x="3013" y="1192"/>
                  </a:lnTo>
                  <a:lnTo>
                    <a:pt x="3017" y="1187"/>
                  </a:lnTo>
                  <a:lnTo>
                    <a:pt x="3019" y="1182"/>
                  </a:lnTo>
                  <a:lnTo>
                    <a:pt x="3021" y="1175"/>
                  </a:lnTo>
                  <a:lnTo>
                    <a:pt x="3025" y="1159"/>
                  </a:lnTo>
                  <a:lnTo>
                    <a:pt x="3025" y="1140"/>
                  </a:lnTo>
                  <a:lnTo>
                    <a:pt x="3025" y="954"/>
                  </a:lnTo>
                  <a:lnTo>
                    <a:pt x="3025" y="949"/>
                  </a:lnTo>
                  <a:lnTo>
                    <a:pt x="3024" y="943"/>
                  </a:lnTo>
                  <a:lnTo>
                    <a:pt x="3020" y="937"/>
                  </a:lnTo>
                  <a:lnTo>
                    <a:pt x="3018" y="933"/>
                  </a:lnTo>
                  <a:lnTo>
                    <a:pt x="3013" y="929"/>
                  </a:lnTo>
                  <a:lnTo>
                    <a:pt x="3009" y="926"/>
                  </a:lnTo>
                  <a:lnTo>
                    <a:pt x="3003" y="925"/>
                  </a:lnTo>
                  <a:lnTo>
                    <a:pt x="2997" y="924"/>
                  </a:lnTo>
                  <a:lnTo>
                    <a:pt x="2993" y="924"/>
                  </a:lnTo>
                  <a:lnTo>
                    <a:pt x="2988" y="925"/>
                  </a:lnTo>
                  <a:lnTo>
                    <a:pt x="2984" y="927"/>
                  </a:lnTo>
                  <a:lnTo>
                    <a:pt x="2979" y="930"/>
                  </a:lnTo>
                  <a:lnTo>
                    <a:pt x="2975" y="934"/>
                  </a:lnTo>
                  <a:lnTo>
                    <a:pt x="2972" y="940"/>
                  </a:lnTo>
                  <a:lnTo>
                    <a:pt x="2970" y="946"/>
                  </a:lnTo>
                  <a:lnTo>
                    <a:pt x="2969" y="954"/>
                  </a:lnTo>
                  <a:lnTo>
                    <a:pt x="2969" y="1107"/>
                  </a:lnTo>
                  <a:lnTo>
                    <a:pt x="2789" y="1107"/>
                  </a:lnTo>
                  <a:lnTo>
                    <a:pt x="2789" y="975"/>
                  </a:lnTo>
                  <a:lnTo>
                    <a:pt x="2790" y="949"/>
                  </a:lnTo>
                  <a:lnTo>
                    <a:pt x="2792" y="921"/>
                  </a:lnTo>
                  <a:lnTo>
                    <a:pt x="2794" y="907"/>
                  </a:lnTo>
                  <a:lnTo>
                    <a:pt x="2798" y="893"/>
                  </a:lnTo>
                  <a:lnTo>
                    <a:pt x="2802" y="879"/>
                  </a:lnTo>
                  <a:lnTo>
                    <a:pt x="2808" y="867"/>
                  </a:lnTo>
                  <a:lnTo>
                    <a:pt x="2816" y="854"/>
                  </a:lnTo>
                  <a:lnTo>
                    <a:pt x="2825" y="843"/>
                  </a:lnTo>
                  <a:lnTo>
                    <a:pt x="2830" y="838"/>
                  </a:lnTo>
                  <a:lnTo>
                    <a:pt x="2835" y="834"/>
                  </a:lnTo>
                  <a:lnTo>
                    <a:pt x="2842" y="829"/>
                  </a:lnTo>
                  <a:lnTo>
                    <a:pt x="2848" y="825"/>
                  </a:lnTo>
                  <a:lnTo>
                    <a:pt x="2856" y="821"/>
                  </a:lnTo>
                  <a:lnTo>
                    <a:pt x="2864" y="818"/>
                  </a:lnTo>
                  <a:lnTo>
                    <a:pt x="2872" y="815"/>
                  </a:lnTo>
                  <a:lnTo>
                    <a:pt x="2881" y="812"/>
                  </a:lnTo>
                  <a:lnTo>
                    <a:pt x="2890" y="810"/>
                  </a:lnTo>
                  <a:lnTo>
                    <a:pt x="2900" y="809"/>
                  </a:lnTo>
                  <a:lnTo>
                    <a:pt x="2911" y="808"/>
                  </a:lnTo>
                  <a:lnTo>
                    <a:pt x="2922" y="808"/>
                  </a:lnTo>
                  <a:lnTo>
                    <a:pt x="3071" y="808"/>
                  </a:lnTo>
                  <a:lnTo>
                    <a:pt x="3083" y="808"/>
                  </a:lnTo>
                  <a:lnTo>
                    <a:pt x="3094" y="809"/>
                  </a:lnTo>
                  <a:lnTo>
                    <a:pt x="3103" y="810"/>
                  </a:lnTo>
                  <a:lnTo>
                    <a:pt x="3114" y="812"/>
                  </a:lnTo>
                  <a:lnTo>
                    <a:pt x="3123" y="815"/>
                  </a:lnTo>
                  <a:lnTo>
                    <a:pt x="3131" y="818"/>
                  </a:lnTo>
                  <a:lnTo>
                    <a:pt x="3139" y="821"/>
                  </a:lnTo>
                  <a:lnTo>
                    <a:pt x="3146" y="825"/>
                  </a:lnTo>
                  <a:lnTo>
                    <a:pt x="3152" y="829"/>
                  </a:lnTo>
                  <a:lnTo>
                    <a:pt x="3158" y="834"/>
                  </a:lnTo>
                  <a:lnTo>
                    <a:pt x="3164" y="838"/>
                  </a:lnTo>
                  <a:lnTo>
                    <a:pt x="3169" y="843"/>
                  </a:lnTo>
                  <a:lnTo>
                    <a:pt x="3179" y="854"/>
                  </a:lnTo>
                  <a:lnTo>
                    <a:pt x="3185" y="867"/>
                  </a:lnTo>
                  <a:lnTo>
                    <a:pt x="3191" y="879"/>
                  </a:lnTo>
                  <a:lnTo>
                    <a:pt x="3196" y="893"/>
                  </a:lnTo>
                  <a:lnTo>
                    <a:pt x="3199" y="907"/>
                  </a:lnTo>
                  <a:lnTo>
                    <a:pt x="3201" y="921"/>
                  </a:lnTo>
                  <a:lnTo>
                    <a:pt x="3205" y="949"/>
                  </a:lnTo>
                  <a:lnTo>
                    <a:pt x="3205" y="975"/>
                  </a:lnTo>
                  <a:lnTo>
                    <a:pt x="3205" y="1124"/>
                  </a:lnTo>
                  <a:lnTo>
                    <a:pt x="3205" y="1142"/>
                  </a:lnTo>
                  <a:lnTo>
                    <a:pt x="3203" y="1159"/>
                  </a:lnTo>
                  <a:lnTo>
                    <a:pt x="3198" y="1174"/>
                  </a:lnTo>
                  <a:lnTo>
                    <a:pt x="3193" y="1187"/>
                  </a:lnTo>
                  <a:lnTo>
                    <a:pt x="3188" y="1199"/>
                  </a:lnTo>
                  <a:lnTo>
                    <a:pt x="3181" y="1209"/>
                  </a:lnTo>
                  <a:lnTo>
                    <a:pt x="3173" y="1218"/>
                  </a:lnTo>
                  <a:lnTo>
                    <a:pt x="3164" y="1226"/>
                  </a:lnTo>
                  <a:lnTo>
                    <a:pt x="3155" y="1233"/>
                  </a:lnTo>
                  <a:lnTo>
                    <a:pt x="3146" y="1238"/>
                  </a:lnTo>
                  <a:lnTo>
                    <a:pt x="3135" y="1243"/>
                  </a:lnTo>
                  <a:lnTo>
                    <a:pt x="3125" y="1246"/>
                  </a:lnTo>
                  <a:lnTo>
                    <a:pt x="3115" y="1249"/>
                  </a:lnTo>
                  <a:lnTo>
                    <a:pt x="3103" y="1250"/>
                  </a:lnTo>
                  <a:lnTo>
                    <a:pt x="3093" y="1251"/>
                  </a:lnTo>
                  <a:lnTo>
                    <a:pt x="3083" y="1251"/>
                  </a:lnTo>
                  <a:lnTo>
                    <a:pt x="3083" y="1260"/>
                  </a:lnTo>
                  <a:lnTo>
                    <a:pt x="3094" y="1260"/>
                  </a:lnTo>
                  <a:lnTo>
                    <a:pt x="3104" y="1260"/>
                  </a:lnTo>
                  <a:lnTo>
                    <a:pt x="3114" y="1261"/>
                  </a:lnTo>
                  <a:lnTo>
                    <a:pt x="3123" y="1263"/>
                  </a:lnTo>
                  <a:lnTo>
                    <a:pt x="3139" y="1268"/>
                  </a:lnTo>
                  <a:lnTo>
                    <a:pt x="3152" y="1274"/>
                  </a:lnTo>
                  <a:lnTo>
                    <a:pt x="3165" y="1282"/>
                  </a:lnTo>
                  <a:lnTo>
                    <a:pt x="3174" y="1289"/>
                  </a:lnTo>
                  <a:lnTo>
                    <a:pt x="3183" y="1300"/>
                  </a:lnTo>
                  <a:lnTo>
                    <a:pt x="3189" y="1310"/>
                  </a:lnTo>
                  <a:lnTo>
                    <a:pt x="3195" y="1320"/>
                  </a:lnTo>
                  <a:lnTo>
                    <a:pt x="3198" y="1330"/>
                  </a:lnTo>
                  <a:lnTo>
                    <a:pt x="3201" y="1342"/>
                  </a:lnTo>
                  <a:lnTo>
                    <a:pt x="3203" y="1352"/>
                  </a:lnTo>
                  <a:lnTo>
                    <a:pt x="3205" y="1371"/>
                  </a:lnTo>
                  <a:lnTo>
                    <a:pt x="3205" y="1386"/>
                  </a:lnTo>
                  <a:lnTo>
                    <a:pt x="3205" y="1574"/>
                  </a:lnTo>
                  <a:lnTo>
                    <a:pt x="3205" y="1600"/>
                  </a:lnTo>
                  <a:lnTo>
                    <a:pt x="3201" y="1628"/>
                  </a:lnTo>
                  <a:lnTo>
                    <a:pt x="3199" y="1642"/>
                  </a:lnTo>
                  <a:lnTo>
                    <a:pt x="3196" y="1655"/>
                  </a:lnTo>
                  <a:lnTo>
                    <a:pt x="3191" y="1669"/>
                  </a:lnTo>
                  <a:lnTo>
                    <a:pt x="3185" y="1681"/>
                  </a:lnTo>
                  <a:lnTo>
                    <a:pt x="3179" y="1694"/>
                  </a:lnTo>
                  <a:lnTo>
                    <a:pt x="3169" y="1705"/>
                  </a:lnTo>
                  <a:lnTo>
                    <a:pt x="3164" y="1710"/>
                  </a:lnTo>
                  <a:lnTo>
                    <a:pt x="3158" y="1716"/>
                  </a:lnTo>
                  <a:lnTo>
                    <a:pt x="3152" y="1720"/>
                  </a:lnTo>
                  <a:lnTo>
                    <a:pt x="3146" y="1723"/>
                  </a:lnTo>
                  <a:lnTo>
                    <a:pt x="3139" y="1728"/>
                  </a:lnTo>
                  <a:lnTo>
                    <a:pt x="3131" y="1731"/>
                  </a:lnTo>
                  <a:lnTo>
                    <a:pt x="3123" y="1734"/>
                  </a:lnTo>
                  <a:lnTo>
                    <a:pt x="3114" y="1736"/>
                  </a:lnTo>
                  <a:lnTo>
                    <a:pt x="3103" y="1738"/>
                  </a:lnTo>
                  <a:lnTo>
                    <a:pt x="3094" y="1739"/>
                  </a:lnTo>
                  <a:lnTo>
                    <a:pt x="3083" y="1741"/>
                  </a:lnTo>
                  <a:lnTo>
                    <a:pt x="3071" y="1741"/>
                  </a:lnTo>
                  <a:lnTo>
                    <a:pt x="2922" y="1741"/>
                  </a:lnTo>
                  <a:lnTo>
                    <a:pt x="2911" y="1741"/>
                  </a:lnTo>
                  <a:lnTo>
                    <a:pt x="2900" y="1739"/>
                  </a:lnTo>
                  <a:lnTo>
                    <a:pt x="2890" y="1738"/>
                  </a:lnTo>
                  <a:lnTo>
                    <a:pt x="2881" y="1736"/>
                  </a:lnTo>
                  <a:lnTo>
                    <a:pt x="2872" y="1734"/>
                  </a:lnTo>
                  <a:lnTo>
                    <a:pt x="2864" y="1731"/>
                  </a:lnTo>
                  <a:lnTo>
                    <a:pt x="2856" y="1728"/>
                  </a:lnTo>
                  <a:lnTo>
                    <a:pt x="2848" y="1723"/>
                  </a:lnTo>
                  <a:lnTo>
                    <a:pt x="2842" y="1720"/>
                  </a:lnTo>
                  <a:lnTo>
                    <a:pt x="2835" y="1716"/>
                  </a:lnTo>
                  <a:lnTo>
                    <a:pt x="2830" y="1710"/>
                  </a:lnTo>
                  <a:lnTo>
                    <a:pt x="2825" y="1705"/>
                  </a:lnTo>
                  <a:lnTo>
                    <a:pt x="2816" y="1694"/>
                  </a:lnTo>
                  <a:lnTo>
                    <a:pt x="2808" y="1681"/>
                  </a:lnTo>
                  <a:lnTo>
                    <a:pt x="2802" y="1669"/>
                  </a:lnTo>
                  <a:lnTo>
                    <a:pt x="2798" y="1655"/>
                  </a:lnTo>
                  <a:lnTo>
                    <a:pt x="2794" y="1642"/>
                  </a:lnTo>
                  <a:lnTo>
                    <a:pt x="2792" y="1628"/>
                  </a:lnTo>
                  <a:lnTo>
                    <a:pt x="2790" y="1600"/>
                  </a:lnTo>
                  <a:lnTo>
                    <a:pt x="2789" y="1574"/>
                  </a:lnTo>
                  <a:lnTo>
                    <a:pt x="2789" y="1414"/>
                  </a:lnTo>
                  <a:lnTo>
                    <a:pt x="2969" y="1414"/>
                  </a:lnTo>
                  <a:close/>
                  <a:moveTo>
                    <a:pt x="3323" y="808"/>
                  </a:moveTo>
                  <a:lnTo>
                    <a:pt x="3740" y="808"/>
                  </a:lnTo>
                  <a:lnTo>
                    <a:pt x="3740" y="1741"/>
                  </a:lnTo>
                  <a:lnTo>
                    <a:pt x="3572" y="1741"/>
                  </a:lnTo>
                  <a:lnTo>
                    <a:pt x="3572" y="924"/>
                  </a:lnTo>
                  <a:lnTo>
                    <a:pt x="3491" y="924"/>
                  </a:lnTo>
                  <a:lnTo>
                    <a:pt x="3491" y="1741"/>
                  </a:lnTo>
                  <a:lnTo>
                    <a:pt x="3323" y="1741"/>
                  </a:lnTo>
                  <a:lnTo>
                    <a:pt x="3323" y="808"/>
                  </a:lnTo>
                  <a:close/>
                  <a:moveTo>
                    <a:pt x="3870" y="1741"/>
                  </a:moveTo>
                  <a:lnTo>
                    <a:pt x="4050" y="1741"/>
                  </a:lnTo>
                  <a:lnTo>
                    <a:pt x="4050" y="1424"/>
                  </a:lnTo>
                  <a:lnTo>
                    <a:pt x="4152" y="1424"/>
                  </a:lnTo>
                  <a:lnTo>
                    <a:pt x="4164" y="1424"/>
                  </a:lnTo>
                  <a:lnTo>
                    <a:pt x="4174" y="1422"/>
                  </a:lnTo>
                  <a:lnTo>
                    <a:pt x="4184" y="1421"/>
                  </a:lnTo>
                  <a:lnTo>
                    <a:pt x="4194" y="1419"/>
                  </a:lnTo>
                  <a:lnTo>
                    <a:pt x="4204" y="1417"/>
                  </a:lnTo>
                  <a:lnTo>
                    <a:pt x="4213" y="1413"/>
                  </a:lnTo>
                  <a:lnTo>
                    <a:pt x="4221" y="1411"/>
                  </a:lnTo>
                  <a:lnTo>
                    <a:pt x="4228" y="1407"/>
                  </a:lnTo>
                  <a:lnTo>
                    <a:pt x="4241" y="1399"/>
                  </a:lnTo>
                  <a:lnTo>
                    <a:pt x="4254" y="1388"/>
                  </a:lnTo>
                  <a:lnTo>
                    <a:pt x="4264" y="1377"/>
                  </a:lnTo>
                  <a:lnTo>
                    <a:pt x="4272" y="1364"/>
                  </a:lnTo>
                  <a:lnTo>
                    <a:pt x="4279" y="1352"/>
                  </a:lnTo>
                  <a:lnTo>
                    <a:pt x="4285" y="1338"/>
                  </a:lnTo>
                  <a:lnTo>
                    <a:pt x="4289" y="1325"/>
                  </a:lnTo>
                  <a:lnTo>
                    <a:pt x="4292" y="1311"/>
                  </a:lnTo>
                  <a:lnTo>
                    <a:pt x="4295" y="1296"/>
                  </a:lnTo>
                  <a:lnTo>
                    <a:pt x="4297" y="1283"/>
                  </a:lnTo>
                  <a:lnTo>
                    <a:pt x="4298" y="1269"/>
                  </a:lnTo>
                  <a:lnTo>
                    <a:pt x="4298" y="1257"/>
                  </a:lnTo>
                  <a:lnTo>
                    <a:pt x="4298" y="975"/>
                  </a:lnTo>
                  <a:lnTo>
                    <a:pt x="4298" y="962"/>
                  </a:lnTo>
                  <a:lnTo>
                    <a:pt x="4297" y="949"/>
                  </a:lnTo>
                  <a:lnTo>
                    <a:pt x="4295" y="935"/>
                  </a:lnTo>
                  <a:lnTo>
                    <a:pt x="4292" y="921"/>
                  </a:lnTo>
                  <a:lnTo>
                    <a:pt x="4289" y="907"/>
                  </a:lnTo>
                  <a:lnTo>
                    <a:pt x="4285" y="893"/>
                  </a:lnTo>
                  <a:lnTo>
                    <a:pt x="4279" y="879"/>
                  </a:lnTo>
                  <a:lnTo>
                    <a:pt x="4272" y="867"/>
                  </a:lnTo>
                  <a:lnTo>
                    <a:pt x="4264" y="854"/>
                  </a:lnTo>
                  <a:lnTo>
                    <a:pt x="4254" y="843"/>
                  </a:lnTo>
                  <a:lnTo>
                    <a:pt x="4241" y="834"/>
                  </a:lnTo>
                  <a:lnTo>
                    <a:pt x="4228" y="825"/>
                  </a:lnTo>
                  <a:lnTo>
                    <a:pt x="4221" y="821"/>
                  </a:lnTo>
                  <a:lnTo>
                    <a:pt x="4213" y="818"/>
                  </a:lnTo>
                  <a:lnTo>
                    <a:pt x="4204" y="815"/>
                  </a:lnTo>
                  <a:lnTo>
                    <a:pt x="4194" y="812"/>
                  </a:lnTo>
                  <a:lnTo>
                    <a:pt x="4184" y="810"/>
                  </a:lnTo>
                  <a:lnTo>
                    <a:pt x="4174" y="809"/>
                  </a:lnTo>
                  <a:lnTo>
                    <a:pt x="4164" y="808"/>
                  </a:lnTo>
                  <a:lnTo>
                    <a:pt x="4152" y="808"/>
                  </a:lnTo>
                  <a:lnTo>
                    <a:pt x="3870" y="808"/>
                  </a:lnTo>
                  <a:lnTo>
                    <a:pt x="3870" y="1741"/>
                  </a:lnTo>
                  <a:close/>
                  <a:moveTo>
                    <a:pt x="5381" y="808"/>
                  </a:moveTo>
                  <a:lnTo>
                    <a:pt x="5615" y="808"/>
                  </a:lnTo>
                  <a:lnTo>
                    <a:pt x="5615" y="1741"/>
                  </a:lnTo>
                  <a:lnTo>
                    <a:pt x="5435" y="1741"/>
                  </a:lnTo>
                  <a:lnTo>
                    <a:pt x="5435" y="1155"/>
                  </a:lnTo>
                  <a:lnTo>
                    <a:pt x="5429" y="1155"/>
                  </a:lnTo>
                  <a:lnTo>
                    <a:pt x="5337" y="1741"/>
                  </a:lnTo>
                  <a:lnTo>
                    <a:pt x="5193" y="1741"/>
                  </a:lnTo>
                  <a:lnTo>
                    <a:pt x="5100" y="1155"/>
                  </a:lnTo>
                  <a:lnTo>
                    <a:pt x="5094" y="1155"/>
                  </a:lnTo>
                  <a:lnTo>
                    <a:pt x="5094" y="1741"/>
                  </a:lnTo>
                  <a:lnTo>
                    <a:pt x="4914" y="1741"/>
                  </a:lnTo>
                  <a:lnTo>
                    <a:pt x="4914" y="808"/>
                  </a:lnTo>
                  <a:lnTo>
                    <a:pt x="5148" y="808"/>
                  </a:lnTo>
                  <a:lnTo>
                    <a:pt x="5264" y="1463"/>
                  </a:lnTo>
                  <a:lnTo>
                    <a:pt x="5381" y="808"/>
                  </a:lnTo>
                  <a:close/>
                  <a:moveTo>
                    <a:pt x="1488" y="903"/>
                  </a:moveTo>
                  <a:lnTo>
                    <a:pt x="1487" y="938"/>
                  </a:lnTo>
                  <a:lnTo>
                    <a:pt x="1486" y="974"/>
                  </a:lnTo>
                  <a:lnTo>
                    <a:pt x="1482" y="1009"/>
                  </a:lnTo>
                  <a:lnTo>
                    <a:pt x="1479" y="1043"/>
                  </a:lnTo>
                  <a:lnTo>
                    <a:pt x="1475" y="1075"/>
                  </a:lnTo>
                  <a:lnTo>
                    <a:pt x="1471" y="1105"/>
                  </a:lnTo>
                  <a:lnTo>
                    <a:pt x="1466" y="1133"/>
                  </a:lnTo>
                  <a:lnTo>
                    <a:pt x="1460" y="1157"/>
                  </a:lnTo>
                  <a:lnTo>
                    <a:pt x="1462" y="1117"/>
                  </a:lnTo>
                  <a:lnTo>
                    <a:pt x="1462" y="1072"/>
                  </a:lnTo>
                  <a:lnTo>
                    <a:pt x="1459" y="1027"/>
                  </a:lnTo>
                  <a:lnTo>
                    <a:pt x="1456" y="980"/>
                  </a:lnTo>
                  <a:lnTo>
                    <a:pt x="1451" y="933"/>
                  </a:lnTo>
                  <a:lnTo>
                    <a:pt x="1444" y="885"/>
                  </a:lnTo>
                  <a:lnTo>
                    <a:pt x="1438" y="840"/>
                  </a:lnTo>
                  <a:lnTo>
                    <a:pt x="1430" y="795"/>
                  </a:lnTo>
                  <a:lnTo>
                    <a:pt x="1418" y="750"/>
                  </a:lnTo>
                  <a:lnTo>
                    <a:pt x="1405" y="700"/>
                  </a:lnTo>
                  <a:lnTo>
                    <a:pt x="1387" y="645"/>
                  </a:lnTo>
                  <a:lnTo>
                    <a:pt x="1368" y="591"/>
                  </a:lnTo>
                  <a:lnTo>
                    <a:pt x="1348" y="539"/>
                  </a:lnTo>
                  <a:lnTo>
                    <a:pt x="1327" y="489"/>
                  </a:lnTo>
                  <a:lnTo>
                    <a:pt x="1316" y="465"/>
                  </a:lnTo>
                  <a:lnTo>
                    <a:pt x="1305" y="443"/>
                  </a:lnTo>
                  <a:lnTo>
                    <a:pt x="1295" y="424"/>
                  </a:lnTo>
                  <a:lnTo>
                    <a:pt x="1285" y="406"/>
                  </a:lnTo>
                  <a:lnTo>
                    <a:pt x="1276" y="423"/>
                  </a:lnTo>
                  <a:lnTo>
                    <a:pt x="1265" y="441"/>
                  </a:lnTo>
                  <a:lnTo>
                    <a:pt x="1256" y="461"/>
                  </a:lnTo>
                  <a:lnTo>
                    <a:pt x="1246" y="482"/>
                  </a:lnTo>
                  <a:lnTo>
                    <a:pt x="1227" y="528"/>
                  </a:lnTo>
                  <a:lnTo>
                    <a:pt x="1207" y="578"/>
                  </a:lnTo>
                  <a:lnTo>
                    <a:pt x="1189" y="632"/>
                  </a:lnTo>
                  <a:lnTo>
                    <a:pt x="1171" y="686"/>
                  </a:lnTo>
                  <a:lnTo>
                    <a:pt x="1156" y="741"/>
                  </a:lnTo>
                  <a:lnTo>
                    <a:pt x="1142" y="795"/>
                  </a:lnTo>
                  <a:lnTo>
                    <a:pt x="1137" y="821"/>
                  </a:lnTo>
                  <a:lnTo>
                    <a:pt x="1132" y="849"/>
                  </a:lnTo>
                  <a:lnTo>
                    <a:pt x="1128" y="877"/>
                  </a:lnTo>
                  <a:lnTo>
                    <a:pt x="1124" y="904"/>
                  </a:lnTo>
                  <a:lnTo>
                    <a:pt x="1118" y="959"/>
                  </a:lnTo>
                  <a:lnTo>
                    <a:pt x="1114" y="1011"/>
                  </a:lnTo>
                  <a:lnTo>
                    <a:pt x="1112" y="1059"/>
                  </a:lnTo>
                  <a:lnTo>
                    <a:pt x="1110" y="1101"/>
                  </a:lnTo>
                  <a:lnTo>
                    <a:pt x="1109" y="1135"/>
                  </a:lnTo>
                  <a:lnTo>
                    <a:pt x="1109" y="1160"/>
                  </a:lnTo>
                  <a:lnTo>
                    <a:pt x="1106" y="1138"/>
                  </a:lnTo>
                  <a:lnTo>
                    <a:pt x="1101" y="1109"/>
                  </a:lnTo>
                  <a:lnTo>
                    <a:pt x="1097" y="1070"/>
                  </a:lnTo>
                  <a:lnTo>
                    <a:pt x="1092" y="1025"/>
                  </a:lnTo>
                  <a:lnTo>
                    <a:pt x="1089" y="975"/>
                  </a:lnTo>
                  <a:lnTo>
                    <a:pt x="1085" y="921"/>
                  </a:lnTo>
                  <a:lnTo>
                    <a:pt x="1084" y="865"/>
                  </a:lnTo>
                  <a:lnTo>
                    <a:pt x="1085" y="807"/>
                  </a:lnTo>
                  <a:lnTo>
                    <a:pt x="1089" y="758"/>
                  </a:lnTo>
                  <a:lnTo>
                    <a:pt x="1093" y="710"/>
                  </a:lnTo>
                  <a:lnTo>
                    <a:pt x="1100" y="665"/>
                  </a:lnTo>
                  <a:lnTo>
                    <a:pt x="1107" y="620"/>
                  </a:lnTo>
                  <a:lnTo>
                    <a:pt x="1115" y="579"/>
                  </a:lnTo>
                  <a:lnTo>
                    <a:pt x="1123" y="543"/>
                  </a:lnTo>
                  <a:lnTo>
                    <a:pt x="1131" y="511"/>
                  </a:lnTo>
                  <a:lnTo>
                    <a:pt x="1138" y="485"/>
                  </a:lnTo>
                  <a:lnTo>
                    <a:pt x="1149" y="448"/>
                  </a:lnTo>
                  <a:lnTo>
                    <a:pt x="1161" y="412"/>
                  </a:lnTo>
                  <a:lnTo>
                    <a:pt x="1173" y="379"/>
                  </a:lnTo>
                  <a:lnTo>
                    <a:pt x="1185" y="348"/>
                  </a:lnTo>
                  <a:lnTo>
                    <a:pt x="1208" y="290"/>
                  </a:lnTo>
                  <a:lnTo>
                    <a:pt x="1230" y="241"/>
                  </a:lnTo>
                  <a:lnTo>
                    <a:pt x="1248" y="200"/>
                  </a:lnTo>
                  <a:lnTo>
                    <a:pt x="1265" y="168"/>
                  </a:lnTo>
                  <a:lnTo>
                    <a:pt x="1277" y="145"/>
                  </a:lnTo>
                  <a:lnTo>
                    <a:pt x="1285" y="133"/>
                  </a:lnTo>
                  <a:lnTo>
                    <a:pt x="1293" y="147"/>
                  </a:lnTo>
                  <a:lnTo>
                    <a:pt x="1308" y="172"/>
                  </a:lnTo>
                  <a:lnTo>
                    <a:pt x="1326" y="208"/>
                  </a:lnTo>
                  <a:lnTo>
                    <a:pt x="1348" y="251"/>
                  </a:lnTo>
                  <a:lnTo>
                    <a:pt x="1370" y="302"/>
                  </a:lnTo>
                  <a:lnTo>
                    <a:pt x="1393" y="358"/>
                  </a:lnTo>
                  <a:lnTo>
                    <a:pt x="1405" y="387"/>
                  </a:lnTo>
                  <a:lnTo>
                    <a:pt x="1416" y="418"/>
                  </a:lnTo>
                  <a:lnTo>
                    <a:pt x="1425" y="449"/>
                  </a:lnTo>
                  <a:lnTo>
                    <a:pt x="1434" y="481"/>
                  </a:lnTo>
                  <a:lnTo>
                    <a:pt x="1443" y="511"/>
                  </a:lnTo>
                  <a:lnTo>
                    <a:pt x="1450" y="543"/>
                  </a:lnTo>
                  <a:lnTo>
                    <a:pt x="1457" y="574"/>
                  </a:lnTo>
                  <a:lnTo>
                    <a:pt x="1463" y="603"/>
                  </a:lnTo>
                  <a:lnTo>
                    <a:pt x="1473" y="662"/>
                  </a:lnTo>
                  <a:lnTo>
                    <a:pt x="1480" y="719"/>
                  </a:lnTo>
                  <a:lnTo>
                    <a:pt x="1484" y="771"/>
                  </a:lnTo>
                  <a:lnTo>
                    <a:pt x="1487" y="820"/>
                  </a:lnTo>
                  <a:lnTo>
                    <a:pt x="1489" y="865"/>
                  </a:lnTo>
                  <a:lnTo>
                    <a:pt x="1488" y="903"/>
                  </a:lnTo>
                  <a:close/>
                  <a:moveTo>
                    <a:pt x="937" y="1741"/>
                  </a:moveTo>
                  <a:lnTo>
                    <a:pt x="937" y="2034"/>
                  </a:lnTo>
                  <a:lnTo>
                    <a:pt x="938" y="2034"/>
                  </a:lnTo>
                  <a:lnTo>
                    <a:pt x="938" y="2032"/>
                  </a:lnTo>
                  <a:lnTo>
                    <a:pt x="949" y="2023"/>
                  </a:lnTo>
                  <a:lnTo>
                    <a:pt x="959" y="2014"/>
                  </a:lnTo>
                  <a:lnTo>
                    <a:pt x="969" y="2006"/>
                  </a:lnTo>
                  <a:lnTo>
                    <a:pt x="980" y="2000"/>
                  </a:lnTo>
                  <a:lnTo>
                    <a:pt x="991" y="1992"/>
                  </a:lnTo>
                  <a:lnTo>
                    <a:pt x="1002" y="1986"/>
                  </a:lnTo>
                  <a:lnTo>
                    <a:pt x="1013" y="1980"/>
                  </a:lnTo>
                  <a:lnTo>
                    <a:pt x="1026" y="1975"/>
                  </a:lnTo>
                  <a:lnTo>
                    <a:pt x="1037" y="1971"/>
                  </a:lnTo>
                  <a:lnTo>
                    <a:pt x="1050" y="1967"/>
                  </a:lnTo>
                  <a:lnTo>
                    <a:pt x="1063" y="1963"/>
                  </a:lnTo>
                  <a:lnTo>
                    <a:pt x="1075" y="1961"/>
                  </a:lnTo>
                  <a:lnTo>
                    <a:pt x="1088" y="1959"/>
                  </a:lnTo>
                  <a:lnTo>
                    <a:pt x="1100" y="1958"/>
                  </a:lnTo>
                  <a:lnTo>
                    <a:pt x="1113" y="1956"/>
                  </a:lnTo>
                  <a:lnTo>
                    <a:pt x="1125" y="1956"/>
                  </a:lnTo>
                  <a:lnTo>
                    <a:pt x="1138" y="1956"/>
                  </a:lnTo>
                  <a:lnTo>
                    <a:pt x="1150" y="1958"/>
                  </a:lnTo>
                  <a:lnTo>
                    <a:pt x="1163" y="1959"/>
                  </a:lnTo>
                  <a:lnTo>
                    <a:pt x="1175" y="1961"/>
                  </a:lnTo>
                  <a:lnTo>
                    <a:pt x="1188" y="1963"/>
                  </a:lnTo>
                  <a:lnTo>
                    <a:pt x="1199" y="1967"/>
                  </a:lnTo>
                  <a:lnTo>
                    <a:pt x="1212" y="1971"/>
                  </a:lnTo>
                  <a:lnTo>
                    <a:pt x="1224" y="1975"/>
                  </a:lnTo>
                  <a:lnTo>
                    <a:pt x="1236" y="1980"/>
                  </a:lnTo>
                  <a:lnTo>
                    <a:pt x="1247" y="1986"/>
                  </a:lnTo>
                  <a:lnTo>
                    <a:pt x="1259" y="1992"/>
                  </a:lnTo>
                  <a:lnTo>
                    <a:pt x="1270" y="2000"/>
                  </a:lnTo>
                  <a:lnTo>
                    <a:pt x="1280" y="2006"/>
                  </a:lnTo>
                  <a:lnTo>
                    <a:pt x="1292" y="2014"/>
                  </a:lnTo>
                  <a:lnTo>
                    <a:pt x="1301" y="2023"/>
                  </a:lnTo>
                  <a:lnTo>
                    <a:pt x="1311" y="2032"/>
                  </a:lnTo>
                  <a:lnTo>
                    <a:pt x="1320" y="2043"/>
                  </a:lnTo>
                  <a:lnTo>
                    <a:pt x="1329" y="2052"/>
                  </a:lnTo>
                  <a:lnTo>
                    <a:pt x="1337" y="2063"/>
                  </a:lnTo>
                  <a:lnTo>
                    <a:pt x="1345" y="2073"/>
                  </a:lnTo>
                  <a:lnTo>
                    <a:pt x="1352" y="2085"/>
                  </a:lnTo>
                  <a:lnTo>
                    <a:pt x="1358" y="2096"/>
                  </a:lnTo>
                  <a:lnTo>
                    <a:pt x="1364" y="2107"/>
                  </a:lnTo>
                  <a:lnTo>
                    <a:pt x="1369" y="2119"/>
                  </a:lnTo>
                  <a:lnTo>
                    <a:pt x="1374" y="2131"/>
                  </a:lnTo>
                  <a:lnTo>
                    <a:pt x="1377" y="2143"/>
                  </a:lnTo>
                  <a:lnTo>
                    <a:pt x="1381" y="2155"/>
                  </a:lnTo>
                  <a:lnTo>
                    <a:pt x="1384" y="2168"/>
                  </a:lnTo>
                  <a:lnTo>
                    <a:pt x="1385" y="2180"/>
                  </a:lnTo>
                  <a:lnTo>
                    <a:pt x="1387" y="2193"/>
                  </a:lnTo>
                  <a:lnTo>
                    <a:pt x="1389" y="2205"/>
                  </a:lnTo>
                  <a:lnTo>
                    <a:pt x="1389" y="2218"/>
                  </a:lnTo>
                  <a:lnTo>
                    <a:pt x="1389" y="2230"/>
                  </a:lnTo>
                  <a:lnTo>
                    <a:pt x="1387" y="2243"/>
                  </a:lnTo>
                  <a:lnTo>
                    <a:pt x="1385" y="2255"/>
                  </a:lnTo>
                  <a:lnTo>
                    <a:pt x="1384" y="2268"/>
                  </a:lnTo>
                  <a:lnTo>
                    <a:pt x="1381" y="2280"/>
                  </a:lnTo>
                  <a:lnTo>
                    <a:pt x="1377" y="2292"/>
                  </a:lnTo>
                  <a:lnTo>
                    <a:pt x="1374" y="2304"/>
                  </a:lnTo>
                  <a:lnTo>
                    <a:pt x="1369" y="2315"/>
                  </a:lnTo>
                  <a:lnTo>
                    <a:pt x="1364" y="2328"/>
                  </a:lnTo>
                  <a:lnTo>
                    <a:pt x="1358" y="2339"/>
                  </a:lnTo>
                  <a:lnTo>
                    <a:pt x="1352" y="2351"/>
                  </a:lnTo>
                  <a:lnTo>
                    <a:pt x="1345" y="2361"/>
                  </a:lnTo>
                  <a:lnTo>
                    <a:pt x="1337" y="2372"/>
                  </a:lnTo>
                  <a:lnTo>
                    <a:pt x="1329" y="2382"/>
                  </a:lnTo>
                  <a:lnTo>
                    <a:pt x="1320" y="2393"/>
                  </a:lnTo>
                  <a:lnTo>
                    <a:pt x="1311" y="2403"/>
                  </a:lnTo>
                  <a:lnTo>
                    <a:pt x="1311" y="2403"/>
                  </a:lnTo>
                  <a:lnTo>
                    <a:pt x="1310" y="2404"/>
                  </a:lnTo>
                  <a:lnTo>
                    <a:pt x="1310" y="2404"/>
                  </a:lnTo>
                  <a:lnTo>
                    <a:pt x="1309" y="2404"/>
                  </a:lnTo>
                  <a:lnTo>
                    <a:pt x="1309" y="2405"/>
                  </a:lnTo>
                  <a:lnTo>
                    <a:pt x="1288" y="2423"/>
                  </a:lnTo>
                  <a:lnTo>
                    <a:pt x="1269" y="2440"/>
                  </a:lnTo>
                  <a:lnTo>
                    <a:pt x="1247" y="2456"/>
                  </a:lnTo>
                  <a:lnTo>
                    <a:pt x="1226" y="2471"/>
                  </a:lnTo>
                  <a:lnTo>
                    <a:pt x="1204" y="2485"/>
                  </a:lnTo>
                  <a:lnTo>
                    <a:pt x="1181" y="2497"/>
                  </a:lnTo>
                  <a:lnTo>
                    <a:pt x="1158" y="2509"/>
                  </a:lnTo>
                  <a:lnTo>
                    <a:pt x="1134" y="2519"/>
                  </a:lnTo>
                  <a:lnTo>
                    <a:pt x="1110" y="2528"/>
                  </a:lnTo>
                  <a:lnTo>
                    <a:pt x="1086" y="2536"/>
                  </a:lnTo>
                  <a:lnTo>
                    <a:pt x="1063" y="2541"/>
                  </a:lnTo>
                  <a:lnTo>
                    <a:pt x="1037" y="2547"/>
                  </a:lnTo>
                  <a:lnTo>
                    <a:pt x="1012" y="2552"/>
                  </a:lnTo>
                  <a:lnTo>
                    <a:pt x="987" y="2554"/>
                  </a:lnTo>
                  <a:lnTo>
                    <a:pt x="962" y="2556"/>
                  </a:lnTo>
                  <a:lnTo>
                    <a:pt x="937" y="2556"/>
                  </a:lnTo>
                  <a:lnTo>
                    <a:pt x="912" y="2556"/>
                  </a:lnTo>
                  <a:lnTo>
                    <a:pt x="887" y="2554"/>
                  </a:lnTo>
                  <a:lnTo>
                    <a:pt x="862" y="2552"/>
                  </a:lnTo>
                  <a:lnTo>
                    <a:pt x="837" y="2547"/>
                  </a:lnTo>
                  <a:lnTo>
                    <a:pt x="812" y="2541"/>
                  </a:lnTo>
                  <a:lnTo>
                    <a:pt x="788" y="2535"/>
                  </a:lnTo>
                  <a:lnTo>
                    <a:pt x="764" y="2528"/>
                  </a:lnTo>
                  <a:lnTo>
                    <a:pt x="740" y="2519"/>
                  </a:lnTo>
                  <a:lnTo>
                    <a:pt x="716" y="2509"/>
                  </a:lnTo>
                  <a:lnTo>
                    <a:pt x="693" y="2497"/>
                  </a:lnTo>
                  <a:lnTo>
                    <a:pt x="670" y="2485"/>
                  </a:lnTo>
                  <a:lnTo>
                    <a:pt x="648" y="2471"/>
                  </a:lnTo>
                  <a:lnTo>
                    <a:pt x="626" y="2456"/>
                  </a:lnTo>
                  <a:lnTo>
                    <a:pt x="605" y="2439"/>
                  </a:lnTo>
                  <a:lnTo>
                    <a:pt x="585" y="2422"/>
                  </a:lnTo>
                  <a:lnTo>
                    <a:pt x="565" y="2404"/>
                  </a:lnTo>
                  <a:lnTo>
                    <a:pt x="548" y="2387"/>
                  </a:lnTo>
                  <a:lnTo>
                    <a:pt x="534" y="2369"/>
                  </a:lnTo>
                  <a:lnTo>
                    <a:pt x="519" y="2351"/>
                  </a:lnTo>
                  <a:lnTo>
                    <a:pt x="505" y="2332"/>
                  </a:lnTo>
                  <a:lnTo>
                    <a:pt x="492" y="2313"/>
                  </a:lnTo>
                  <a:lnTo>
                    <a:pt x="480" y="2294"/>
                  </a:lnTo>
                  <a:lnTo>
                    <a:pt x="470" y="2273"/>
                  </a:lnTo>
                  <a:lnTo>
                    <a:pt x="459" y="2253"/>
                  </a:lnTo>
                  <a:lnTo>
                    <a:pt x="450" y="2232"/>
                  </a:lnTo>
                  <a:lnTo>
                    <a:pt x="442" y="2212"/>
                  </a:lnTo>
                  <a:lnTo>
                    <a:pt x="435" y="2190"/>
                  </a:lnTo>
                  <a:lnTo>
                    <a:pt x="429" y="2169"/>
                  </a:lnTo>
                  <a:lnTo>
                    <a:pt x="424" y="2147"/>
                  </a:lnTo>
                  <a:lnTo>
                    <a:pt x="419" y="2126"/>
                  </a:lnTo>
                  <a:lnTo>
                    <a:pt x="416" y="2104"/>
                  </a:lnTo>
                  <a:lnTo>
                    <a:pt x="414" y="2082"/>
                  </a:lnTo>
                  <a:lnTo>
                    <a:pt x="412" y="2060"/>
                  </a:lnTo>
                  <a:lnTo>
                    <a:pt x="412" y="2038"/>
                  </a:lnTo>
                  <a:lnTo>
                    <a:pt x="412" y="2015"/>
                  </a:lnTo>
                  <a:lnTo>
                    <a:pt x="413" y="1994"/>
                  </a:lnTo>
                  <a:lnTo>
                    <a:pt x="415" y="1972"/>
                  </a:lnTo>
                  <a:lnTo>
                    <a:pt x="418" y="1950"/>
                  </a:lnTo>
                  <a:lnTo>
                    <a:pt x="422" y="1928"/>
                  </a:lnTo>
                  <a:lnTo>
                    <a:pt x="427" y="1906"/>
                  </a:lnTo>
                  <a:lnTo>
                    <a:pt x="433" y="1885"/>
                  </a:lnTo>
                  <a:lnTo>
                    <a:pt x="440" y="1864"/>
                  </a:lnTo>
                  <a:lnTo>
                    <a:pt x="448" y="1843"/>
                  </a:lnTo>
                  <a:lnTo>
                    <a:pt x="456" y="1822"/>
                  </a:lnTo>
                  <a:lnTo>
                    <a:pt x="466" y="1802"/>
                  </a:lnTo>
                  <a:lnTo>
                    <a:pt x="476" y="1781"/>
                  </a:lnTo>
                  <a:lnTo>
                    <a:pt x="488" y="1762"/>
                  </a:lnTo>
                  <a:lnTo>
                    <a:pt x="500" y="1743"/>
                  </a:lnTo>
                  <a:lnTo>
                    <a:pt x="515" y="1722"/>
                  </a:lnTo>
                  <a:lnTo>
                    <a:pt x="531" y="1703"/>
                  </a:lnTo>
                  <a:lnTo>
                    <a:pt x="547" y="1684"/>
                  </a:lnTo>
                  <a:lnTo>
                    <a:pt x="565" y="1666"/>
                  </a:lnTo>
                  <a:lnTo>
                    <a:pt x="585" y="1646"/>
                  </a:lnTo>
                  <a:lnTo>
                    <a:pt x="605" y="1629"/>
                  </a:lnTo>
                  <a:lnTo>
                    <a:pt x="626" y="1613"/>
                  </a:lnTo>
                  <a:lnTo>
                    <a:pt x="648" y="1599"/>
                  </a:lnTo>
                  <a:lnTo>
                    <a:pt x="670" y="1585"/>
                  </a:lnTo>
                  <a:lnTo>
                    <a:pt x="693" y="1572"/>
                  </a:lnTo>
                  <a:lnTo>
                    <a:pt x="716" y="1561"/>
                  </a:lnTo>
                  <a:lnTo>
                    <a:pt x="740" y="1551"/>
                  </a:lnTo>
                  <a:lnTo>
                    <a:pt x="764" y="1542"/>
                  </a:lnTo>
                  <a:lnTo>
                    <a:pt x="788" y="1534"/>
                  </a:lnTo>
                  <a:lnTo>
                    <a:pt x="812" y="1527"/>
                  </a:lnTo>
                  <a:lnTo>
                    <a:pt x="837" y="1522"/>
                  </a:lnTo>
                  <a:lnTo>
                    <a:pt x="862" y="1518"/>
                  </a:lnTo>
                  <a:lnTo>
                    <a:pt x="887" y="1514"/>
                  </a:lnTo>
                  <a:lnTo>
                    <a:pt x="912" y="1513"/>
                  </a:lnTo>
                  <a:lnTo>
                    <a:pt x="937" y="1512"/>
                  </a:lnTo>
                  <a:lnTo>
                    <a:pt x="937" y="813"/>
                  </a:lnTo>
                  <a:lnTo>
                    <a:pt x="889" y="815"/>
                  </a:lnTo>
                  <a:lnTo>
                    <a:pt x="841" y="818"/>
                  </a:lnTo>
                  <a:lnTo>
                    <a:pt x="795" y="824"/>
                  </a:lnTo>
                  <a:lnTo>
                    <a:pt x="749" y="832"/>
                  </a:lnTo>
                  <a:lnTo>
                    <a:pt x="703" y="842"/>
                  </a:lnTo>
                  <a:lnTo>
                    <a:pt x="659" y="854"/>
                  </a:lnTo>
                  <a:lnTo>
                    <a:pt x="616" y="869"/>
                  </a:lnTo>
                  <a:lnTo>
                    <a:pt x="572" y="886"/>
                  </a:lnTo>
                  <a:lnTo>
                    <a:pt x="531" y="904"/>
                  </a:lnTo>
                  <a:lnTo>
                    <a:pt x="490" y="925"/>
                  </a:lnTo>
                  <a:lnTo>
                    <a:pt x="451" y="948"/>
                  </a:lnTo>
                  <a:lnTo>
                    <a:pt x="414" y="971"/>
                  </a:lnTo>
                  <a:lnTo>
                    <a:pt x="376" y="998"/>
                  </a:lnTo>
                  <a:lnTo>
                    <a:pt x="341" y="1026"/>
                  </a:lnTo>
                  <a:lnTo>
                    <a:pt x="307" y="1054"/>
                  </a:lnTo>
                  <a:lnTo>
                    <a:pt x="275" y="1085"/>
                  </a:lnTo>
                  <a:lnTo>
                    <a:pt x="244" y="1118"/>
                  </a:lnTo>
                  <a:lnTo>
                    <a:pt x="214" y="1152"/>
                  </a:lnTo>
                  <a:lnTo>
                    <a:pt x="186" y="1186"/>
                  </a:lnTo>
                  <a:lnTo>
                    <a:pt x="160" y="1224"/>
                  </a:lnTo>
                  <a:lnTo>
                    <a:pt x="136" y="1261"/>
                  </a:lnTo>
                  <a:lnTo>
                    <a:pt x="113" y="1300"/>
                  </a:lnTo>
                  <a:lnTo>
                    <a:pt x="92" y="1339"/>
                  </a:lnTo>
                  <a:lnTo>
                    <a:pt x="74" y="1382"/>
                  </a:lnTo>
                  <a:lnTo>
                    <a:pt x="57" y="1424"/>
                  </a:lnTo>
                  <a:lnTo>
                    <a:pt x="42" y="1467"/>
                  </a:lnTo>
                  <a:lnTo>
                    <a:pt x="30" y="1511"/>
                  </a:lnTo>
                  <a:lnTo>
                    <a:pt x="19" y="1555"/>
                  </a:lnTo>
                  <a:lnTo>
                    <a:pt x="10" y="1601"/>
                  </a:lnTo>
                  <a:lnTo>
                    <a:pt x="4" y="1647"/>
                  </a:lnTo>
                  <a:lnTo>
                    <a:pt x="1" y="1695"/>
                  </a:lnTo>
                  <a:lnTo>
                    <a:pt x="0" y="1743"/>
                  </a:lnTo>
                  <a:lnTo>
                    <a:pt x="1" y="1791"/>
                  </a:lnTo>
                  <a:lnTo>
                    <a:pt x="4" y="1838"/>
                  </a:lnTo>
                  <a:lnTo>
                    <a:pt x="10" y="1885"/>
                  </a:lnTo>
                  <a:lnTo>
                    <a:pt x="19" y="1930"/>
                  </a:lnTo>
                  <a:lnTo>
                    <a:pt x="30" y="1976"/>
                  </a:lnTo>
                  <a:lnTo>
                    <a:pt x="42" y="2020"/>
                  </a:lnTo>
                  <a:lnTo>
                    <a:pt x="57" y="2063"/>
                  </a:lnTo>
                  <a:lnTo>
                    <a:pt x="74" y="2105"/>
                  </a:lnTo>
                  <a:lnTo>
                    <a:pt x="92" y="2146"/>
                  </a:lnTo>
                  <a:lnTo>
                    <a:pt x="113" y="2186"/>
                  </a:lnTo>
                  <a:lnTo>
                    <a:pt x="136" y="2226"/>
                  </a:lnTo>
                  <a:lnTo>
                    <a:pt x="160" y="2263"/>
                  </a:lnTo>
                  <a:lnTo>
                    <a:pt x="186" y="2299"/>
                  </a:lnTo>
                  <a:lnTo>
                    <a:pt x="214" y="2335"/>
                  </a:lnTo>
                  <a:lnTo>
                    <a:pt x="244" y="2369"/>
                  </a:lnTo>
                  <a:lnTo>
                    <a:pt x="275" y="2401"/>
                  </a:lnTo>
                  <a:lnTo>
                    <a:pt x="307" y="2431"/>
                  </a:lnTo>
                  <a:lnTo>
                    <a:pt x="341" y="2461"/>
                  </a:lnTo>
                  <a:lnTo>
                    <a:pt x="376" y="2488"/>
                  </a:lnTo>
                  <a:lnTo>
                    <a:pt x="414" y="2514"/>
                  </a:lnTo>
                  <a:lnTo>
                    <a:pt x="451" y="2538"/>
                  </a:lnTo>
                  <a:lnTo>
                    <a:pt x="490" y="2561"/>
                  </a:lnTo>
                  <a:lnTo>
                    <a:pt x="531" y="2581"/>
                  </a:lnTo>
                  <a:lnTo>
                    <a:pt x="572" y="2601"/>
                  </a:lnTo>
                  <a:lnTo>
                    <a:pt x="616" y="2616"/>
                  </a:lnTo>
                  <a:lnTo>
                    <a:pt x="659" y="2631"/>
                  </a:lnTo>
                  <a:lnTo>
                    <a:pt x="703" y="2644"/>
                  </a:lnTo>
                  <a:lnTo>
                    <a:pt x="749" y="2654"/>
                  </a:lnTo>
                  <a:lnTo>
                    <a:pt x="795" y="2662"/>
                  </a:lnTo>
                  <a:lnTo>
                    <a:pt x="841" y="2669"/>
                  </a:lnTo>
                  <a:lnTo>
                    <a:pt x="889" y="2672"/>
                  </a:lnTo>
                  <a:lnTo>
                    <a:pt x="937" y="2673"/>
                  </a:lnTo>
                  <a:lnTo>
                    <a:pt x="962" y="2673"/>
                  </a:lnTo>
                  <a:lnTo>
                    <a:pt x="987" y="2672"/>
                  </a:lnTo>
                  <a:lnTo>
                    <a:pt x="1012" y="2670"/>
                  </a:lnTo>
                  <a:lnTo>
                    <a:pt x="1037" y="2668"/>
                  </a:lnTo>
                  <a:lnTo>
                    <a:pt x="1061" y="2665"/>
                  </a:lnTo>
                  <a:lnTo>
                    <a:pt x="1086" y="2662"/>
                  </a:lnTo>
                  <a:lnTo>
                    <a:pt x="1110" y="2657"/>
                  </a:lnTo>
                  <a:lnTo>
                    <a:pt x="1134" y="2653"/>
                  </a:lnTo>
                  <a:lnTo>
                    <a:pt x="1158" y="2647"/>
                  </a:lnTo>
                  <a:lnTo>
                    <a:pt x="1181" y="2641"/>
                  </a:lnTo>
                  <a:lnTo>
                    <a:pt x="1205" y="2635"/>
                  </a:lnTo>
                  <a:lnTo>
                    <a:pt x="1228" y="2628"/>
                  </a:lnTo>
                  <a:lnTo>
                    <a:pt x="1251" y="2620"/>
                  </a:lnTo>
                  <a:lnTo>
                    <a:pt x="1272" y="2612"/>
                  </a:lnTo>
                  <a:lnTo>
                    <a:pt x="1295" y="2603"/>
                  </a:lnTo>
                  <a:lnTo>
                    <a:pt x="1317" y="2594"/>
                  </a:lnTo>
                  <a:lnTo>
                    <a:pt x="1338" y="2584"/>
                  </a:lnTo>
                  <a:lnTo>
                    <a:pt x="1359" y="2573"/>
                  </a:lnTo>
                  <a:lnTo>
                    <a:pt x="1381" y="2563"/>
                  </a:lnTo>
                  <a:lnTo>
                    <a:pt x="1401" y="2552"/>
                  </a:lnTo>
                  <a:lnTo>
                    <a:pt x="1422" y="2539"/>
                  </a:lnTo>
                  <a:lnTo>
                    <a:pt x="1441" y="2527"/>
                  </a:lnTo>
                  <a:lnTo>
                    <a:pt x="1462" y="2514"/>
                  </a:lnTo>
                  <a:lnTo>
                    <a:pt x="1481" y="2501"/>
                  </a:lnTo>
                  <a:lnTo>
                    <a:pt x="1499" y="2487"/>
                  </a:lnTo>
                  <a:lnTo>
                    <a:pt x="1517" y="2473"/>
                  </a:lnTo>
                  <a:lnTo>
                    <a:pt x="1536" y="2459"/>
                  </a:lnTo>
                  <a:lnTo>
                    <a:pt x="1554" y="2444"/>
                  </a:lnTo>
                  <a:lnTo>
                    <a:pt x="1571" y="2428"/>
                  </a:lnTo>
                  <a:lnTo>
                    <a:pt x="1588" y="2412"/>
                  </a:lnTo>
                  <a:lnTo>
                    <a:pt x="1605" y="2395"/>
                  </a:lnTo>
                  <a:lnTo>
                    <a:pt x="1621" y="2379"/>
                  </a:lnTo>
                  <a:lnTo>
                    <a:pt x="1621" y="1741"/>
                  </a:lnTo>
                  <a:lnTo>
                    <a:pt x="937" y="1741"/>
                  </a:lnTo>
                  <a:close/>
                  <a:moveTo>
                    <a:pt x="5447" y="2453"/>
                  </a:moveTo>
                  <a:lnTo>
                    <a:pt x="5446" y="2469"/>
                  </a:lnTo>
                  <a:lnTo>
                    <a:pt x="5445" y="2482"/>
                  </a:lnTo>
                  <a:lnTo>
                    <a:pt x="5443" y="2495"/>
                  </a:lnTo>
                  <a:lnTo>
                    <a:pt x="5439" y="2506"/>
                  </a:lnTo>
                  <a:lnTo>
                    <a:pt x="5435" y="2516"/>
                  </a:lnTo>
                  <a:lnTo>
                    <a:pt x="5429" y="2524"/>
                  </a:lnTo>
                  <a:lnTo>
                    <a:pt x="5422" y="2532"/>
                  </a:lnTo>
                  <a:lnTo>
                    <a:pt x="5414" y="2538"/>
                  </a:lnTo>
                  <a:lnTo>
                    <a:pt x="5405" y="2544"/>
                  </a:lnTo>
                  <a:lnTo>
                    <a:pt x="5395" y="2547"/>
                  </a:lnTo>
                  <a:lnTo>
                    <a:pt x="5382" y="2551"/>
                  </a:lnTo>
                  <a:lnTo>
                    <a:pt x="5370" y="2553"/>
                  </a:lnTo>
                  <a:lnTo>
                    <a:pt x="5355" y="2555"/>
                  </a:lnTo>
                  <a:lnTo>
                    <a:pt x="5339" y="2556"/>
                  </a:lnTo>
                  <a:lnTo>
                    <a:pt x="5322" y="2557"/>
                  </a:lnTo>
                  <a:lnTo>
                    <a:pt x="5304" y="2557"/>
                  </a:lnTo>
                  <a:lnTo>
                    <a:pt x="5209" y="2557"/>
                  </a:lnTo>
                  <a:lnTo>
                    <a:pt x="5209" y="2152"/>
                  </a:lnTo>
                  <a:lnTo>
                    <a:pt x="5304" y="2152"/>
                  </a:lnTo>
                  <a:lnTo>
                    <a:pt x="5304" y="2309"/>
                  </a:lnTo>
                  <a:lnTo>
                    <a:pt x="5320" y="2309"/>
                  </a:lnTo>
                  <a:lnTo>
                    <a:pt x="5337" y="2309"/>
                  </a:lnTo>
                  <a:lnTo>
                    <a:pt x="5352" y="2310"/>
                  </a:lnTo>
                  <a:lnTo>
                    <a:pt x="5366" y="2311"/>
                  </a:lnTo>
                  <a:lnTo>
                    <a:pt x="5379" y="2313"/>
                  </a:lnTo>
                  <a:lnTo>
                    <a:pt x="5390" y="2317"/>
                  </a:lnTo>
                  <a:lnTo>
                    <a:pt x="5401" y="2320"/>
                  </a:lnTo>
                  <a:lnTo>
                    <a:pt x="5410" y="2324"/>
                  </a:lnTo>
                  <a:lnTo>
                    <a:pt x="5419" y="2329"/>
                  </a:lnTo>
                  <a:lnTo>
                    <a:pt x="5426" y="2336"/>
                  </a:lnTo>
                  <a:lnTo>
                    <a:pt x="5431" y="2343"/>
                  </a:lnTo>
                  <a:lnTo>
                    <a:pt x="5436" y="2352"/>
                  </a:lnTo>
                  <a:lnTo>
                    <a:pt x="5441" y="2361"/>
                  </a:lnTo>
                  <a:lnTo>
                    <a:pt x="5444" y="2372"/>
                  </a:lnTo>
                  <a:lnTo>
                    <a:pt x="5445" y="2384"/>
                  </a:lnTo>
                  <a:lnTo>
                    <a:pt x="5447" y="2397"/>
                  </a:lnTo>
                  <a:lnTo>
                    <a:pt x="5447" y="2411"/>
                  </a:lnTo>
                  <a:lnTo>
                    <a:pt x="5447" y="2453"/>
                  </a:lnTo>
                  <a:close/>
                  <a:moveTo>
                    <a:pt x="6551" y="0"/>
                  </a:moveTo>
                  <a:lnTo>
                    <a:pt x="6641" y="0"/>
                  </a:lnTo>
                  <a:lnTo>
                    <a:pt x="6641" y="3472"/>
                  </a:lnTo>
                  <a:lnTo>
                    <a:pt x="6551" y="3472"/>
                  </a:lnTo>
                  <a:lnTo>
                    <a:pt x="6551" y="0"/>
                  </a:lnTo>
                  <a:close/>
                  <a:moveTo>
                    <a:pt x="4655" y="2229"/>
                  </a:moveTo>
                  <a:lnTo>
                    <a:pt x="4655" y="2229"/>
                  </a:lnTo>
                  <a:lnTo>
                    <a:pt x="4583" y="2229"/>
                  </a:lnTo>
                  <a:lnTo>
                    <a:pt x="4583" y="2557"/>
                  </a:lnTo>
                  <a:lnTo>
                    <a:pt x="4493" y="2557"/>
                  </a:lnTo>
                  <a:lnTo>
                    <a:pt x="4493" y="2229"/>
                  </a:lnTo>
                  <a:lnTo>
                    <a:pt x="4417" y="2229"/>
                  </a:lnTo>
                  <a:lnTo>
                    <a:pt x="4417" y="2152"/>
                  </a:lnTo>
                  <a:lnTo>
                    <a:pt x="4655" y="2152"/>
                  </a:lnTo>
                  <a:lnTo>
                    <a:pt x="4655" y="2229"/>
                  </a:lnTo>
                  <a:close/>
                  <a:moveTo>
                    <a:pt x="3925" y="2413"/>
                  </a:moveTo>
                  <a:lnTo>
                    <a:pt x="3925" y="2413"/>
                  </a:lnTo>
                  <a:lnTo>
                    <a:pt x="3925" y="2428"/>
                  </a:lnTo>
                  <a:lnTo>
                    <a:pt x="3923" y="2440"/>
                  </a:lnTo>
                  <a:lnTo>
                    <a:pt x="3921" y="2453"/>
                  </a:lnTo>
                  <a:lnTo>
                    <a:pt x="3917" y="2464"/>
                  </a:lnTo>
                  <a:lnTo>
                    <a:pt x="3913" y="2473"/>
                  </a:lnTo>
                  <a:lnTo>
                    <a:pt x="3907" y="2482"/>
                  </a:lnTo>
                  <a:lnTo>
                    <a:pt x="3900" y="2489"/>
                  </a:lnTo>
                  <a:lnTo>
                    <a:pt x="3892" y="2496"/>
                  </a:lnTo>
                  <a:lnTo>
                    <a:pt x="3884" y="2502"/>
                  </a:lnTo>
                  <a:lnTo>
                    <a:pt x="3874" y="2506"/>
                  </a:lnTo>
                  <a:lnTo>
                    <a:pt x="3863" y="2510"/>
                  </a:lnTo>
                  <a:lnTo>
                    <a:pt x="3850" y="2512"/>
                  </a:lnTo>
                  <a:lnTo>
                    <a:pt x="3838" y="2514"/>
                  </a:lnTo>
                  <a:lnTo>
                    <a:pt x="3823" y="2516"/>
                  </a:lnTo>
                  <a:lnTo>
                    <a:pt x="3807" y="2516"/>
                  </a:lnTo>
                  <a:lnTo>
                    <a:pt x="3790" y="2518"/>
                  </a:lnTo>
                  <a:lnTo>
                    <a:pt x="3790" y="2557"/>
                  </a:lnTo>
                  <a:lnTo>
                    <a:pt x="3697" y="2557"/>
                  </a:lnTo>
                  <a:lnTo>
                    <a:pt x="3697" y="2518"/>
                  </a:lnTo>
                  <a:lnTo>
                    <a:pt x="3680" y="2516"/>
                  </a:lnTo>
                  <a:lnTo>
                    <a:pt x="3665" y="2516"/>
                  </a:lnTo>
                  <a:lnTo>
                    <a:pt x="3651" y="2514"/>
                  </a:lnTo>
                  <a:lnTo>
                    <a:pt x="3637" y="2512"/>
                  </a:lnTo>
                  <a:lnTo>
                    <a:pt x="3624" y="2510"/>
                  </a:lnTo>
                  <a:lnTo>
                    <a:pt x="3613" y="2506"/>
                  </a:lnTo>
                  <a:lnTo>
                    <a:pt x="3604" y="2502"/>
                  </a:lnTo>
                  <a:lnTo>
                    <a:pt x="3595" y="2496"/>
                  </a:lnTo>
                  <a:lnTo>
                    <a:pt x="3587" y="2489"/>
                  </a:lnTo>
                  <a:lnTo>
                    <a:pt x="3580" y="2482"/>
                  </a:lnTo>
                  <a:lnTo>
                    <a:pt x="3574" y="2473"/>
                  </a:lnTo>
                  <a:lnTo>
                    <a:pt x="3570" y="2464"/>
                  </a:lnTo>
                  <a:lnTo>
                    <a:pt x="3566" y="2453"/>
                  </a:lnTo>
                  <a:lnTo>
                    <a:pt x="3564" y="2440"/>
                  </a:lnTo>
                  <a:lnTo>
                    <a:pt x="3562" y="2428"/>
                  </a:lnTo>
                  <a:lnTo>
                    <a:pt x="3562" y="2413"/>
                  </a:lnTo>
                  <a:lnTo>
                    <a:pt x="3562" y="2286"/>
                  </a:lnTo>
                  <a:lnTo>
                    <a:pt x="3562" y="2271"/>
                  </a:lnTo>
                  <a:lnTo>
                    <a:pt x="3564" y="2259"/>
                  </a:lnTo>
                  <a:lnTo>
                    <a:pt x="3566" y="2246"/>
                  </a:lnTo>
                  <a:lnTo>
                    <a:pt x="3570" y="2235"/>
                  </a:lnTo>
                  <a:lnTo>
                    <a:pt x="3574" y="2226"/>
                  </a:lnTo>
                  <a:lnTo>
                    <a:pt x="3580" y="2218"/>
                  </a:lnTo>
                  <a:lnTo>
                    <a:pt x="3586" y="2210"/>
                  </a:lnTo>
                  <a:lnTo>
                    <a:pt x="3594" y="2204"/>
                  </a:lnTo>
                  <a:lnTo>
                    <a:pt x="3603" y="2198"/>
                  </a:lnTo>
                  <a:lnTo>
                    <a:pt x="3613" y="2194"/>
                  </a:lnTo>
                  <a:lnTo>
                    <a:pt x="3623" y="2190"/>
                  </a:lnTo>
                  <a:lnTo>
                    <a:pt x="3636" y="2187"/>
                  </a:lnTo>
                  <a:lnTo>
                    <a:pt x="3649" y="2185"/>
                  </a:lnTo>
                  <a:lnTo>
                    <a:pt x="3664" y="2184"/>
                  </a:lnTo>
                  <a:lnTo>
                    <a:pt x="3680" y="2182"/>
                  </a:lnTo>
                  <a:lnTo>
                    <a:pt x="3697" y="2182"/>
                  </a:lnTo>
                  <a:lnTo>
                    <a:pt x="3697" y="2152"/>
                  </a:lnTo>
                  <a:lnTo>
                    <a:pt x="3790" y="2152"/>
                  </a:lnTo>
                  <a:lnTo>
                    <a:pt x="3790" y="2182"/>
                  </a:lnTo>
                  <a:lnTo>
                    <a:pt x="3807" y="2182"/>
                  </a:lnTo>
                  <a:lnTo>
                    <a:pt x="3823" y="2184"/>
                  </a:lnTo>
                  <a:lnTo>
                    <a:pt x="3838" y="2185"/>
                  </a:lnTo>
                  <a:lnTo>
                    <a:pt x="3851" y="2187"/>
                  </a:lnTo>
                  <a:lnTo>
                    <a:pt x="3864" y="2190"/>
                  </a:lnTo>
                  <a:lnTo>
                    <a:pt x="3874" y="2194"/>
                  </a:lnTo>
                  <a:lnTo>
                    <a:pt x="3884" y="2198"/>
                  </a:lnTo>
                  <a:lnTo>
                    <a:pt x="3893" y="2204"/>
                  </a:lnTo>
                  <a:lnTo>
                    <a:pt x="3901" y="2210"/>
                  </a:lnTo>
                  <a:lnTo>
                    <a:pt x="3907" y="2218"/>
                  </a:lnTo>
                  <a:lnTo>
                    <a:pt x="3913" y="2226"/>
                  </a:lnTo>
                  <a:lnTo>
                    <a:pt x="3917" y="2235"/>
                  </a:lnTo>
                  <a:lnTo>
                    <a:pt x="3921" y="2246"/>
                  </a:lnTo>
                  <a:lnTo>
                    <a:pt x="3923" y="2259"/>
                  </a:lnTo>
                  <a:lnTo>
                    <a:pt x="3925" y="2271"/>
                  </a:lnTo>
                  <a:lnTo>
                    <a:pt x="3925" y="2286"/>
                  </a:lnTo>
                  <a:lnTo>
                    <a:pt x="3925" y="2413"/>
                  </a:lnTo>
                  <a:close/>
                  <a:moveTo>
                    <a:pt x="3065" y="2229"/>
                  </a:moveTo>
                  <a:lnTo>
                    <a:pt x="3065" y="2229"/>
                  </a:lnTo>
                  <a:lnTo>
                    <a:pt x="2936" y="2229"/>
                  </a:lnTo>
                  <a:lnTo>
                    <a:pt x="2936" y="2309"/>
                  </a:lnTo>
                  <a:lnTo>
                    <a:pt x="3052" y="2309"/>
                  </a:lnTo>
                  <a:lnTo>
                    <a:pt x="3052" y="2385"/>
                  </a:lnTo>
                  <a:lnTo>
                    <a:pt x="2936" y="2385"/>
                  </a:lnTo>
                  <a:lnTo>
                    <a:pt x="2936" y="2480"/>
                  </a:lnTo>
                  <a:lnTo>
                    <a:pt x="3065" y="2480"/>
                  </a:lnTo>
                  <a:lnTo>
                    <a:pt x="3065" y="2557"/>
                  </a:lnTo>
                  <a:lnTo>
                    <a:pt x="2838" y="2557"/>
                  </a:lnTo>
                  <a:lnTo>
                    <a:pt x="2838" y="2152"/>
                  </a:lnTo>
                  <a:lnTo>
                    <a:pt x="3065" y="2152"/>
                  </a:lnTo>
                  <a:lnTo>
                    <a:pt x="3065" y="2229"/>
                  </a:lnTo>
                  <a:close/>
                  <a:moveTo>
                    <a:pt x="2278" y="2557"/>
                  </a:moveTo>
                  <a:lnTo>
                    <a:pt x="2278" y="2557"/>
                  </a:lnTo>
                  <a:lnTo>
                    <a:pt x="2183" y="2557"/>
                  </a:lnTo>
                  <a:lnTo>
                    <a:pt x="2183" y="2380"/>
                  </a:lnTo>
                  <a:lnTo>
                    <a:pt x="2134" y="2380"/>
                  </a:lnTo>
                  <a:lnTo>
                    <a:pt x="2134" y="2557"/>
                  </a:lnTo>
                  <a:lnTo>
                    <a:pt x="2040" y="2557"/>
                  </a:lnTo>
                  <a:lnTo>
                    <a:pt x="2040" y="2152"/>
                  </a:lnTo>
                  <a:lnTo>
                    <a:pt x="2134" y="2152"/>
                  </a:lnTo>
                  <a:lnTo>
                    <a:pt x="2134" y="2309"/>
                  </a:lnTo>
                  <a:lnTo>
                    <a:pt x="2183" y="2309"/>
                  </a:lnTo>
                  <a:lnTo>
                    <a:pt x="2183" y="2152"/>
                  </a:lnTo>
                  <a:lnTo>
                    <a:pt x="2278" y="2152"/>
                  </a:lnTo>
                  <a:lnTo>
                    <a:pt x="2278" y="2557"/>
                  </a:lnTo>
                  <a:close/>
                  <a:moveTo>
                    <a:pt x="5615" y="2052"/>
                  </a:moveTo>
                  <a:lnTo>
                    <a:pt x="5615" y="2052"/>
                  </a:lnTo>
                  <a:lnTo>
                    <a:pt x="1872" y="2052"/>
                  </a:lnTo>
                  <a:lnTo>
                    <a:pt x="1872" y="2673"/>
                  </a:lnTo>
                  <a:lnTo>
                    <a:pt x="5615" y="2673"/>
                  </a:lnTo>
                  <a:lnTo>
                    <a:pt x="5615" y="2052"/>
                  </a:lnTo>
                  <a:close/>
                  <a:moveTo>
                    <a:pt x="3654" y="2284"/>
                  </a:moveTo>
                  <a:lnTo>
                    <a:pt x="3654" y="2284"/>
                  </a:lnTo>
                  <a:lnTo>
                    <a:pt x="3654" y="2413"/>
                  </a:lnTo>
                  <a:lnTo>
                    <a:pt x="3654" y="2421"/>
                  </a:lnTo>
                  <a:lnTo>
                    <a:pt x="3655" y="2428"/>
                  </a:lnTo>
                  <a:lnTo>
                    <a:pt x="3657" y="2434"/>
                  </a:lnTo>
                  <a:lnTo>
                    <a:pt x="3660" y="2437"/>
                  </a:lnTo>
                  <a:lnTo>
                    <a:pt x="3664" y="2439"/>
                  </a:lnTo>
                  <a:lnTo>
                    <a:pt x="3669" y="2441"/>
                  </a:lnTo>
                  <a:lnTo>
                    <a:pt x="3676" y="2443"/>
                  </a:lnTo>
                  <a:lnTo>
                    <a:pt x="3683" y="2443"/>
                  </a:lnTo>
                  <a:lnTo>
                    <a:pt x="3697" y="2443"/>
                  </a:lnTo>
                  <a:lnTo>
                    <a:pt x="3697" y="2254"/>
                  </a:lnTo>
                  <a:lnTo>
                    <a:pt x="3683" y="2254"/>
                  </a:lnTo>
                  <a:lnTo>
                    <a:pt x="3676" y="2254"/>
                  </a:lnTo>
                  <a:lnTo>
                    <a:pt x="3669" y="2255"/>
                  </a:lnTo>
                  <a:lnTo>
                    <a:pt x="3664" y="2257"/>
                  </a:lnTo>
                  <a:lnTo>
                    <a:pt x="3660" y="2260"/>
                  </a:lnTo>
                  <a:lnTo>
                    <a:pt x="3657" y="2264"/>
                  </a:lnTo>
                  <a:lnTo>
                    <a:pt x="3655" y="2269"/>
                  </a:lnTo>
                  <a:lnTo>
                    <a:pt x="3654" y="2276"/>
                  </a:lnTo>
                  <a:lnTo>
                    <a:pt x="3654" y="2284"/>
                  </a:lnTo>
                  <a:close/>
                  <a:moveTo>
                    <a:pt x="5324" y="2380"/>
                  </a:moveTo>
                  <a:lnTo>
                    <a:pt x="5324" y="2380"/>
                  </a:lnTo>
                  <a:lnTo>
                    <a:pt x="5304" y="2380"/>
                  </a:lnTo>
                  <a:lnTo>
                    <a:pt x="5304" y="2486"/>
                  </a:lnTo>
                  <a:lnTo>
                    <a:pt x="5324" y="2486"/>
                  </a:lnTo>
                  <a:lnTo>
                    <a:pt x="5332" y="2486"/>
                  </a:lnTo>
                  <a:lnTo>
                    <a:pt x="5338" y="2485"/>
                  </a:lnTo>
                  <a:lnTo>
                    <a:pt x="5343" y="2482"/>
                  </a:lnTo>
                  <a:lnTo>
                    <a:pt x="5347" y="2480"/>
                  </a:lnTo>
                  <a:lnTo>
                    <a:pt x="5349" y="2477"/>
                  </a:lnTo>
                  <a:lnTo>
                    <a:pt x="5352" y="2471"/>
                  </a:lnTo>
                  <a:lnTo>
                    <a:pt x="5352" y="2465"/>
                  </a:lnTo>
                  <a:lnTo>
                    <a:pt x="5353" y="2457"/>
                  </a:lnTo>
                  <a:lnTo>
                    <a:pt x="5353" y="2409"/>
                  </a:lnTo>
                  <a:lnTo>
                    <a:pt x="5352" y="2401"/>
                  </a:lnTo>
                  <a:lnTo>
                    <a:pt x="5352" y="2394"/>
                  </a:lnTo>
                  <a:lnTo>
                    <a:pt x="5349" y="2389"/>
                  </a:lnTo>
                  <a:lnTo>
                    <a:pt x="5347" y="2386"/>
                  </a:lnTo>
                  <a:lnTo>
                    <a:pt x="5343" y="2382"/>
                  </a:lnTo>
                  <a:lnTo>
                    <a:pt x="5338" y="2381"/>
                  </a:lnTo>
                  <a:lnTo>
                    <a:pt x="5332" y="2380"/>
                  </a:lnTo>
                  <a:lnTo>
                    <a:pt x="5324" y="2380"/>
                  </a:lnTo>
                  <a:close/>
                  <a:moveTo>
                    <a:pt x="3805" y="2254"/>
                  </a:moveTo>
                  <a:lnTo>
                    <a:pt x="3805" y="2254"/>
                  </a:lnTo>
                  <a:lnTo>
                    <a:pt x="3790" y="2254"/>
                  </a:lnTo>
                  <a:lnTo>
                    <a:pt x="3790" y="2443"/>
                  </a:lnTo>
                  <a:lnTo>
                    <a:pt x="3805" y="2443"/>
                  </a:lnTo>
                  <a:lnTo>
                    <a:pt x="3811" y="2443"/>
                  </a:lnTo>
                  <a:lnTo>
                    <a:pt x="3818" y="2441"/>
                  </a:lnTo>
                  <a:lnTo>
                    <a:pt x="3823" y="2439"/>
                  </a:lnTo>
                  <a:lnTo>
                    <a:pt x="3827" y="2437"/>
                  </a:lnTo>
                  <a:lnTo>
                    <a:pt x="3830" y="2432"/>
                  </a:lnTo>
                  <a:lnTo>
                    <a:pt x="3832" y="2428"/>
                  </a:lnTo>
                  <a:lnTo>
                    <a:pt x="3833" y="2421"/>
                  </a:lnTo>
                  <a:lnTo>
                    <a:pt x="3833" y="2413"/>
                  </a:lnTo>
                  <a:lnTo>
                    <a:pt x="3833" y="2282"/>
                  </a:lnTo>
                  <a:lnTo>
                    <a:pt x="3833" y="2274"/>
                  </a:lnTo>
                  <a:lnTo>
                    <a:pt x="3832" y="2268"/>
                  </a:lnTo>
                  <a:lnTo>
                    <a:pt x="3830" y="2263"/>
                  </a:lnTo>
                  <a:lnTo>
                    <a:pt x="3827" y="2260"/>
                  </a:lnTo>
                  <a:lnTo>
                    <a:pt x="3823" y="2256"/>
                  </a:lnTo>
                  <a:lnTo>
                    <a:pt x="3818" y="2255"/>
                  </a:lnTo>
                  <a:lnTo>
                    <a:pt x="3811" y="2254"/>
                  </a:lnTo>
                  <a:lnTo>
                    <a:pt x="3805" y="2254"/>
                  </a:lnTo>
                  <a:close/>
                  <a:moveTo>
                    <a:pt x="1286" y="1627"/>
                  </a:moveTo>
                  <a:lnTo>
                    <a:pt x="1286" y="1627"/>
                  </a:lnTo>
                  <a:lnTo>
                    <a:pt x="1275" y="1604"/>
                  </a:lnTo>
                  <a:lnTo>
                    <a:pt x="1263" y="1578"/>
                  </a:lnTo>
                  <a:lnTo>
                    <a:pt x="1251" y="1547"/>
                  </a:lnTo>
                  <a:lnTo>
                    <a:pt x="1239" y="1512"/>
                  </a:lnTo>
                  <a:lnTo>
                    <a:pt x="1234" y="1492"/>
                  </a:lnTo>
                  <a:lnTo>
                    <a:pt x="1229" y="1471"/>
                  </a:lnTo>
                  <a:lnTo>
                    <a:pt x="1224" y="1450"/>
                  </a:lnTo>
                  <a:lnTo>
                    <a:pt x="1220" y="1426"/>
                  </a:lnTo>
                  <a:lnTo>
                    <a:pt x="1216" y="1402"/>
                  </a:lnTo>
                  <a:lnTo>
                    <a:pt x="1214" y="1376"/>
                  </a:lnTo>
                  <a:lnTo>
                    <a:pt x="1212" y="1349"/>
                  </a:lnTo>
                  <a:lnTo>
                    <a:pt x="1211" y="1320"/>
                  </a:lnTo>
                  <a:lnTo>
                    <a:pt x="1211" y="1293"/>
                  </a:lnTo>
                  <a:lnTo>
                    <a:pt x="1213" y="1266"/>
                  </a:lnTo>
                  <a:lnTo>
                    <a:pt x="1215" y="1239"/>
                  </a:lnTo>
                  <a:lnTo>
                    <a:pt x="1220" y="1213"/>
                  </a:lnTo>
                  <a:lnTo>
                    <a:pt x="1224" y="1190"/>
                  </a:lnTo>
                  <a:lnTo>
                    <a:pt x="1229" y="1166"/>
                  </a:lnTo>
                  <a:lnTo>
                    <a:pt x="1236" y="1144"/>
                  </a:lnTo>
                  <a:lnTo>
                    <a:pt x="1242" y="1122"/>
                  </a:lnTo>
                  <a:lnTo>
                    <a:pt x="1255" y="1085"/>
                  </a:lnTo>
                  <a:lnTo>
                    <a:pt x="1268" y="1054"/>
                  </a:lnTo>
                  <a:lnTo>
                    <a:pt x="1278" y="1032"/>
                  </a:lnTo>
                  <a:lnTo>
                    <a:pt x="1287" y="1017"/>
                  </a:lnTo>
                  <a:lnTo>
                    <a:pt x="1294" y="1030"/>
                  </a:lnTo>
                  <a:lnTo>
                    <a:pt x="1304" y="1052"/>
                  </a:lnTo>
                  <a:lnTo>
                    <a:pt x="1316" y="1080"/>
                  </a:lnTo>
                  <a:lnTo>
                    <a:pt x="1327" y="1115"/>
                  </a:lnTo>
                  <a:lnTo>
                    <a:pt x="1333" y="1135"/>
                  </a:lnTo>
                  <a:lnTo>
                    <a:pt x="1338" y="1155"/>
                  </a:lnTo>
                  <a:lnTo>
                    <a:pt x="1343" y="1178"/>
                  </a:lnTo>
                  <a:lnTo>
                    <a:pt x="1349" y="1201"/>
                  </a:lnTo>
                  <a:lnTo>
                    <a:pt x="1352" y="1226"/>
                  </a:lnTo>
                  <a:lnTo>
                    <a:pt x="1356" y="1252"/>
                  </a:lnTo>
                  <a:lnTo>
                    <a:pt x="1359" y="1279"/>
                  </a:lnTo>
                  <a:lnTo>
                    <a:pt x="1360" y="1307"/>
                  </a:lnTo>
                  <a:lnTo>
                    <a:pt x="1360" y="1335"/>
                  </a:lnTo>
                  <a:lnTo>
                    <a:pt x="1359" y="1361"/>
                  </a:lnTo>
                  <a:lnTo>
                    <a:pt x="1358" y="1387"/>
                  </a:lnTo>
                  <a:lnTo>
                    <a:pt x="1354" y="1412"/>
                  </a:lnTo>
                  <a:lnTo>
                    <a:pt x="1351" y="1436"/>
                  </a:lnTo>
                  <a:lnTo>
                    <a:pt x="1346" y="1460"/>
                  </a:lnTo>
                  <a:lnTo>
                    <a:pt x="1341" y="1481"/>
                  </a:lnTo>
                  <a:lnTo>
                    <a:pt x="1335" y="1503"/>
                  </a:lnTo>
                  <a:lnTo>
                    <a:pt x="1324" y="1542"/>
                  </a:lnTo>
                  <a:lnTo>
                    <a:pt x="1310" y="1575"/>
                  </a:lnTo>
                  <a:lnTo>
                    <a:pt x="1297" y="1603"/>
                  </a:lnTo>
                  <a:lnTo>
                    <a:pt x="1286" y="1627"/>
                  </a:lnTo>
                  <a:close/>
                  <a:moveTo>
                    <a:pt x="1505" y="482"/>
                  </a:moveTo>
                  <a:lnTo>
                    <a:pt x="1505" y="482"/>
                  </a:lnTo>
                  <a:lnTo>
                    <a:pt x="1493" y="436"/>
                  </a:lnTo>
                  <a:lnTo>
                    <a:pt x="1480" y="392"/>
                  </a:lnTo>
                  <a:lnTo>
                    <a:pt x="1465" y="349"/>
                  </a:lnTo>
                  <a:lnTo>
                    <a:pt x="1449" y="307"/>
                  </a:lnTo>
                  <a:lnTo>
                    <a:pt x="1433" y="267"/>
                  </a:lnTo>
                  <a:lnTo>
                    <a:pt x="1416" y="229"/>
                  </a:lnTo>
                  <a:lnTo>
                    <a:pt x="1399" y="194"/>
                  </a:lnTo>
                  <a:lnTo>
                    <a:pt x="1382" y="160"/>
                  </a:lnTo>
                  <a:lnTo>
                    <a:pt x="1349" y="101"/>
                  </a:lnTo>
                  <a:lnTo>
                    <a:pt x="1320" y="55"/>
                  </a:lnTo>
                  <a:lnTo>
                    <a:pt x="1299" y="20"/>
                  </a:lnTo>
                  <a:lnTo>
                    <a:pt x="1286" y="0"/>
                  </a:lnTo>
                  <a:lnTo>
                    <a:pt x="1271" y="23"/>
                  </a:lnTo>
                  <a:lnTo>
                    <a:pt x="1250" y="58"/>
                  </a:lnTo>
                  <a:lnTo>
                    <a:pt x="1223" y="101"/>
                  </a:lnTo>
                  <a:lnTo>
                    <a:pt x="1195" y="155"/>
                  </a:lnTo>
                  <a:lnTo>
                    <a:pt x="1180" y="183"/>
                  </a:lnTo>
                  <a:lnTo>
                    <a:pt x="1165" y="214"/>
                  </a:lnTo>
                  <a:lnTo>
                    <a:pt x="1150" y="245"/>
                  </a:lnTo>
                  <a:lnTo>
                    <a:pt x="1135" y="278"/>
                  </a:lnTo>
                  <a:lnTo>
                    <a:pt x="1121" y="314"/>
                  </a:lnTo>
                  <a:lnTo>
                    <a:pt x="1108" y="349"/>
                  </a:lnTo>
                  <a:lnTo>
                    <a:pt x="1096" y="385"/>
                  </a:lnTo>
                  <a:lnTo>
                    <a:pt x="1084" y="421"/>
                  </a:lnTo>
                  <a:lnTo>
                    <a:pt x="1073" y="462"/>
                  </a:lnTo>
                  <a:lnTo>
                    <a:pt x="1063" y="503"/>
                  </a:lnTo>
                  <a:lnTo>
                    <a:pt x="1053" y="543"/>
                  </a:lnTo>
                  <a:lnTo>
                    <a:pt x="1047" y="583"/>
                  </a:lnTo>
                  <a:lnTo>
                    <a:pt x="1040" y="621"/>
                  </a:lnTo>
                  <a:lnTo>
                    <a:pt x="1034" y="660"/>
                  </a:lnTo>
                  <a:lnTo>
                    <a:pt x="1029" y="698"/>
                  </a:lnTo>
                  <a:lnTo>
                    <a:pt x="1026" y="736"/>
                  </a:lnTo>
                  <a:lnTo>
                    <a:pt x="1024" y="774"/>
                  </a:lnTo>
                  <a:lnTo>
                    <a:pt x="1023" y="810"/>
                  </a:lnTo>
                  <a:lnTo>
                    <a:pt x="1023" y="848"/>
                  </a:lnTo>
                  <a:lnTo>
                    <a:pt x="1023" y="884"/>
                  </a:lnTo>
                  <a:lnTo>
                    <a:pt x="1024" y="920"/>
                  </a:lnTo>
                  <a:lnTo>
                    <a:pt x="1026" y="957"/>
                  </a:lnTo>
                  <a:lnTo>
                    <a:pt x="1029" y="993"/>
                  </a:lnTo>
                  <a:lnTo>
                    <a:pt x="1033" y="1029"/>
                  </a:lnTo>
                  <a:lnTo>
                    <a:pt x="1037" y="1066"/>
                  </a:lnTo>
                  <a:lnTo>
                    <a:pt x="1043" y="1101"/>
                  </a:lnTo>
                  <a:lnTo>
                    <a:pt x="1051" y="1137"/>
                  </a:lnTo>
                  <a:lnTo>
                    <a:pt x="1058" y="1171"/>
                  </a:lnTo>
                  <a:lnTo>
                    <a:pt x="1067" y="1205"/>
                  </a:lnTo>
                  <a:lnTo>
                    <a:pt x="1075" y="1237"/>
                  </a:lnTo>
                  <a:lnTo>
                    <a:pt x="1084" y="1268"/>
                  </a:lnTo>
                  <a:lnTo>
                    <a:pt x="1093" y="1296"/>
                  </a:lnTo>
                  <a:lnTo>
                    <a:pt x="1109" y="1346"/>
                  </a:lnTo>
                  <a:lnTo>
                    <a:pt x="1123" y="1385"/>
                  </a:lnTo>
                  <a:lnTo>
                    <a:pt x="1133" y="1410"/>
                  </a:lnTo>
                  <a:lnTo>
                    <a:pt x="1137" y="1419"/>
                  </a:lnTo>
                  <a:lnTo>
                    <a:pt x="1154" y="1458"/>
                  </a:lnTo>
                  <a:lnTo>
                    <a:pt x="1172" y="1497"/>
                  </a:lnTo>
                  <a:lnTo>
                    <a:pt x="1191" y="1535"/>
                  </a:lnTo>
                  <a:lnTo>
                    <a:pt x="1212" y="1572"/>
                  </a:lnTo>
                  <a:lnTo>
                    <a:pt x="1232" y="1606"/>
                  </a:lnTo>
                  <a:lnTo>
                    <a:pt x="1252" y="1638"/>
                  </a:lnTo>
                  <a:lnTo>
                    <a:pt x="1270" y="1666"/>
                  </a:lnTo>
                  <a:lnTo>
                    <a:pt x="1287" y="1688"/>
                  </a:lnTo>
                  <a:lnTo>
                    <a:pt x="1300" y="1671"/>
                  </a:lnTo>
                  <a:lnTo>
                    <a:pt x="1313" y="1651"/>
                  </a:lnTo>
                  <a:lnTo>
                    <a:pt x="1329" y="1627"/>
                  </a:lnTo>
                  <a:lnTo>
                    <a:pt x="1345" y="1600"/>
                  </a:lnTo>
                  <a:lnTo>
                    <a:pt x="1364" y="1569"/>
                  </a:lnTo>
                  <a:lnTo>
                    <a:pt x="1381" y="1535"/>
                  </a:lnTo>
                  <a:lnTo>
                    <a:pt x="1400" y="1499"/>
                  </a:lnTo>
                  <a:lnTo>
                    <a:pt x="1418" y="1460"/>
                  </a:lnTo>
                  <a:lnTo>
                    <a:pt x="1436" y="1417"/>
                  </a:lnTo>
                  <a:lnTo>
                    <a:pt x="1454" y="1372"/>
                  </a:lnTo>
                  <a:lnTo>
                    <a:pt x="1471" y="1325"/>
                  </a:lnTo>
                  <a:lnTo>
                    <a:pt x="1487" y="1276"/>
                  </a:lnTo>
                  <a:lnTo>
                    <a:pt x="1501" y="1224"/>
                  </a:lnTo>
                  <a:lnTo>
                    <a:pt x="1515" y="1170"/>
                  </a:lnTo>
                  <a:lnTo>
                    <a:pt x="1521" y="1142"/>
                  </a:lnTo>
                  <a:lnTo>
                    <a:pt x="1527" y="1113"/>
                  </a:lnTo>
                  <a:lnTo>
                    <a:pt x="1531" y="1085"/>
                  </a:lnTo>
                  <a:lnTo>
                    <a:pt x="1536" y="1057"/>
                  </a:lnTo>
                  <a:lnTo>
                    <a:pt x="1540" y="1024"/>
                  </a:lnTo>
                  <a:lnTo>
                    <a:pt x="1544" y="992"/>
                  </a:lnTo>
                  <a:lnTo>
                    <a:pt x="1547" y="960"/>
                  </a:lnTo>
                  <a:lnTo>
                    <a:pt x="1549" y="928"/>
                  </a:lnTo>
                  <a:lnTo>
                    <a:pt x="1550" y="896"/>
                  </a:lnTo>
                  <a:lnTo>
                    <a:pt x="1552" y="863"/>
                  </a:lnTo>
                  <a:lnTo>
                    <a:pt x="1552" y="830"/>
                  </a:lnTo>
                  <a:lnTo>
                    <a:pt x="1550" y="796"/>
                  </a:lnTo>
                  <a:lnTo>
                    <a:pt x="1548" y="762"/>
                  </a:lnTo>
                  <a:lnTo>
                    <a:pt x="1546" y="727"/>
                  </a:lnTo>
                  <a:lnTo>
                    <a:pt x="1541" y="690"/>
                  </a:lnTo>
                  <a:lnTo>
                    <a:pt x="1537" y="652"/>
                  </a:lnTo>
                  <a:lnTo>
                    <a:pt x="1531" y="612"/>
                  </a:lnTo>
                  <a:lnTo>
                    <a:pt x="1523" y="571"/>
                  </a:lnTo>
                  <a:lnTo>
                    <a:pt x="1515" y="527"/>
                  </a:lnTo>
                  <a:lnTo>
                    <a:pt x="1505" y="482"/>
                  </a:lnTo>
                  <a:close/>
                  <a:moveTo>
                    <a:pt x="4050" y="1321"/>
                  </a:moveTo>
                  <a:lnTo>
                    <a:pt x="4050" y="1321"/>
                  </a:lnTo>
                  <a:lnTo>
                    <a:pt x="4050" y="924"/>
                  </a:lnTo>
                  <a:lnTo>
                    <a:pt x="4096" y="924"/>
                  </a:lnTo>
                  <a:lnTo>
                    <a:pt x="4103" y="925"/>
                  </a:lnTo>
                  <a:lnTo>
                    <a:pt x="4110" y="927"/>
                  </a:lnTo>
                  <a:lnTo>
                    <a:pt x="4116" y="930"/>
                  </a:lnTo>
                  <a:lnTo>
                    <a:pt x="4120" y="936"/>
                  </a:lnTo>
                  <a:lnTo>
                    <a:pt x="4125" y="943"/>
                  </a:lnTo>
                  <a:lnTo>
                    <a:pt x="4127" y="951"/>
                  </a:lnTo>
                  <a:lnTo>
                    <a:pt x="4129" y="960"/>
                  </a:lnTo>
                  <a:lnTo>
                    <a:pt x="4131" y="970"/>
                  </a:lnTo>
                  <a:lnTo>
                    <a:pt x="4131" y="1275"/>
                  </a:lnTo>
                  <a:lnTo>
                    <a:pt x="4129" y="1285"/>
                  </a:lnTo>
                  <a:lnTo>
                    <a:pt x="4127" y="1294"/>
                  </a:lnTo>
                  <a:lnTo>
                    <a:pt x="4125" y="1302"/>
                  </a:lnTo>
                  <a:lnTo>
                    <a:pt x="4120" y="1309"/>
                  </a:lnTo>
                  <a:lnTo>
                    <a:pt x="4116" y="1313"/>
                  </a:lnTo>
                  <a:lnTo>
                    <a:pt x="4110" y="1318"/>
                  </a:lnTo>
                  <a:lnTo>
                    <a:pt x="4103" y="1320"/>
                  </a:lnTo>
                  <a:lnTo>
                    <a:pt x="4096" y="1321"/>
                  </a:lnTo>
                  <a:lnTo>
                    <a:pt x="4050" y="1321"/>
                  </a:lnTo>
                  <a:close/>
                  <a:moveTo>
                    <a:pt x="2440" y="1391"/>
                  </a:moveTo>
                  <a:lnTo>
                    <a:pt x="2440" y="1391"/>
                  </a:lnTo>
                  <a:lnTo>
                    <a:pt x="2472" y="924"/>
                  </a:lnTo>
                  <a:lnTo>
                    <a:pt x="2481" y="924"/>
                  </a:lnTo>
                  <a:lnTo>
                    <a:pt x="2512" y="1391"/>
                  </a:lnTo>
                  <a:lnTo>
                    <a:pt x="2440" y="1391"/>
                  </a:lnTo>
                  <a:close/>
                  <a:moveTo>
                    <a:pt x="4674" y="808"/>
                  </a:moveTo>
                  <a:lnTo>
                    <a:pt x="4674" y="808"/>
                  </a:lnTo>
                  <a:lnTo>
                    <a:pt x="4525" y="808"/>
                  </a:lnTo>
                  <a:lnTo>
                    <a:pt x="4514" y="808"/>
                  </a:lnTo>
                  <a:lnTo>
                    <a:pt x="4503" y="809"/>
                  </a:lnTo>
                  <a:lnTo>
                    <a:pt x="4493" y="810"/>
                  </a:lnTo>
                  <a:lnTo>
                    <a:pt x="4483" y="812"/>
                  </a:lnTo>
                  <a:lnTo>
                    <a:pt x="4475" y="815"/>
                  </a:lnTo>
                  <a:lnTo>
                    <a:pt x="4466" y="818"/>
                  </a:lnTo>
                  <a:lnTo>
                    <a:pt x="4459" y="821"/>
                  </a:lnTo>
                  <a:lnTo>
                    <a:pt x="4451" y="825"/>
                  </a:lnTo>
                  <a:lnTo>
                    <a:pt x="4444" y="829"/>
                  </a:lnTo>
                  <a:lnTo>
                    <a:pt x="4438" y="834"/>
                  </a:lnTo>
                  <a:lnTo>
                    <a:pt x="4433" y="838"/>
                  </a:lnTo>
                  <a:lnTo>
                    <a:pt x="4428" y="843"/>
                  </a:lnTo>
                  <a:lnTo>
                    <a:pt x="4419" y="854"/>
                  </a:lnTo>
                  <a:lnTo>
                    <a:pt x="4411" y="867"/>
                  </a:lnTo>
                  <a:lnTo>
                    <a:pt x="4405" y="879"/>
                  </a:lnTo>
                  <a:lnTo>
                    <a:pt x="4401" y="893"/>
                  </a:lnTo>
                  <a:lnTo>
                    <a:pt x="4397" y="907"/>
                  </a:lnTo>
                  <a:lnTo>
                    <a:pt x="4395" y="921"/>
                  </a:lnTo>
                  <a:lnTo>
                    <a:pt x="4393" y="949"/>
                  </a:lnTo>
                  <a:lnTo>
                    <a:pt x="4392" y="975"/>
                  </a:lnTo>
                  <a:lnTo>
                    <a:pt x="4392" y="1574"/>
                  </a:lnTo>
                  <a:lnTo>
                    <a:pt x="4393" y="1600"/>
                  </a:lnTo>
                  <a:lnTo>
                    <a:pt x="4395" y="1628"/>
                  </a:lnTo>
                  <a:lnTo>
                    <a:pt x="4397" y="1642"/>
                  </a:lnTo>
                  <a:lnTo>
                    <a:pt x="4401" y="1655"/>
                  </a:lnTo>
                  <a:lnTo>
                    <a:pt x="4405" y="1669"/>
                  </a:lnTo>
                  <a:lnTo>
                    <a:pt x="4411" y="1681"/>
                  </a:lnTo>
                  <a:lnTo>
                    <a:pt x="4419" y="1694"/>
                  </a:lnTo>
                  <a:lnTo>
                    <a:pt x="4428" y="1705"/>
                  </a:lnTo>
                  <a:lnTo>
                    <a:pt x="4433" y="1710"/>
                  </a:lnTo>
                  <a:lnTo>
                    <a:pt x="4438" y="1716"/>
                  </a:lnTo>
                  <a:lnTo>
                    <a:pt x="4444" y="1720"/>
                  </a:lnTo>
                  <a:lnTo>
                    <a:pt x="4451" y="1723"/>
                  </a:lnTo>
                  <a:lnTo>
                    <a:pt x="4459" y="1728"/>
                  </a:lnTo>
                  <a:lnTo>
                    <a:pt x="4466" y="1731"/>
                  </a:lnTo>
                  <a:lnTo>
                    <a:pt x="4475" y="1734"/>
                  </a:lnTo>
                  <a:lnTo>
                    <a:pt x="4483" y="1736"/>
                  </a:lnTo>
                  <a:lnTo>
                    <a:pt x="4493" y="1738"/>
                  </a:lnTo>
                  <a:lnTo>
                    <a:pt x="4503" y="1739"/>
                  </a:lnTo>
                  <a:lnTo>
                    <a:pt x="4514" y="1741"/>
                  </a:lnTo>
                  <a:lnTo>
                    <a:pt x="4525" y="1741"/>
                  </a:lnTo>
                  <a:lnTo>
                    <a:pt x="4674" y="1741"/>
                  </a:lnTo>
                  <a:lnTo>
                    <a:pt x="4686" y="1741"/>
                  </a:lnTo>
                  <a:lnTo>
                    <a:pt x="4696" y="1739"/>
                  </a:lnTo>
                  <a:lnTo>
                    <a:pt x="4706" y="1738"/>
                  </a:lnTo>
                  <a:lnTo>
                    <a:pt x="4715" y="1736"/>
                  </a:lnTo>
                  <a:lnTo>
                    <a:pt x="4725" y="1734"/>
                  </a:lnTo>
                  <a:lnTo>
                    <a:pt x="4734" y="1731"/>
                  </a:lnTo>
                  <a:lnTo>
                    <a:pt x="4741" y="1728"/>
                  </a:lnTo>
                  <a:lnTo>
                    <a:pt x="4749" y="1723"/>
                  </a:lnTo>
                  <a:lnTo>
                    <a:pt x="4754" y="1720"/>
                  </a:lnTo>
                  <a:lnTo>
                    <a:pt x="4761" y="1716"/>
                  </a:lnTo>
                  <a:lnTo>
                    <a:pt x="4767" y="1710"/>
                  </a:lnTo>
                  <a:lnTo>
                    <a:pt x="4771" y="1705"/>
                  </a:lnTo>
                  <a:lnTo>
                    <a:pt x="4780" y="1694"/>
                  </a:lnTo>
                  <a:lnTo>
                    <a:pt x="4788" y="1681"/>
                  </a:lnTo>
                  <a:lnTo>
                    <a:pt x="4794" y="1669"/>
                  </a:lnTo>
                  <a:lnTo>
                    <a:pt x="4799" y="1655"/>
                  </a:lnTo>
                  <a:lnTo>
                    <a:pt x="4802" y="1642"/>
                  </a:lnTo>
                  <a:lnTo>
                    <a:pt x="4804" y="1628"/>
                  </a:lnTo>
                  <a:lnTo>
                    <a:pt x="4807" y="1600"/>
                  </a:lnTo>
                  <a:lnTo>
                    <a:pt x="4808" y="1574"/>
                  </a:lnTo>
                  <a:lnTo>
                    <a:pt x="4808" y="975"/>
                  </a:lnTo>
                  <a:lnTo>
                    <a:pt x="4807" y="949"/>
                  </a:lnTo>
                  <a:lnTo>
                    <a:pt x="4804" y="921"/>
                  </a:lnTo>
                  <a:lnTo>
                    <a:pt x="4802" y="907"/>
                  </a:lnTo>
                  <a:lnTo>
                    <a:pt x="4799" y="893"/>
                  </a:lnTo>
                  <a:lnTo>
                    <a:pt x="4794" y="879"/>
                  </a:lnTo>
                  <a:lnTo>
                    <a:pt x="4788" y="867"/>
                  </a:lnTo>
                  <a:lnTo>
                    <a:pt x="4780" y="854"/>
                  </a:lnTo>
                  <a:lnTo>
                    <a:pt x="4771" y="843"/>
                  </a:lnTo>
                  <a:lnTo>
                    <a:pt x="4767" y="838"/>
                  </a:lnTo>
                  <a:lnTo>
                    <a:pt x="4761" y="834"/>
                  </a:lnTo>
                  <a:lnTo>
                    <a:pt x="4754" y="829"/>
                  </a:lnTo>
                  <a:lnTo>
                    <a:pt x="4749" y="825"/>
                  </a:lnTo>
                  <a:lnTo>
                    <a:pt x="4741" y="821"/>
                  </a:lnTo>
                  <a:lnTo>
                    <a:pt x="4734" y="818"/>
                  </a:lnTo>
                  <a:lnTo>
                    <a:pt x="4725" y="815"/>
                  </a:lnTo>
                  <a:lnTo>
                    <a:pt x="4715" y="812"/>
                  </a:lnTo>
                  <a:lnTo>
                    <a:pt x="4706" y="810"/>
                  </a:lnTo>
                  <a:lnTo>
                    <a:pt x="4696" y="809"/>
                  </a:lnTo>
                  <a:lnTo>
                    <a:pt x="4686" y="808"/>
                  </a:lnTo>
                  <a:lnTo>
                    <a:pt x="4674" y="808"/>
                  </a:lnTo>
                  <a:close/>
                </a:path>
              </a:pathLst>
            </a:custGeom>
            <a:solidFill>
              <a:srgbClr val="0073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7"/>
            <p:cNvSpPr>
              <a:spLocks noEditPoints="1"/>
            </p:cNvSpPr>
            <p:nvPr/>
          </p:nvSpPr>
          <p:spPr bwMode="auto">
            <a:xfrm>
              <a:off x="6783958" y="1655566"/>
              <a:ext cx="585788" cy="549275"/>
            </a:xfrm>
            <a:custGeom>
              <a:avLst/>
              <a:gdLst>
                <a:gd name="T0" fmla="*/ 1029 w 2583"/>
                <a:gd name="T1" fmla="*/ 52 h 2418"/>
                <a:gd name="T2" fmla="*/ 712 w 2583"/>
                <a:gd name="T3" fmla="*/ 166 h 2418"/>
                <a:gd name="T4" fmla="*/ 434 w 2583"/>
                <a:gd name="T5" fmla="*/ 333 h 2418"/>
                <a:gd name="T6" fmla="*/ 210 w 2583"/>
                <a:gd name="T7" fmla="*/ 544 h 2418"/>
                <a:gd name="T8" fmla="*/ 61 w 2583"/>
                <a:gd name="T9" fmla="*/ 792 h 2418"/>
                <a:gd name="T10" fmla="*/ 0 w 2583"/>
                <a:gd name="T11" fmla="*/ 1069 h 2418"/>
                <a:gd name="T12" fmla="*/ 40 w 2583"/>
                <a:gd name="T13" fmla="*/ 1362 h 2418"/>
                <a:gd name="T14" fmla="*/ 135 w 2583"/>
                <a:gd name="T15" fmla="*/ 1643 h 2418"/>
                <a:gd name="T16" fmla="*/ 269 w 2583"/>
                <a:gd name="T17" fmla="*/ 1895 h 2418"/>
                <a:gd name="T18" fmla="*/ 447 w 2583"/>
                <a:gd name="T19" fmla="*/ 2109 h 2418"/>
                <a:gd name="T20" fmla="*/ 667 w 2583"/>
                <a:gd name="T21" fmla="*/ 2274 h 2418"/>
                <a:gd name="T22" fmla="*/ 931 w 2583"/>
                <a:gd name="T23" fmla="*/ 2379 h 2418"/>
                <a:gd name="T24" fmla="*/ 1240 w 2583"/>
                <a:gd name="T25" fmla="*/ 2418 h 2418"/>
                <a:gd name="T26" fmla="*/ 1557 w 2583"/>
                <a:gd name="T27" fmla="*/ 2366 h 2418"/>
                <a:gd name="T28" fmla="*/ 1843 w 2583"/>
                <a:gd name="T29" fmla="*/ 2229 h 2418"/>
                <a:gd name="T30" fmla="*/ 2092 w 2583"/>
                <a:gd name="T31" fmla="*/ 2030 h 2418"/>
                <a:gd name="T32" fmla="*/ 2298 w 2583"/>
                <a:gd name="T33" fmla="*/ 1797 h 2418"/>
                <a:gd name="T34" fmla="*/ 2452 w 2583"/>
                <a:gd name="T35" fmla="*/ 1554 h 2418"/>
                <a:gd name="T36" fmla="*/ 2547 w 2583"/>
                <a:gd name="T37" fmla="*/ 1326 h 2418"/>
                <a:gd name="T38" fmla="*/ 2583 w 2583"/>
                <a:gd name="T39" fmla="*/ 1066 h 2418"/>
                <a:gd name="T40" fmla="*/ 2521 w 2583"/>
                <a:gd name="T41" fmla="*/ 774 h 2418"/>
                <a:gd name="T42" fmla="*/ 2371 w 2583"/>
                <a:gd name="T43" fmla="*/ 505 h 2418"/>
                <a:gd name="T44" fmla="*/ 2147 w 2583"/>
                <a:gd name="T45" fmla="*/ 276 h 2418"/>
                <a:gd name="T46" fmla="*/ 1871 w 2583"/>
                <a:gd name="T47" fmla="*/ 106 h 2418"/>
                <a:gd name="T48" fmla="*/ 1560 w 2583"/>
                <a:gd name="T49" fmla="*/ 13 h 2418"/>
                <a:gd name="T50" fmla="*/ 2295 w 2583"/>
                <a:gd name="T51" fmla="*/ 1161 h 2418"/>
                <a:gd name="T52" fmla="*/ 2251 w 2583"/>
                <a:gd name="T53" fmla="*/ 1308 h 2418"/>
                <a:gd name="T54" fmla="*/ 2147 w 2583"/>
                <a:gd name="T55" fmla="*/ 1521 h 2418"/>
                <a:gd name="T56" fmla="*/ 1996 w 2583"/>
                <a:gd name="T57" fmla="*/ 1744 h 2418"/>
                <a:gd name="T58" fmla="*/ 1805 w 2583"/>
                <a:gd name="T59" fmla="*/ 1951 h 2418"/>
                <a:gd name="T60" fmla="*/ 1584 w 2583"/>
                <a:gd name="T61" fmla="*/ 2117 h 2418"/>
                <a:gd name="T62" fmla="*/ 1340 w 2583"/>
                <a:gd name="T63" fmla="*/ 2217 h 2418"/>
                <a:gd name="T64" fmla="*/ 1087 w 2583"/>
                <a:gd name="T65" fmla="*/ 2229 h 2418"/>
                <a:gd name="T66" fmla="*/ 867 w 2583"/>
                <a:gd name="T67" fmla="*/ 2168 h 2418"/>
                <a:gd name="T68" fmla="*/ 687 w 2583"/>
                <a:gd name="T69" fmla="*/ 2050 h 2418"/>
                <a:gd name="T70" fmla="*/ 542 w 2583"/>
                <a:gd name="T71" fmla="*/ 1883 h 2418"/>
                <a:gd name="T72" fmla="*/ 429 w 2583"/>
                <a:gd name="T73" fmla="*/ 1678 h 2418"/>
                <a:gd name="T74" fmla="*/ 347 w 2583"/>
                <a:gd name="T75" fmla="*/ 1446 h 2418"/>
                <a:gd name="T76" fmla="*/ 290 w 2583"/>
                <a:gd name="T77" fmla="*/ 1198 h 2418"/>
                <a:gd name="T78" fmla="*/ 285 w 2583"/>
                <a:gd name="T79" fmla="*/ 954 h 2418"/>
                <a:gd name="T80" fmla="*/ 354 w 2583"/>
                <a:gd name="T81" fmla="*/ 735 h 2418"/>
                <a:gd name="T82" fmla="*/ 486 w 2583"/>
                <a:gd name="T83" fmla="*/ 545 h 2418"/>
                <a:gd name="T84" fmla="*/ 668 w 2583"/>
                <a:gd name="T85" fmla="*/ 391 h 2418"/>
                <a:gd name="T86" fmla="*/ 891 w 2583"/>
                <a:gd name="T87" fmla="*/ 275 h 2418"/>
                <a:gd name="T88" fmla="*/ 1140 w 2583"/>
                <a:gd name="T89" fmla="*/ 202 h 2418"/>
                <a:gd name="T90" fmla="*/ 1402 w 2583"/>
                <a:gd name="T91" fmla="*/ 185 h 2418"/>
                <a:gd name="T92" fmla="*/ 1656 w 2583"/>
                <a:gd name="T93" fmla="*/ 239 h 2418"/>
                <a:gd name="T94" fmla="*/ 1890 w 2583"/>
                <a:gd name="T95" fmla="*/ 355 h 2418"/>
                <a:gd name="T96" fmla="*/ 2087 w 2583"/>
                <a:gd name="T97" fmla="*/ 522 h 2418"/>
                <a:gd name="T98" fmla="*/ 2229 w 2583"/>
                <a:gd name="T99" fmla="*/ 727 h 2418"/>
                <a:gd name="T100" fmla="*/ 2301 w 2583"/>
                <a:gd name="T101" fmla="*/ 961 h 2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83" h="2418">
                  <a:moveTo>
                    <a:pt x="1299" y="5"/>
                  </a:moveTo>
                  <a:lnTo>
                    <a:pt x="1231" y="13"/>
                  </a:lnTo>
                  <a:lnTo>
                    <a:pt x="1163" y="24"/>
                  </a:lnTo>
                  <a:lnTo>
                    <a:pt x="1096" y="37"/>
                  </a:lnTo>
                  <a:lnTo>
                    <a:pt x="1029" y="52"/>
                  </a:lnTo>
                  <a:lnTo>
                    <a:pt x="964" y="71"/>
                  </a:lnTo>
                  <a:lnTo>
                    <a:pt x="899" y="91"/>
                  </a:lnTo>
                  <a:lnTo>
                    <a:pt x="835" y="114"/>
                  </a:lnTo>
                  <a:lnTo>
                    <a:pt x="773" y="139"/>
                  </a:lnTo>
                  <a:lnTo>
                    <a:pt x="712" y="166"/>
                  </a:lnTo>
                  <a:lnTo>
                    <a:pt x="652" y="196"/>
                  </a:lnTo>
                  <a:lnTo>
                    <a:pt x="595" y="227"/>
                  </a:lnTo>
                  <a:lnTo>
                    <a:pt x="540" y="260"/>
                  </a:lnTo>
                  <a:lnTo>
                    <a:pt x="485" y="296"/>
                  </a:lnTo>
                  <a:lnTo>
                    <a:pt x="434" y="333"/>
                  </a:lnTo>
                  <a:lnTo>
                    <a:pt x="385" y="372"/>
                  </a:lnTo>
                  <a:lnTo>
                    <a:pt x="337" y="413"/>
                  </a:lnTo>
                  <a:lnTo>
                    <a:pt x="292" y="456"/>
                  </a:lnTo>
                  <a:lnTo>
                    <a:pt x="250" y="499"/>
                  </a:lnTo>
                  <a:lnTo>
                    <a:pt x="210" y="544"/>
                  </a:lnTo>
                  <a:lnTo>
                    <a:pt x="174" y="591"/>
                  </a:lnTo>
                  <a:lnTo>
                    <a:pt x="141" y="640"/>
                  </a:lnTo>
                  <a:lnTo>
                    <a:pt x="111" y="690"/>
                  </a:lnTo>
                  <a:lnTo>
                    <a:pt x="84" y="741"/>
                  </a:lnTo>
                  <a:lnTo>
                    <a:pt x="61" y="792"/>
                  </a:lnTo>
                  <a:lnTo>
                    <a:pt x="40" y="845"/>
                  </a:lnTo>
                  <a:lnTo>
                    <a:pt x="24" y="900"/>
                  </a:lnTo>
                  <a:lnTo>
                    <a:pt x="12" y="956"/>
                  </a:lnTo>
                  <a:lnTo>
                    <a:pt x="4" y="1011"/>
                  </a:lnTo>
                  <a:lnTo>
                    <a:pt x="0" y="1069"/>
                  </a:lnTo>
                  <a:lnTo>
                    <a:pt x="0" y="1127"/>
                  </a:lnTo>
                  <a:lnTo>
                    <a:pt x="5" y="1185"/>
                  </a:lnTo>
                  <a:lnTo>
                    <a:pt x="14" y="1245"/>
                  </a:lnTo>
                  <a:lnTo>
                    <a:pt x="27" y="1304"/>
                  </a:lnTo>
                  <a:lnTo>
                    <a:pt x="40" y="1362"/>
                  </a:lnTo>
                  <a:lnTo>
                    <a:pt x="56" y="1420"/>
                  </a:lnTo>
                  <a:lnTo>
                    <a:pt x="73" y="1477"/>
                  </a:lnTo>
                  <a:lnTo>
                    <a:pt x="92" y="1534"/>
                  </a:lnTo>
                  <a:lnTo>
                    <a:pt x="112" y="1588"/>
                  </a:lnTo>
                  <a:lnTo>
                    <a:pt x="135" y="1643"/>
                  </a:lnTo>
                  <a:lnTo>
                    <a:pt x="159" y="1696"/>
                  </a:lnTo>
                  <a:lnTo>
                    <a:pt x="184" y="1747"/>
                  </a:lnTo>
                  <a:lnTo>
                    <a:pt x="211" y="1799"/>
                  </a:lnTo>
                  <a:lnTo>
                    <a:pt x="240" y="1847"/>
                  </a:lnTo>
                  <a:lnTo>
                    <a:pt x="269" y="1895"/>
                  </a:lnTo>
                  <a:lnTo>
                    <a:pt x="302" y="1941"/>
                  </a:lnTo>
                  <a:lnTo>
                    <a:pt x="336" y="1985"/>
                  </a:lnTo>
                  <a:lnTo>
                    <a:pt x="371" y="2028"/>
                  </a:lnTo>
                  <a:lnTo>
                    <a:pt x="408" y="2069"/>
                  </a:lnTo>
                  <a:lnTo>
                    <a:pt x="447" y="2109"/>
                  </a:lnTo>
                  <a:lnTo>
                    <a:pt x="488" y="2145"/>
                  </a:lnTo>
                  <a:lnTo>
                    <a:pt x="530" y="2180"/>
                  </a:lnTo>
                  <a:lnTo>
                    <a:pt x="574" y="2213"/>
                  </a:lnTo>
                  <a:lnTo>
                    <a:pt x="619" y="2245"/>
                  </a:lnTo>
                  <a:lnTo>
                    <a:pt x="667" y="2274"/>
                  </a:lnTo>
                  <a:lnTo>
                    <a:pt x="716" y="2300"/>
                  </a:lnTo>
                  <a:lnTo>
                    <a:pt x="768" y="2323"/>
                  </a:lnTo>
                  <a:lnTo>
                    <a:pt x="820" y="2345"/>
                  </a:lnTo>
                  <a:lnTo>
                    <a:pt x="875" y="2363"/>
                  </a:lnTo>
                  <a:lnTo>
                    <a:pt x="931" y="2379"/>
                  </a:lnTo>
                  <a:lnTo>
                    <a:pt x="989" y="2393"/>
                  </a:lnTo>
                  <a:lnTo>
                    <a:pt x="1049" y="2403"/>
                  </a:lnTo>
                  <a:lnTo>
                    <a:pt x="1111" y="2411"/>
                  </a:lnTo>
                  <a:lnTo>
                    <a:pt x="1174" y="2416"/>
                  </a:lnTo>
                  <a:lnTo>
                    <a:pt x="1240" y="2418"/>
                  </a:lnTo>
                  <a:lnTo>
                    <a:pt x="1305" y="2416"/>
                  </a:lnTo>
                  <a:lnTo>
                    <a:pt x="1370" y="2409"/>
                  </a:lnTo>
                  <a:lnTo>
                    <a:pt x="1433" y="2398"/>
                  </a:lnTo>
                  <a:lnTo>
                    <a:pt x="1495" y="2384"/>
                  </a:lnTo>
                  <a:lnTo>
                    <a:pt x="1557" y="2366"/>
                  </a:lnTo>
                  <a:lnTo>
                    <a:pt x="1617" y="2345"/>
                  </a:lnTo>
                  <a:lnTo>
                    <a:pt x="1675" y="2320"/>
                  </a:lnTo>
                  <a:lnTo>
                    <a:pt x="1732" y="2293"/>
                  </a:lnTo>
                  <a:lnTo>
                    <a:pt x="1789" y="2262"/>
                  </a:lnTo>
                  <a:lnTo>
                    <a:pt x="1843" y="2229"/>
                  </a:lnTo>
                  <a:lnTo>
                    <a:pt x="1896" y="2193"/>
                  </a:lnTo>
                  <a:lnTo>
                    <a:pt x="1948" y="2155"/>
                  </a:lnTo>
                  <a:lnTo>
                    <a:pt x="1998" y="2116"/>
                  </a:lnTo>
                  <a:lnTo>
                    <a:pt x="2046" y="2074"/>
                  </a:lnTo>
                  <a:lnTo>
                    <a:pt x="2092" y="2030"/>
                  </a:lnTo>
                  <a:lnTo>
                    <a:pt x="2137" y="1986"/>
                  </a:lnTo>
                  <a:lnTo>
                    <a:pt x="2180" y="1941"/>
                  </a:lnTo>
                  <a:lnTo>
                    <a:pt x="2221" y="1894"/>
                  </a:lnTo>
                  <a:lnTo>
                    <a:pt x="2260" y="1846"/>
                  </a:lnTo>
                  <a:lnTo>
                    <a:pt x="2298" y="1797"/>
                  </a:lnTo>
                  <a:lnTo>
                    <a:pt x="2332" y="1749"/>
                  </a:lnTo>
                  <a:lnTo>
                    <a:pt x="2365" y="1700"/>
                  </a:lnTo>
                  <a:lnTo>
                    <a:pt x="2396" y="1651"/>
                  </a:lnTo>
                  <a:lnTo>
                    <a:pt x="2424" y="1603"/>
                  </a:lnTo>
                  <a:lnTo>
                    <a:pt x="2452" y="1554"/>
                  </a:lnTo>
                  <a:lnTo>
                    <a:pt x="2476" y="1507"/>
                  </a:lnTo>
                  <a:lnTo>
                    <a:pt x="2497" y="1460"/>
                  </a:lnTo>
                  <a:lnTo>
                    <a:pt x="2517" y="1415"/>
                  </a:lnTo>
                  <a:lnTo>
                    <a:pt x="2533" y="1369"/>
                  </a:lnTo>
                  <a:lnTo>
                    <a:pt x="2547" y="1326"/>
                  </a:lnTo>
                  <a:lnTo>
                    <a:pt x="2559" y="1285"/>
                  </a:lnTo>
                  <a:lnTo>
                    <a:pt x="2568" y="1245"/>
                  </a:lnTo>
                  <a:lnTo>
                    <a:pt x="2577" y="1185"/>
                  </a:lnTo>
                  <a:lnTo>
                    <a:pt x="2583" y="1126"/>
                  </a:lnTo>
                  <a:lnTo>
                    <a:pt x="2583" y="1066"/>
                  </a:lnTo>
                  <a:lnTo>
                    <a:pt x="2578" y="1007"/>
                  </a:lnTo>
                  <a:lnTo>
                    <a:pt x="2570" y="948"/>
                  </a:lnTo>
                  <a:lnTo>
                    <a:pt x="2558" y="890"/>
                  </a:lnTo>
                  <a:lnTo>
                    <a:pt x="2542" y="832"/>
                  </a:lnTo>
                  <a:lnTo>
                    <a:pt x="2521" y="774"/>
                  </a:lnTo>
                  <a:lnTo>
                    <a:pt x="2498" y="718"/>
                  </a:lnTo>
                  <a:lnTo>
                    <a:pt x="2471" y="663"/>
                  </a:lnTo>
                  <a:lnTo>
                    <a:pt x="2440" y="609"/>
                  </a:lnTo>
                  <a:lnTo>
                    <a:pt x="2407" y="556"/>
                  </a:lnTo>
                  <a:lnTo>
                    <a:pt x="2371" y="505"/>
                  </a:lnTo>
                  <a:lnTo>
                    <a:pt x="2331" y="456"/>
                  </a:lnTo>
                  <a:lnTo>
                    <a:pt x="2289" y="407"/>
                  </a:lnTo>
                  <a:lnTo>
                    <a:pt x="2244" y="361"/>
                  </a:lnTo>
                  <a:lnTo>
                    <a:pt x="2196" y="318"/>
                  </a:lnTo>
                  <a:lnTo>
                    <a:pt x="2147" y="276"/>
                  </a:lnTo>
                  <a:lnTo>
                    <a:pt x="2096" y="236"/>
                  </a:lnTo>
                  <a:lnTo>
                    <a:pt x="2042" y="200"/>
                  </a:lnTo>
                  <a:lnTo>
                    <a:pt x="1986" y="166"/>
                  </a:lnTo>
                  <a:lnTo>
                    <a:pt x="1929" y="134"/>
                  </a:lnTo>
                  <a:lnTo>
                    <a:pt x="1871" y="106"/>
                  </a:lnTo>
                  <a:lnTo>
                    <a:pt x="1811" y="81"/>
                  </a:lnTo>
                  <a:lnTo>
                    <a:pt x="1749" y="58"/>
                  </a:lnTo>
                  <a:lnTo>
                    <a:pt x="1688" y="40"/>
                  </a:lnTo>
                  <a:lnTo>
                    <a:pt x="1624" y="24"/>
                  </a:lnTo>
                  <a:lnTo>
                    <a:pt x="1560" y="13"/>
                  </a:lnTo>
                  <a:lnTo>
                    <a:pt x="1495" y="5"/>
                  </a:lnTo>
                  <a:lnTo>
                    <a:pt x="1430" y="0"/>
                  </a:lnTo>
                  <a:lnTo>
                    <a:pt x="1365" y="0"/>
                  </a:lnTo>
                  <a:lnTo>
                    <a:pt x="1299" y="5"/>
                  </a:lnTo>
                  <a:close/>
                  <a:moveTo>
                    <a:pt x="2295" y="1161"/>
                  </a:moveTo>
                  <a:lnTo>
                    <a:pt x="2295" y="1161"/>
                  </a:lnTo>
                  <a:lnTo>
                    <a:pt x="2287" y="1195"/>
                  </a:lnTo>
                  <a:lnTo>
                    <a:pt x="2278" y="1231"/>
                  </a:lnTo>
                  <a:lnTo>
                    <a:pt x="2266" y="1269"/>
                  </a:lnTo>
                  <a:lnTo>
                    <a:pt x="2251" y="1308"/>
                  </a:lnTo>
                  <a:lnTo>
                    <a:pt x="2235" y="1349"/>
                  </a:lnTo>
                  <a:lnTo>
                    <a:pt x="2216" y="1391"/>
                  </a:lnTo>
                  <a:lnTo>
                    <a:pt x="2195" y="1434"/>
                  </a:lnTo>
                  <a:lnTo>
                    <a:pt x="2172" y="1477"/>
                  </a:lnTo>
                  <a:lnTo>
                    <a:pt x="2147" y="1521"/>
                  </a:lnTo>
                  <a:lnTo>
                    <a:pt x="2120" y="1567"/>
                  </a:lnTo>
                  <a:lnTo>
                    <a:pt x="2091" y="1611"/>
                  </a:lnTo>
                  <a:lnTo>
                    <a:pt x="2062" y="1655"/>
                  </a:lnTo>
                  <a:lnTo>
                    <a:pt x="2030" y="1700"/>
                  </a:lnTo>
                  <a:lnTo>
                    <a:pt x="1996" y="1744"/>
                  </a:lnTo>
                  <a:lnTo>
                    <a:pt x="1960" y="1787"/>
                  </a:lnTo>
                  <a:lnTo>
                    <a:pt x="1924" y="1830"/>
                  </a:lnTo>
                  <a:lnTo>
                    <a:pt x="1885" y="1871"/>
                  </a:lnTo>
                  <a:lnTo>
                    <a:pt x="1846" y="1912"/>
                  </a:lnTo>
                  <a:lnTo>
                    <a:pt x="1805" y="1951"/>
                  </a:lnTo>
                  <a:lnTo>
                    <a:pt x="1763" y="1988"/>
                  </a:lnTo>
                  <a:lnTo>
                    <a:pt x="1720" y="2024"/>
                  </a:lnTo>
                  <a:lnTo>
                    <a:pt x="1675" y="2057"/>
                  </a:lnTo>
                  <a:lnTo>
                    <a:pt x="1630" y="2088"/>
                  </a:lnTo>
                  <a:lnTo>
                    <a:pt x="1584" y="2117"/>
                  </a:lnTo>
                  <a:lnTo>
                    <a:pt x="1536" y="2143"/>
                  </a:lnTo>
                  <a:lnTo>
                    <a:pt x="1488" y="2166"/>
                  </a:lnTo>
                  <a:lnTo>
                    <a:pt x="1439" y="2186"/>
                  </a:lnTo>
                  <a:lnTo>
                    <a:pt x="1390" y="2203"/>
                  </a:lnTo>
                  <a:lnTo>
                    <a:pt x="1340" y="2217"/>
                  </a:lnTo>
                  <a:lnTo>
                    <a:pt x="1290" y="2227"/>
                  </a:lnTo>
                  <a:lnTo>
                    <a:pt x="1239" y="2233"/>
                  </a:lnTo>
                  <a:lnTo>
                    <a:pt x="1187" y="2235"/>
                  </a:lnTo>
                  <a:lnTo>
                    <a:pt x="1136" y="2234"/>
                  </a:lnTo>
                  <a:lnTo>
                    <a:pt x="1087" y="2229"/>
                  </a:lnTo>
                  <a:lnTo>
                    <a:pt x="1040" y="2222"/>
                  </a:lnTo>
                  <a:lnTo>
                    <a:pt x="995" y="2212"/>
                  </a:lnTo>
                  <a:lnTo>
                    <a:pt x="950" y="2200"/>
                  </a:lnTo>
                  <a:lnTo>
                    <a:pt x="908" y="2186"/>
                  </a:lnTo>
                  <a:lnTo>
                    <a:pt x="867" y="2168"/>
                  </a:lnTo>
                  <a:lnTo>
                    <a:pt x="828" y="2149"/>
                  </a:lnTo>
                  <a:lnTo>
                    <a:pt x="790" y="2127"/>
                  </a:lnTo>
                  <a:lnTo>
                    <a:pt x="754" y="2103"/>
                  </a:lnTo>
                  <a:lnTo>
                    <a:pt x="720" y="2077"/>
                  </a:lnTo>
                  <a:lnTo>
                    <a:pt x="687" y="2050"/>
                  </a:lnTo>
                  <a:lnTo>
                    <a:pt x="655" y="2020"/>
                  </a:lnTo>
                  <a:lnTo>
                    <a:pt x="624" y="1988"/>
                  </a:lnTo>
                  <a:lnTo>
                    <a:pt x="595" y="1954"/>
                  </a:lnTo>
                  <a:lnTo>
                    <a:pt x="568" y="1919"/>
                  </a:lnTo>
                  <a:lnTo>
                    <a:pt x="542" y="1883"/>
                  </a:lnTo>
                  <a:lnTo>
                    <a:pt x="517" y="1844"/>
                  </a:lnTo>
                  <a:lnTo>
                    <a:pt x="493" y="1805"/>
                  </a:lnTo>
                  <a:lnTo>
                    <a:pt x="470" y="1765"/>
                  </a:lnTo>
                  <a:lnTo>
                    <a:pt x="450" y="1721"/>
                  </a:lnTo>
                  <a:lnTo>
                    <a:pt x="429" y="1678"/>
                  </a:lnTo>
                  <a:lnTo>
                    <a:pt x="411" y="1634"/>
                  </a:lnTo>
                  <a:lnTo>
                    <a:pt x="393" y="1588"/>
                  </a:lnTo>
                  <a:lnTo>
                    <a:pt x="377" y="1542"/>
                  </a:lnTo>
                  <a:lnTo>
                    <a:pt x="361" y="1495"/>
                  </a:lnTo>
                  <a:lnTo>
                    <a:pt x="347" y="1446"/>
                  </a:lnTo>
                  <a:lnTo>
                    <a:pt x="333" y="1398"/>
                  </a:lnTo>
                  <a:lnTo>
                    <a:pt x="321" y="1349"/>
                  </a:lnTo>
                  <a:lnTo>
                    <a:pt x="309" y="1299"/>
                  </a:lnTo>
                  <a:lnTo>
                    <a:pt x="299" y="1249"/>
                  </a:lnTo>
                  <a:lnTo>
                    <a:pt x="290" y="1198"/>
                  </a:lnTo>
                  <a:lnTo>
                    <a:pt x="282" y="1148"/>
                  </a:lnTo>
                  <a:lnTo>
                    <a:pt x="279" y="1098"/>
                  </a:lnTo>
                  <a:lnTo>
                    <a:pt x="277" y="1049"/>
                  </a:lnTo>
                  <a:lnTo>
                    <a:pt x="280" y="1001"/>
                  </a:lnTo>
                  <a:lnTo>
                    <a:pt x="285" y="954"/>
                  </a:lnTo>
                  <a:lnTo>
                    <a:pt x="293" y="908"/>
                  </a:lnTo>
                  <a:lnTo>
                    <a:pt x="305" y="864"/>
                  </a:lnTo>
                  <a:lnTo>
                    <a:pt x="318" y="819"/>
                  </a:lnTo>
                  <a:lnTo>
                    <a:pt x="336" y="776"/>
                  </a:lnTo>
                  <a:lnTo>
                    <a:pt x="354" y="735"/>
                  </a:lnTo>
                  <a:lnTo>
                    <a:pt x="375" y="694"/>
                  </a:lnTo>
                  <a:lnTo>
                    <a:pt x="399" y="656"/>
                  </a:lnTo>
                  <a:lnTo>
                    <a:pt x="427" y="617"/>
                  </a:lnTo>
                  <a:lnTo>
                    <a:pt x="455" y="581"/>
                  </a:lnTo>
                  <a:lnTo>
                    <a:pt x="486" y="545"/>
                  </a:lnTo>
                  <a:lnTo>
                    <a:pt x="518" y="511"/>
                  </a:lnTo>
                  <a:lnTo>
                    <a:pt x="553" y="480"/>
                  </a:lnTo>
                  <a:lnTo>
                    <a:pt x="590" y="448"/>
                  </a:lnTo>
                  <a:lnTo>
                    <a:pt x="629" y="418"/>
                  </a:lnTo>
                  <a:lnTo>
                    <a:pt x="668" y="391"/>
                  </a:lnTo>
                  <a:lnTo>
                    <a:pt x="709" y="364"/>
                  </a:lnTo>
                  <a:lnTo>
                    <a:pt x="753" y="339"/>
                  </a:lnTo>
                  <a:lnTo>
                    <a:pt x="797" y="316"/>
                  </a:lnTo>
                  <a:lnTo>
                    <a:pt x="843" y="294"/>
                  </a:lnTo>
                  <a:lnTo>
                    <a:pt x="891" y="275"/>
                  </a:lnTo>
                  <a:lnTo>
                    <a:pt x="939" y="257"/>
                  </a:lnTo>
                  <a:lnTo>
                    <a:pt x="988" y="240"/>
                  </a:lnTo>
                  <a:lnTo>
                    <a:pt x="1038" y="226"/>
                  </a:lnTo>
                  <a:lnTo>
                    <a:pt x="1089" y="214"/>
                  </a:lnTo>
                  <a:lnTo>
                    <a:pt x="1140" y="202"/>
                  </a:lnTo>
                  <a:lnTo>
                    <a:pt x="1193" y="194"/>
                  </a:lnTo>
                  <a:lnTo>
                    <a:pt x="1246" y="188"/>
                  </a:lnTo>
                  <a:lnTo>
                    <a:pt x="1298" y="183"/>
                  </a:lnTo>
                  <a:lnTo>
                    <a:pt x="1349" y="183"/>
                  </a:lnTo>
                  <a:lnTo>
                    <a:pt x="1402" y="185"/>
                  </a:lnTo>
                  <a:lnTo>
                    <a:pt x="1453" y="190"/>
                  </a:lnTo>
                  <a:lnTo>
                    <a:pt x="1504" y="198"/>
                  </a:lnTo>
                  <a:lnTo>
                    <a:pt x="1555" y="209"/>
                  </a:lnTo>
                  <a:lnTo>
                    <a:pt x="1606" y="223"/>
                  </a:lnTo>
                  <a:lnTo>
                    <a:pt x="1656" y="239"/>
                  </a:lnTo>
                  <a:lnTo>
                    <a:pt x="1704" y="257"/>
                  </a:lnTo>
                  <a:lnTo>
                    <a:pt x="1753" y="278"/>
                  </a:lnTo>
                  <a:lnTo>
                    <a:pt x="1799" y="301"/>
                  </a:lnTo>
                  <a:lnTo>
                    <a:pt x="1845" y="327"/>
                  </a:lnTo>
                  <a:lnTo>
                    <a:pt x="1890" y="355"/>
                  </a:lnTo>
                  <a:lnTo>
                    <a:pt x="1933" y="384"/>
                  </a:lnTo>
                  <a:lnTo>
                    <a:pt x="1974" y="416"/>
                  </a:lnTo>
                  <a:lnTo>
                    <a:pt x="2013" y="449"/>
                  </a:lnTo>
                  <a:lnTo>
                    <a:pt x="2050" y="484"/>
                  </a:lnTo>
                  <a:lnTo>
                    <a:pt x="2087" y="522"/>
                  </a:lnTo>
                  <a:lnTo>
                    <a:pt x="2120" y="559"/>
                  </a:lnTo>
                  <a:lnTo>
                    <a:pt x="2151" y="600"/>
                  </a:lnTo>
                  <a:lnTo>
                    <a:pt x="2180" y="641"/>
                  </a:lnTo>
                  <a:lnTo>
                    <a:pt x="2205" y="683"/>
                  </a:lnTo>
                  <a:lnTo>
                    <a:pt x="2229" y="727"/>
                  </a:lnTo>
                  <a:lnTo>
                    <a:pt x="2250" y="773"/>
                  </a:lnTo>
                  <a:lnTo>
                    <a:pt x="2267" y="818"/>
                  </a:lnTo>
                  <a:lnTo>
                    <a:pt x="2282" y="865"/>
                  </a:lnTo>
                  <a:lnTo>
                    <a:pt x="2293" y="912"/>
                  </a:lnTo>
                  <a:lnTo>
                    <a:pt x="2301" y="961"/>
                  </a:lnTo>
                  <a:lnTo>
                    <a:pt x="2305" y="1010"/>
                  </a:lnTo>
                  <a:lnTo>
                    <a:pt x="2306" y="1060"/>
                  </a:lnTo>
                  <a:lnTo>
                    <a:pt x="2302" y="1110"/>
                  </a:lnTo>
                  <a:lnTo>
                    <a:pt x="2295" y="1161"/>
                  </a:lnTo>
                  <a:close/>
                </a:path>
              </a:pathLst>
            </a:custGeom>
            <a:solidFill>
              <a:srgbClr val="162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Freeform 8"/>
            <p:cNvSpPr>
              <a:spLocks noEditPoints="1"/>
            </p:cNvSpPr>
            <p:nvPr/>
          </p:nvSpPr>
          <p:spPr bwMode="auto">
            <a:xfrm>
              <a:off x="6845870" y="1696841"/>
              <a:ext cx="460375" cy="466725"/>
            </a:xfrm>
            <a:custGeom>
              <a:avLst/>
              <a:gdLst>
                <a:gd name="T0" fmla="*/ 761 w 2029"/>
                <a:gd name="T1" fmla="*/ 43 h 2052"/>
                <a:gd name="T2" fmla="*/ 520 w 2029"/>
                <a:gd name="T3" fmla="*/ 133 h 2052"/>
                <a:gd name="T4" fmla="*/ 313 w 2029"/>
                <a:gd name="T5" fmla="*/ 265 h 2052"/>
                <a:gd name="T6" fmla="*/ 150 w 2029"/>
                <a:gd name="T7" fmla="*/ 434 h 2052"/>
                <a:gd name="T8" fmla="*/ 41 w 2029"/>
                <a:gd name="T9" fmla="*/ 636 h 2052"/>
                <a:gd name="T10" fmla="*/ 0 w 2029"/>
                <a:gd name="T11" fmla="*/ 866 h 2052"/>
                <a:gd name="T12" fmla="*/ 32 w 2029"/>
                <a:gd name="T13" fmla="*/ 1116 h 2052"/>
                <a:gd name="T14" fmla="*/ 100 w 2029"/>
                <a:gd name="T15" fmla="*/ 1359 h 2052"/>
                <a:gd name="T16" fmla="*/ 193 w 2029"/>
                <a:gd name="T17" fmla="*/ 1582 h 2052"/>
                <a:gd name="T18" fmla="*/ 318 w 2029"/>
                <a:gd name="T19" fmla="*/ 1771 h 2052"/>
                <a:gd name="T20" fmla="*/ 477 w 2029"/>
                <a:gd name="T21" fmla="*/ 1920 h 2052"/>
                <a:gd name="T22" fmla="*/ 673 w 2029"/>
                <a:gd name="T23" fmla="*/ 2017 h 2052"/>
                <a:gd name="T24" fmla="*/ 910 w 2029"/>
                <a:gd name="T25" fmla="*/ 2052 h 2052"/>
                <a:gd name="T26" fmla="*/ 1162 w 2029"/>
                <a:gd name="T27" fmla="*/ 2003 h 2052"/>
                <a:gd name="T28" fmla="*/ 1398 w 2029"/>
                <a:gd name="T29" fmla="*/ 1874 h 2052"/>
                <a:gd name="T30" fmla="*/ 1608 w 2029"/>
                <a:gd name="T31" fmla="*/ 1688 h 2052"/>
                <a:gd name="T32" fmla="*/ 1785 w 2029"/>
                <a:gd name="T33" fmla="*/ 1472 h 2052"/>
                <a:gd name="T34" fmla="*/ 1918 w 2029"/>
                <a:gd name="T35" fmla="*/ 1251 h 2052"/>
                <a:gd name="T36" fmla="*/ 2001 w 2029"/>
                <a:gd name="T37" fmla="*/ 1048 h 2052"/>
                <a:gd name="T38" fmla="*/ 2028 w 2029"/>
                <a:gd name="T39" fmla="*/ 827 h 2052"/>
                <a:gd name="T40" fmla="*/ 1973 w 2029"/>
                <a:gd name="T41" fmla="*/ 590 h 2052"/>
                <a:gd name="T42" fmla="*/ 1843 w 2029"/>
                <a:gd name="T43" fmla="*/ 376 h 2052"/>
                <a:gd name="T44" fmla="*/ 1656 w 2029"/>
                <a:gd name="T45" fmla="*/ 201 h 2052"/>
                <a:gd name="T46" fmla="*/ 1427 w 2029"/>
                <a:gd name="T47" fmla="*/ 74 h 2052"/>
                <a:gd name="T48" fmla="*/ 1176 w 2029"/>
                <a:gd name="T49" fmla="*/ 7 h 2052"/>
                <a:gd name="T50" fmla="*/ 1678 w 2029"/>
                <a:gd name="T51" fmla="*/ 1321 h 2052"/>
                <a:gd name="T52" fmla="*/ 1603 w 2029"/>
                <a:gd name="T53" fmla="*/ 1419 h 2052"/>
                <a:gd name="T54" fmla="*/ 1469 w 2029"/>
                <a:gd name="T55" fmla="*/ 1546 h 2052"/>
                <a:gd name="T56" fmla="*/ 1301 w 2029"/>
                <a:gd name="T57" fmla="*/ 1666 h 2052"/>
                <a:gd name="T58" fmla="*/ 1112 w 2029"/>
                <a:gd name="T59" fmla="*/ 1762 h 2052"/>
                <a:gd name="T60" fmla="*/ 912 w 2029"/>
                <a:gd name="T61" fmla="*/ 1820 h 2052"/>
                <a:gd name="T62" fmla="*/ 716 w 2029"/>
                <a:gd name="T63" fmla="*/ 1824 h 2052"/>
                <a:gd name="T64" fmla="*/ 539 w 2029"/>
                <a:gd name="T65" fmla="*/ 1762 h 2052"/>
                <a:gd name="T66" fmla="*/ 405 w 2029"/>
                <a:gd name="T67" fmla="*/ 1655 h 2052"/>
                <a:gd name="T68" fmla="*/ 317 w 2029"/>
                <a:gd name="T69" fmla="*/ 1517 h 2052"/>
                <a:gd name="T70" fmla="*/ 267 w 2029"/>
                <a:gd name="T71" fmla="*/ 1351 h 2052"/>
                <a:gd name="T72" fmla="*/ 252 w 2029"/>
                <a:gd name="T73" fmla="*/ 1167 h 2052"/>
                <a:gd name="T74" fmla="*/ 265 w 2029"/>
                <a:gd name="T75" fmla="*/ 970 h 2052"/>
                <a:gd name="T76" fmla="*/ 301 w 2029"/>
                <a:gd name="T77" fmla="*/ 768 h 2052"/>
                <a:gd name="T78" fmla="*/ 375 w 2029"/>
                <a:gd name="T79" fmla="*/ 583 h 2052"/>
                <a:gd name="T80" fmla="*/ 497 w 2029"/>
                <a:gd name="T81" fmla="*/ 434 h 2052"/>
                <a:gd name="T82" fmla="*/ 656 w 2029"/>
                <a:gd name="T83" fmla="*/ 323 h 2052"/>
                <a:gd name="T84" fmla="*/ 840 w 2029"/>
                <a:gd name="T85" fmla="*/ 252 h 2052"/>
                <a:gd name="T86" fmla="*/ 1037 w 2029"/>
                <a:gd name="T87" fmla="*/ 223 h 2052"/>
                <a:gd name="T88" fmla="*/ 1237 w 2029"/>
                <a:gd name="T89" fmla="*/ 235 h 2052"/>
                <a:gd name="T90" fmla="*/ 1421 w 2029"/>
                <a:gd name="T91" fmla="*/ 295 h 2052"/>
                <a:gd name="T92" fmla="*/ 1571 w 2029"/>
                <a:gd name="T93" fmla="*/ 412 h 2052"/>
                <a:gd name="T94" fmla="*/ 1684 w 2029"/>
                <a:gd name="T95" fmla="*/ 574 h 2052"/>
                <a:gd name="T96" fmla="*/ 1754 w 2029"/>
                <a:gd name="T97" fmla="*/ 765 h 2052"/>
                <a:gd name="T98" fmla="*/ 1777 w 2029"/>
                <a:gd name="T99" fmla="*/ 969 h 2052"/>
                <a:gd name="T100" fmla="*/ 1745 w 2029"/>
                <a:gd name="T101" fmla="*/ 1171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29" h="2052">
                  <a:moveTo>
                    <a:pt x="969" y="5"/>
                  </a:moveTo>
                  <a:lnTo>
                    <a:pt x="916" y="11"/>
                  </a:lnTo>
                  <a:lnTo>
                    <a:pt x="863" y="19"/>
                  </a:lnTo>
                  <a:lnTo>
                    <a:pt x="812" y="31"/>
                  </a:lnTo>
                  <a:lnTo>
                    <a:pt x="761" y="43"/>
                  </a:lnTo>
                  <a:lnTo>
                    <a:pt x="711" y="57"/>
                  </a:lnTo>
                  <a:lnTo>
                    <a:pt x="662" y="74"/>
                  </a:lnTo>
                  <a:lnTo>
                    <a:pt x="614" y="92"/>
                  </a:lnTo>
                  <a:lnTo>
                    <a:pt x="566" y="111"/>
                  </a:lnTo>
                  <a:lnTo>
                    <a:pt x="520" y="133"/>
                  </a:lnTo>
                  <a:lnTo>
                    <a:pt x="476" y="156"/>
                  </a:lnTo>
                  <a:lnTo>
                    <a:pt x="432" y="181"/>
                  </a:lnTo>
                  <a:lnTo>
                    <a:pt x="391" y="208"/>
                  </a:lnTo>
                  <a:lnTo>
                    <a:pt x="352" y="235"/>
                  </a:lnTo>
                  <a:lnTo>
                    <a:pt x="313" y="265"/>
                  </a:lnTo>
                  <a:lnTo>
                    <a:pt x="276" y="297"/>
                  </a:lnTo>
                  <a:lnTo>
                    <a:pt x="241" y="328"/>
                  </a:lnTo>
                  <a:lnTo>
                    <a:pt x="209" y="362"/>
                  </a:lnTo>
                  <a:lnTo>
                    <a:pt x="178" y="398"/>
                  </a:lnTo>
                  <a:lnTo>
                    <a:pt x="150" y="434"/>
                  </a:lnTo>
                  <a:lnTo>
                    <a:pt x="122" y="473"/>
                  </a:lnTo>
                  <a:lnTo>
                    <a:pt x="98" y="511"/>
                  </a:lnTo>
                  <a:lnTo>
                    <a:pt x="77" y="552"/>
                  </a:lnTo>
                  <a:lnTo>
                    <a:pt x="59" y="593"/>
                  </a:lnTo>
                  <a:lnTo>
                    <a:pt x="41" y="636"/>
                  </a:lnTo>
                  <a:lnTo>
                    <a:pt x="28" y="681"/>
                  </a:lnTo>
                  <a:lnTo>
                    <a:pt x="16" y="725"/>
                  </a:lnTo>
                  <a:lnTo>
                    <a:pt x="8" y="771"/>
                  </a:lnTo>
                  <a:lnTo>
                    <a:pt x="3" y="818"/>
                  </a:lnTo>
                  <a:lnTo>
                    <a:pt x="0" y="866"/>
                  </a:lnTo>
                  <a:lnTo>
                    <a:pt x="2" y="915"/>
                  </a:lnTo>
                  <a:lnTo>
                    <a:pt x="5" y="965"/>
                  </a:lnTo>
                  <a:lnTo>
                    <a:pt x="13" y="1015"/>
                  </a:lnTo>
                  <a:lnTo>
                    <a:pt x="22" y="1066"/>
                  </a:lnTo>
                  <a:lnTo>
                    <a:pt x="32" y="1116"/>
                  </a:lnTo>
                  <a:lnTo>
                    <a:pt x="44" y="1166"/>
                  </a:lnTo>
                  <a:lnTo>
                    <a:pt x="56" y="1215"/>
                  </a:lnTo>
                  <a:lnTo>
                    <a:pt x="70" y="1263"/>
                  </a:lnTo>
                  <a:lnTo>
                    <a:pt x="84" y="1312"/>
                  </a:lnTo>
                  <a:lnTo>
                    <a:pt x="100" y="1359"/>
                  </a:lnTo>
                  <a:lnTo>
                    <a:pt x="116" y="1405"/>
                  </a:lnTo>
                  <a:lnTo>
                    <a:pt x="134" y="1451"/>
                  </a:lnTo>
                  <a:lnTo>
                    <a:pt x="152" y="1495"/>
                  </a:lnTo>
                  <a:lnTo>
                    <a:pt x="173" y="1538"/>
                  </a:lnTo>
                  <a:lnTo>
                    <a:pt x="193" y="1582"/>
                  </a:lnTo>
                  <a:lnTo>
                    <a:pt x="216" y="1622"/>
                  </a:lnTo>
                  <a:lnTo>
                    <a:pt x="240" y="1661"/>
                  </a:lnTo>
                  <a:lnTo>
                    <a:pt x="265" y="1700"/>
                  </a:lnTo>
                  <a:lnTo>
                    <a:pt x="291" y="1736"/>
                  </a:lnTo>
                  <a:lnTo>
                    <a:pt x="318" y="1771"/>
                  </a:lnTo>
                  <a:lnTo>
                    <a:pt x="347" y="1805"/>
                  </a:lnTo>
                  <a:lnTo>
                    <a:pt x="378" y="1837"/>
                  </a:lnTo>
                  <a:lnTo>
                    <a:pt x="410" y="1867"/>
                  </a:lnTo>
                  <a:lnTo>
                    <a:pt x="443" y="1894"/>
                  </a:lnTo>
                  <a:lnTo>
                    <a:pt x="477" y="1920"/>
                  </a:lnTo>
                  <a:lnTo>
                    <a:pt x="513" y="1944"/>
                  </a:lnTo>
                  <a:lnTo>
                    <a:pt x="551" y="1966"/>
                  </a:lnTo>
                  <a:lnTo>
                    <a:pt x="590" y="1985"/>
                  </a:lnTo>
                  <a:lnTo>
                    <a:pt x="631" y="2003"/>
                  </a:lnTo>
                  <a:lnTo>
                    <a:pt x="673" y="2017"/>
                  </a:lnTo>
                  <a:lnTo>
                    <a:pt x="718" y="2029"/>
                  </a:lnTo>
                  <a:lnTo>
                    <a:pt x="763" y="2039"/>
                  </a:lnTo>
                  <a:lnTo>
                    <a:pt x="810" y="2046"/>
                  </a:lnTo>
                  <a:lnTo>
                    <a:pt x="859" y="2051"/>
                  </a:lnTo>
                  <a:lnTo>
                    <a:pt x="910" y="2052"/>
                  </a:lnTo>
                  <a:lnTo>
                    <a:pt x="962" y="2050"/>
                  </a:lnTo>
                  <a:lnTo>
                    <a:pt x="1013" y="2044"/>
                  </a:lnTo>
                  <a:lnTo>
                    <a:pt x="1063" y="2034"/>
                  </a:lnTo>
                  <a:lnTo>
                    <a:pt x="1113" y="2020"/>
                  </a:lnTo>
                  <a:lnTo>
                    <a:pt x="1162" y="2003"/>
                  </a:lnTo>
                  <a:lnTo>
                    <a:pt x="1211" y="1983"/>
                  </a:lnTo>
                  <a:lnTo>
                    <a:pt x="1259" y="1960"/>
                  </a:lnTo>
                  <a:lnTo>
                    <a:pt x="1307" y="1934"/>
                  </a:lnTo>
                  <a:lnTo>
                    <a:pt x="1353" y="1905"/>
                  </a:lnTo>
                  <a:lnTo>
                    <a:pt x="1398" y="1874"/>
                  </a:lnTo>
                  <a:lnTo>
                    <a:pt x="1443" y="1841"/>
                  </a:lnTo>
                  <a:lnTo>
                    <a:pt x="1486" y="1805"/>
                  </a:lnTo>
                  <a:lnTo>
                    <a:pt x="1528" y="1768"/>
                  </a:lnTo>
                  <a:lnTo>
                    <a:pt x="1569" y="1729"/>
                  </a:lnTo>
                  <a:lnTo>
                    <a:pt x="1608" y="1688"/>
                  </a:lnTo>
                  <a:lnTo>
                    <a:pt x="1647" y="1647"/>
                  </a:lnTo>
                  <a:lnTo>
                    <a:pt x="1683" y="1604"/>
                  </a:lnTo>
                  <a:lnTo>
                    <a:pt x="1719" y="1561"/>
                  </a:lnTo>
                  <a:lnTo>
                    <a:pt x="1753" y="1517"/>
                  </a:lnTo>
                  <a:lnTo>
                    <a:pt x="1785" y="1472"/>
                  </a:lnTo>
                  <a:lnTo>
                    <a:pt x="1814" y="1428"/>
                  </a:lnTo>
                  <a:lnTo>
                    <a:pt x="1843" y="1384"/>
                  </a:lnTo>
                  <a:lnTo>
                    <a:pt x="1870" y="1338"/>
                  </a:lnTo>
                  <a:lnTo>
                    <a:pt x="1895" y="1294"/>
                  </a:lnTo>
                  <a:lnTo>
                    <a:pt x="1918" y="1251"/>
                  </a:lnTo>
                  <a:lnTo>
                    <a:pt x="1939" y="1208"/>
                  </a:lnTo>
                  <a:lnTo>
                    <a:pt x="1958" y="1166"/>
                  </a:lnTo>
                  <a:lnTo>
                    <a:pt x="1974" y="1125"/>
                  </a:lnTo>
                  <a:lnTo>
                    <a:pt x="1989" y="1086"/>
                  </a:lnTo>
                  <a:lnTo>
                    <a:pt x="2001" y="1048"/>
                  </a:lnTo>
                  <a:lnTo>
                    <a:pt x="2010" y="1012"/>
                  </a:lnTo>
                  <a:lnTo>
                    <a:pt x="2018" y="978"/>
                  </a:lnTo>
                  <a:lnTo>
                    <a:pt x="2025" y="927"/>
                  </a:lnTo>
                  <a:lnTo>
                    <a:pt x="2029" y="877"/>
                  </a:lnTo>
                  <a:lnTo>
                    <a:pt x="2028" y="827"/>
                  </a:lnTo>
                  <a:lnTo>
                    <a:pt x="2024" y="778"/>
                  </a:lnTo>
                  <a:lnTo>
                    <a:pt x="2016" y="729"/>
                  </a:lnTo>
                  <a:lnTo>
                    <a:pt x="2005" y="682"/>
                  </a:lnTo>
                  <a:lnTo>
                    <a:pt x="1990" y="635"/>
                  </a:lnTo>
                  <a:lnTo>
                    <a:pt x="1973" y="590"/>
                  </a:lnTo>
                  <a:lnTo>
                    <a:pt x="1952" y="544"/>
                  </a:lnTo>
                  <a:lnTo>
                    <a:pt x="1928" y="500"/>
                  </a:lnTo>
                  <a:lnTo>
                    <a:pt x="1903" y="458"/>
                  </a:lnTo>
                  <a:lnTo>
                    <a:pt x="1874" y="417"/>
                  </a:lnTo>
                  <a:lnTo>
                    <a:pt x="1843" y="376"/>
                  </a:lnTo>
                  <a:lnTo>
                    <a:pt x="1810" y="339"/>
                  </a:lnTo>
                  <a:lnTo>
                    <a:pt x="1773" y="301"/>
                  </a:lnTo>
                  <a:lnTo>
                    <a:pt x="1736" y="266"/>
                  </a:lnTo>
                  <a:lnTo>
                    <a:pt x="1697" y="233"/>
                  </a:lnTo>
                  <a:lnTo>
                    <a:pt x="1656" y="201"/>
                  </a:lnTo>
                  <a:lnTo>
                    <a:pt x="1613" y="172"/>
                  </a:lnTo>
                  <a:lnTo>
                    <a:pt x="1568" y="144"/>
                  </a:lnTo>
                  <a:lnTo>
                    <a:pt x="1522" y="118"/>
                  </a:lnTo>
                  <a:lnTo>
                    <a:pt x="1476" y="95"/>
                  </a:lnTo>
                  <a:lnTo>
                    <a:pt x="1427" y="74"/>
                  </a:lnTo>
                  <a:lnTo>
                    <a:pt x="1379" y="56"/>
                  </a:lnTo>
                  <a:lnTo>
                    <a:pt x="1329" y="40"/>
                  </a:lnTo>
                  <a:lnTo>
                    <a:pt x="1278" y="26"/>
                  </a:lnTo>
                  <a:lnTo>
                    <a:pt x="1227" y="15"/>
                  </a:lnTo>
                  <a:lnTo>
                    <a:pt x="1176" y="7"/>
                  </a:lnTo>
                  <a:lnTo>
                    <a:pt x="1125" y="2"/>
                  </a:lnTo>
                  <a:lnTo>
                    <a:pt x="1072" y="0"/>
                  </a:lnTo>
                  <a:lnTo>
                    <a:pt x="1021" y="0"/>
                  </a:lnTo>
                  <a:lnTo>
                    <a:pt x="969" y="5"/>
                  </a:lnTo>
                  <a:close/>
                  <a:moveTo>
                    <a:pt x="1678" y="1321"/>
                  </a:moveTo>
                  <a:lnTo>
                    <a:pt x="1678" y="1321"/>
                  </a:lnTo>
                  <a:lnTo>
                    <a:pt x="1662" y="1345"/>
                  </a:lnTo>
                  <a:lnTo>
                    <a:pt x="1644" y="1369"/>
                  </a:lnTo>
                  <a:lnTo>
                    <a:pt x="1625" y="1394"/>
                  </a:lnTo>
                  <a:lnTo>
                    <a:pt x="1603" y="1419"/>
                  </a:lnTo>
                  <a:lnTo>
                    <a:pt x="1579" y="1444"/>
                  </a:lnTo>
                  <a:lnTo>
                    <a:pt x="1554" y="1470"/>
                  </a:lnTo>
                  <a:lnTo>
                    <a:pt x="1528" y="1495"/>
                  </a:lnTo>
                  <a:lnTo>
                    <a:pt x="1500" y="1521"/>
                  </a:lnTo>
                  <a:lnTo>
                    <a:pt x="1469" y="1546"/>
                  </a:lnTo>
                  <a:lnTo>
                    <a:pt x="1438" y="1571"/>
                  </a:lnTo>
                  <a:lnTo>
                    <a:pt x="1405" y="1596"/>
                  </a:lnTo>
                  <a:lnTo>
                    <a:pt x="1372" y="1620"/>
                  </a:lnTo>
                  <a:lnTo>
                    <a:pt x="1337" y="1643"/>
                  </a:lnTo>
                  <a:lnTo>
                    <a:pt x="1301" y="1666"/>
                  </a:lnTo>
                  <a:lnTo>
                    <a:pt x="1265" y="1687"/>
                  </a:lnTo>
                  <a:lnTo>
                    <a:pt x="1227" y="1708"/>
                  </a:lnTo>
                  <a:lnTo>
                    <a:pt x="1190" y="1727"/>
                  </a:lnTo>
                  <a:lnTo>
                    <a:pt x="1151" y="1745"/>
                  </a:lnTo>
                  <a:lnTo>
                    <a:pt x="1112" y="1762"/>
                  </a:lnTo>
                  <a:lnTo>
                    <a:pt x="1072" y="1777"/>
                  </a:lnTo>
                  <a:lnTo>
                    <a:pt x="1032" y="1791"/>
                  </a:lnTo>
                  <a:lnTo>
                    <a:pt x="992" y="1802"/>
                  </a:lnTo>
                  <a:lnTo>
                    <a:pt x="952" y="1812"/>
                  </a:lnTo>
                  <a:lnTo>
                    <a:pt x="912" y="1820"/>
                  </a:lnTo>
                  <a:lnTo>
                    <a:pt x="873" y="1826"/>
                  </a:lnTo>
                  <a:lnTo>
                    <a:pt x="833" y="1828"/>
                  </a:lnTo>
                  <a:lnTo>
                    <a:pt x="794" y="1829"/>
                  </a:lnTo>
                  <a:lnTo>
                    <a:pt x="755" y="1828"/>
                  </a:lnTo>
                  <a:lnTo>
                    <a:pt x="716" y="1824"/>
                  </a:lnTo>
                  <a:lnTo>
                    <a:pt x="679" y="1817"/>
                  </a:lnTo>
                  <a:lnTo>
                    <a:pt x="642" y="1806"/>
                  </a:lnTo>
                  <a:lnTo>
                    <a:pt x="606" y="1794"/>
                  </a:lnTo>
                  <a:lnTo>
                    <a:pt x="572" y="1779"/>
                  </a:lnTo>
                  <a:lnTo>
                    <a:pt x="539" y="1762"/>
                  </a:lnTo>
                  <a:lnTo>
                    <a:pt x="509" y="1744"/>
                  </a:lnTo>
                  <a:lnTo>
                    <a:pt x="480" y="1724"/>
                  </a:lnTo>
                  <a:lnTo>
                    <a:pt x="453" y="1703"/>
                  </a:lnTo>
                  <a:lnTo>
                    <a:pt x="429" y="1680"/>
                  </a:lnTo>
                  <a:lnTo>
                    <a:pt x="405" y="1655"/>
                  </a:lnTo>
                  <a:lnTo>
                    <a:pt x="385" y="1630"/>
                  </a:lnTo>
                  <a:lnTo>
                    <a:pt x="365" y="1603"/>
                  </a:lnTo>
                  <a:lnTo>
                    <a:pt x="347" y="1576"/>
                  </a:lnTo>
                  <a:lnTo>
                    <a:pt x="331" y="1546"/>
                  </a:lnTo>
                  <a:lnTo>
                    <a:pt x="317" y="1517"/>
                  </a:lnTo>
                  <a:lnTo>
                    <a:pt x="304" y="1485"/>
                  </a:lnTo>
                  <a:lnTo>
                    <a:pt x="293" y="1453"/>
                  </a:lnTo>
                  <a:lnTo>
                    <a:pt x="283" y="1420"/>
                  </a:lnTo>
                  <a:lnTo>
                    <a:pt x="275" y="1386"/>
                  </a:lnTo>
                  <a:lnTo>
                    <a:pt x="267" y="1351"/>
                  </a:lnTo>
                  <a:lnTo>
                    <a:pt x="263" y="1316"/>
                  </a:lnTo>
                  <a:lnTo>
                    <a:pt x="258" y="1279"/>
                  </a:lnTo>
                  <a:lnTo>
                    <a:pt x="255" y="1243"/>
                  </a:lnTo>
                  <a:lnTo>
                    <a:pt x="252" y="1205"/>
                  </a:lnTo>
                  <a:lnTo>
                    <a:pt x="252" y="1167"/>
                  </a:lnTo>
                  <a:lnTo>
                    <a:pt x="252" y="1128"/>
                  </a:lnTo>
                  <a:lnTo>
                    <a:pt x="255" y="1090"/>
                  </a:lnTo>
                  <a:lnTo>
                    <a:pt x="257" y="1050"/>
                  </a:lnTo>
                  <a:lnTo>
                    <a:pt x="260" y="1010"/>
                  </a:lnTo>
                  <a:lnTo>
                    <a:pt x="265" y="970"/>
                  </a:lnTo>
                  <a:lnTo>
                    <a:pt x="271" y="931"/>
                  </a:lnTo>
                  <a:lnTo>
                    <a:pt x="277" y="890"/>
                  </a:lnTo>
                  <a:lnTo>
                    <a:pt x="284" y="849"/>
                  </a:lnTo>
                  <a:lnTo>
                    <a:pt x="293" y="809"/>
                  </a:lnTo>
                  <a:lnTo>
                    <a:pt x="301" y="768"/>
                  </a:lnTo>
                  <a:lnTo>
                    <a:pt x="312" y="728"/>
                  </a:lnTo>
                  <a:lnTo>
                    <a:pt x="325" y="690"/>
                  </a:lnTo>
                  <a:lnTo>
                    <a:pt x="340" y="652"/>
                  </a:lnTo>
                  <a:lnTo>
                    <a:pt x="357" y="617"/>
                  </a:lnTo>
                  <a:lnTo>
                    <a:pt x="375" y="583"/>
                  </a:lnTo>
                  <a:lnTo>
                    <a:pt x="397" y="550"/>
                  </a:lnTo>
                  <a:lnTo>
                    <a:pt x="419" y="518"/>
                  </a:lnTo>
                  <a:lnTo>
                    <a:pt x="444" y="489"/>
                  </a:lnTo>
                  <a:lnTo>
                    <a:pt x="470" y="460"/>
                  </a:lnTo>
                  <a:lnTo>
                    <a:pt x="497" y="434"/>
                  </a:lnTo>
                  <a:lnTo>
                    <a:pt x="527" y="408"/>
                  </a:lnTo>
                  <a:lnTo>
                    <a:pt x="557" y="385"/>
                  </a:lnTo>
                  <a:lnTo>
                    <a:pt x="589" y="362"/>
                  </a:lnTo>
                  <a:lnTo>
                    <a:pt x="622" y="342"/>
                  </a:lnTo>
                  <a:lnTo>
                    <a:pt x="656" y="323"/>
                  </a:lnTo>
                  <a:lnTo>
                    <a:pt x="691" y="306"/>
                  </a:lnTo>
                  <a:lnTo>
                    <a:pt x="727" y="290"/>
                  </a:lnTo>
                  <a:lnTo>
                    <a:pt x="764" y="276"/>
                  </a:lnTo>
                  <a:lnTo>
                    <a:pt x="802" y="264"/>
                  </a:lnTo>
                  <a:lnTo>
                    <a:pt x="840" y="252"/>
                  </a:lnTo>
                  <a:lnTo>
                    <a:pt x="878" y="243"/>
                  </a:lnTo>
                  <a:lnTo>
                    <a:pt x="918" y="235"/>
                  </a:lnTo>
                  <a:lnTo>
                    <a:pt x="957" y="230"/>
                  </a:lnTo>
                  <a:lnTo>
                    <a:pt x="997" y="225"/>
                  </a:lnTo>
                  <a:lnTo>
                    <a:pt x="1037" y="223"/>
                  </a:lnTo>
                  <a:lnTo>
                    <a:pt x="1078" y="222"/>
                  </a:lnTo>
                  <a:lnTo>
                    <a:pt x="1118" y="223"/>
                  </a:lnTo>
                  <a:lnTo>
                    <a:pt x="1158" y="225"/>
                  </a:lnTo>
                  <a:lnTo>
                    <a:pt x="1198" y="230"/>
                  </a:lnTo>
                  <a:lnTo>
                    <a:pt x="1237" y="235"/>
                  </a:lnTo>
                  <a:lnTo>
                    <a:pt x="1276" y="243"/>
                  </a:lnTo>
                  <a:lnTo>
                    <a:pt x="1315" y="253"/>
                  </a:lnTo>
                  <a:lnTo>
                    <a:pt x="1351" y="265"/>
                  </a:lnTo>
                  <a:lnTo>
                    <a:pt x="1387" y="278"/>
                  </a:lnTo>
                  <a:lnTo>
                    <a:pt x="1421" y="295"/>
                  </a:lnTo>
                  <a:lnTo>
                    <a:pt x="1454" y="315"/>
                  </a:lnTo>
                  <a:lnTo>
                    <a:pt x="1485" y="336"/>
                  </a:lnTo>
                  <a:lnTo>
                    <a:pt x="1516" y="359"/>
                  </a:lnTo>
                  <a:lnTo>
                    <a:pt x="1544" y="385"/>
                  </a:lnTo>
                  <a:lnTo>
                    <a:pt x="1571" y="412"/>
                  </a:lnTo>
                  <a:lnTo>
                    <a:pt x="1597" y="442"/>
                  </a:lnTo>
                  <a:lnTo>
                    <a:pt x="1622" y="473"/>
                  </a:lnTo>
                  <a:lnTo>
                    <a:pt x="1643" y="506"/>
                  </a:lnTo>
                  <a:lnTo>
                    <a:pt x="1665" y="539"/>
                  </a:lnTo>
                  <a:lnTo>
                    <a:pt x="1684" y="574"/>
                  </a:lnTo>
                  <a:lnTo>
                    <a:pt x="1701" y="610"/>
                  </a:lnTo>
                  <a:lnTo>
                    <a:pt x="1717" y="648"/>
                  </a:lnTo>
                  <a:lnTo>
                    <a:pt x="1731" y="686"/>
                  </a:lnTo>
                  <a:lnTo>
                    <a:pt x="1744" y="725"/>
                  </a:lnTo>
                  <a:lnTo>
                    <a:pt x="1754" y="765"/>
                  </a:lnTo>
                  <a:lnTo>
                    <a:pt x="1763" y="806"/>
                  </a:lnTo>
                  <a:lnTo>
                    <a:pt x="1769" y="845"/>
                  </a:lnTo>
                  <a:lnTo>
                    <a:pt x="1773" y="887"/>
                  </a:lnTo>
                  <a:lnTo>
                    <a:pt x="1776" y="928"/>
                  </a:lnTo>
                  <a:lnTo>
                    <a:pt x="1777" y="969"/>
                  </a:lnTo>
                  <a:lnTo>
                    <a:pt x="1774" y="1010"/>
                  </a:lnTo>
                  <a:lnTo>
                    <a:pt x="1770" y="1051"/>
                  </a:lnTo>
                  <a:lnTo>
                    <a:pt x="1764" y="1092"/>
                  </a:lnTo>
                  <a:lnTo>
                    <a:pt x="1755" y="1132"/>
                  </a:lnTo>
                  <a:lnTo>
                    <a:pt x="1745" y="1171"/>
                  </a:lnTo>
                  <a:lnTo>
                    <a:pt x="1731" y="1210"/>
                  </a:lnTo>
                  <a:lnTo>
                    <a:pt x="1716" y="1249"/>
                  </a:lnTo>
                  <a:lnTo>
                    <a:pt x="1698" y="1285"/>
                  </a:lnTo>
                  <a:lnTo>
                    <a:pt x="1678" y="1321"/>
                  </a:lnTo>
                  <a:close/>
                </a:path>
              </a:pathLst>
            </a:custGeom>
            <a:solidFill>
              <a:srgbClr val="61B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6903020" y="1747641"/>
              <a:ext cx="346075" cy="365125"/>
            </a:xfrm>
            <a:custGeom>
              <a:avLst/>
              <a:gdLst>
                <a:gd name="T0" fmla="*/ 906 w 1525"/>
                <a:gd name="T1" fmla="*/ 3 h 1607"/>
                <a:gd name="T2" fmla="*/ 705 w 1525"/>
                <a:gd name="T3" fmla="*/ 8 h 1607"/>
                <a:gd name="T4" fmla="*/ 512 w 1525"/>
                <a:gd name="T5" fmla="*/ 54 h 1607"/>
                <a:gd name="T6" fmla="*/ 337 w 1525"/>
                <a:gd name="T7" fmla="*/ 140 h 1607"/>
                <a:gd name="T8" fmla="*/ 192 w 1525"/>
                <a:gd name="T9" fmla="*/ 267 h 1607"/>
                <a:gd name="T10" fmla="*/ 88 w 1525"/>
                <a:gd name="T11" fmla="*/ 430 h 1607"/>
                <a:gd name="T12" fmla="*/ 32 w 1525"/>
                <a:gd name="T13" fmla="*/ 627 h 1607"/>
                <a:gd name="T14" fmla="*/ 5 w 1525"/>
                <a:gd name="T15" fmla="*/ 828 h 1607"/>
                <a:gd name="T16" fmla="*/ 3 w 1525"/>
                <a:gd name="T17" fmla="*/ 1021 h 1607"/>
                <a:gd name="T18" fmla="*/ 31 w 1525"/>
                <a:gd name="T19" fmla="*/ 1198 h 1607"/>
                <a:gd name="T20" fmla="*/ 95 w 1525"/>
                <a:gd name="T21" fmla="*/ 1354 h 1607"/>
                <a:gd name="T22" fmla="*/ 201 w 1525"/>
                <a:gd name="T23" fmla="*/ 1481 h 1607"/>
                <a:gd name="T24" fmla="*/ 354 w 1525"/>
                <a:gd name="T25" fmla="*/ 1572 h 1607"/>
                <a:gd name="T26" fmla="*/ 542 w 1525"/>
                <a:gd name="T27" fmla="*/ 1607 h 1607"/>
                <a:gd name="T28" fmla="*/ 740 w 1525"/>
                <a:gd name="T29" fmla="*/ 1580 h 1607"/>
                <a:gd name="T30" fmla="*/ 938 w 1525"/>
                <a:gd name="T31" fmla="*/ 1505 h 1607"/>
                <a:gd name="T32" fmla="*/ 1120 w 1525"/>
                <a:gd name="T33" fmla="*/ 1398 h 1607"/>
                <a:gd name="T34" fmla="*/ 1276 w 1525"/>
                <a:gd name="T35" fmla="*/ 1273 h 1607"/>
                <a:gd name="T36" fmla="*/ 1392 w 1525"/>
                <a:gd name="T37" fmla="*/ 1147 h 1607"/>
                <a:gd name="T38" fmla="*/ 1479 w 1525"/>
                <a:gd name="T39" fmla="*/ 988 h 1607"/>
                <a:gd name="T40" fmla="*/ 1522 w 1525"/>
                <a:gd name="T41" fmla="*/ 788 h 1607"/>
                <a:gd name="T42" fmla="*/ 1511 w 1525"/>
                <a:gd name="T43" fmla="*/ 584 h 1607"/>
                <a:gd name="T44" fmla="*/ 1449 w 1525"/>
                <a:gd name="T45" fmla="*/ 388 h 1607"/>
                <a:gd name="T46" fmla="*/ 1345 w 1525"/>
                <a:gd name="T47" fmla="*/ 220 h 1607"/>
                <a:gd name="T48" fmla="*/ 1202 w 1525"/>
                <a:gd name="T49" fmla="*/ 93 h 1607"/>
                <a:gd name="T50" fmla="*/ 1288 w 1525"/>
                <a:gd name="T51" fmla="*/ 1105 h 1607"/>
                <a:gd name="T52" fmla="*/ 1229 w 1525"/>
                <a:gd name="T53" fmla="*/ 1178 h 1607"/>
                <a:gd name="T54" fmla="*/ 1122 w 1525"/>
                <a:gd name="T55" fmla="*/ 1268 h 1607"/>
                <a:gd name="T56" fmla="*/ 987 w 1525"/>
                <a:gd name="T57" fmla="*/ 1347 h 1607"/>
                <a:gd name="T58" fmla="*/ 834 w 1525"/>
                <a:gd name="T59" fmla="*/ 1407 h 1607"/>
                <a:gd name="T60" fmla="*/ 673 w 1525"/>
                <a:gd name="T61" fmla="*/ 1440 h 1607"/>
                <a:gd name="T62" fmla="*/ 518 w 1525"/>
                <a:gd name="T63" fmla="*/ 1435 h 1607"/>
                <a:gd name="T64" fmla="*/ 379 w 1525"/>
                <a:gd name="T65" fmla="*/ 1386 h 1607"/>
                <a:gd name="T66" fmla="*/ 275 w 1525"/>
                <a:gd name="T67" fmla="*/ 1303 h 1607"/>
                <a:gd name="T68" fmla="*/ 206 w 1525"/>
                <a:gd name="T69" fmla="*/ 1195 h 1607"/>
                <a:gd name="T70" fmla="*/ 167 w 1525"/>
                <a:gd name="T71" fmla="*/ 1066 h 1607"/>
                <a:gd name="T72" fmla="*/ 154 w 1525"/>
                <a:gd name="T73" fmla="*/ 924 h 1607"/>
                <a:gd name="T74" fmla="*/ 165 w 1525"/>
                <a:gd name="T75" fmla="*/ 772 h 1607"/>
                <a:gd name="T76" fmla="*/ 192 w 1525"/>
                <a:gd name="T77" fmla="*/ 617 h 1607"/>
                <a:gd name="T78" fmla="*/ 251 w 1525"/>
                <a:gd name="T79" fmla="*/ 470 h 1607"/>
                <a:gd name="T80" fmla="*/ 350 w 1525"/>
                <a:gd name="T81" fmla="*/ 348 h 1607"/>
                <a:gd name="T82" fmla="*/ 479 w 1525"/>
                <a:gd name="T83" fmla="*/ 255 h 1607"/>
                <a:gd name="T84" fmla="*/ 627 w 1525"/>
                <a:gd name="T85" fmla="*/ 193 h 1607"/>
                <a:gd name="T86" fmla="*/ 786 w 1525"/>
                <a:gd name="T87" fmla="*/ 165 h 1607"/>
                <a:gd name="T88" fmla="*/ 943 w 1525"/>
                <a:gd name="T89" fmla="*/ 177 h 1607"/>
                <a:gd name="T90" fmla="*/ 1089 w 1525"/>
                <a:gd name="T91" fmla="*/ 231 h 1607"/>
                <a:gd name="T92" fmla="*/ 1211 w 1525"/>
                <a:gd name="T93" fmla="*/ 336 h 1607"/>
                <a:gd name="T94" fmla="*/ 1300 w 1525"/>
                <a:gd name="T95" fmla="*/ 476 h 1607"/>
                <a:gd name="T96" fmla="*/ 1355 w 1525"/>
                <a:gd name="T97" fmla="*/ 638 h 1607"/>
                <a:gd name="T98" fmla="*/ 1370 w 1525"/>
                <a:gd name="T99" fmla="*/ 811 h 1607"/>
                <a:gd name="T100" fmla="*/ 1342 w 1525"/>
                <a:gd name="T101" fmla="*/ 98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25" h="1607">
                  <a:moveTo>
                    <a:pt x="1063" y="31"/>
                  </a:moveTo>
                  <a:lnTo>
                    <a:pt x="1024" y="21"/>
                  </a:lnTo>
                  <a:lnTo>
                    <a:pt x="985" y="13"/>
                  </a:lnTo>
                  <a:lnTo>
                    <a:pt x="946" y="8"/>
                  </a:lnTo>
                  <a:lnTo>
                    <a:pt x="906" y="3"/>
                  </a:lnTo>
                  <a:lnTo>
                    <a:pt x="866" y="1"/>
                  </a:lnTo>
                  <a:lnTo>
                    <a:pt x="826" y="0"/>
                  </a:lnTo>
                  <a:lnTo>
                    <a:pt x="785" y="1"/>
                  </a:lnTo>
                  <a:lnTo>
                    <a:pt x="745" y="3"/>
                  </a:lnTo>
                  <a:lnTo>
                    <a:pt x="705" y="8"/>
                  </a:lnTo>
                  <a:lnTo>
                    <a:pt x="666" y="13"/>
                  </a:lnTo>
                  <a:lnTo>
                    <a:pt x="626" y="21"/>
                  </a:lnTo>
                  <a:lnTo>
                    <a:pt x="588" y="30"/>
                  </a:lnTo>
                  <a:lnTo>
                    <a:pt x="550" y="42"/>
                  </a:lnTo>
                  <a:lnTo>
                    <a:pt x="512" y="54"/>
                  </a:lnTo>
                  <a:lnTo>
                    <a:pt x="475" y="68"/>
                  </a:lnTo>
                  <a:lnTo>
                    <a:pt x="439" y="84"/>
                  </a:lnTo>
                  <a:lnTo>
                    <a:pt x="404" y="101"/>
                  </a:lnTo>
                  <a:lnTo>
                    <a:pt x="370" y="120"/>
                  </a:lnTo>
                  <a:lnTo>
                    <a:pt x="337" y="140"/>
                  </a:lnTo>
                  <a:lnTo>
                    <a:pt x="305" y="163"/>
                  </a:lnTo>
                  <a:lnTo>
                    <a:pt x="275" y="186"/>
                  </a:lnTo>
                  <a:lnTo>
                    <a:pt x="245" y="212"/>
                  </a:lnTo>
                  <a:lnTo>
                    <a:pt x="218" y="238"/>
                  </a:lnTo>
                  <a:lnTo>
                    <a:pt x="192" y="267"/>
                  </a:lnTo>
                  <a:lnTo>
                    <a:pt x="167" y="296"/>
                  </a:lnTo>
                  <a:lnTo>
                    <a:pt x="145" y="328"/>
                  </a:lnTo>
                  <a:lnTo>
                    <a:pt x="123" y="361"/>
                  </a:lnTo>
                  <a:lnTo>
                    <a:pt x="105" y="395"/>
                  </a:lnTo>
                  <a:lnTo>
                    <a:pt x="88" y="430"/>
                  </a:lnTo>
                  <a:lnTo>
                    <a:pt x="73" y="468"/>
                  </a:lnTo>
                  <a:lnTo>
                    <a:pt x="60" y="506"/>
                  </a:lnTo>
                  <a:lnTo>
                    <a:pt x="49" y="546"/>
                  </a:lnTo>
                  <a:lnTo>
                    <a:pt x="41" y="587"/>
                  </a:lnTo>
                  <a:lnTo>
                    <a:pt x="32" y="627"/>
                  </a:lnTo>
                  <a:lnTo>
                    <a:pt x="25" y="668"/>
                  </a:lnTo>
                  <a:lnTo>
                    <a:pt x="19" y="709"/>
                  </a:lnTo>
                  <a:lnTo>
                    <a:pt x="13" y="748"/>
                  </a:lnTo>
                  <a:lnTo>
                    <a:pt x="8" y="788"/>
                  </a:lnTo>
                  <a:lnTo>
                    <a:pt x="5" y="828"/>
                  </a:lnTo>
                  <a:lnTo>
                    <a:pt x="3" y="868"/>
                  </a:lnTo>
                  <a:lnTo>
                    <a:pt x="0" y="906"/>
                  </a:lnTo>
                  <a:lnTo>
                    <a:pt x="0" y="945"/>
                  </a:lnTo>
                  <a:lnTo>
                    <a:pt x="0" y="983"/>
                  </a:lnTo>
                  <a:lnTo>
                    <a:pt x="3" y="1021"/>
                  </a:lnTo>
                  <a:lnTo>
                    <a:pt x="6" y="1057"/>
                  </a:lnTo>
                  <a:lnTo>
                    <a:pt x="11" y="1094"/>
                  </a:lnTo>
                  <a:lnTo>
                    <a:pt x="15" y="1129"/>
                  </a:lnTo>
                  <a:lnTo>
                    <a:pt x="23" y="1164"/>
                  </a:lnTo>
                  <a:lnTo>
                    <a:pt x="31" y="1198"/>
                  </a:lnTo>
                  <a:lnTo>
                    <a:pt x="41" y="1231"/>
                  </a:lnTo>
                  <a:lnTo>
                    <a:pt x="52" y="1263"/>
                  </a:lnTo>
                  <a:lnTo>
                    <a:pt x="65" y="1295"/>
                  </a:lnTo>
                  <a:lnTo>
                    <a:pt x="79" y="1324"/>
                  </a:lnTo>
                  <a:lnTo>
                    <a:pt x="95" y="1354"/>
                  </a:lnTo>
                  <a:lnTo>
                    <a:pt x="113" y="1381"/>
                  </a:lnTo>
                  <a:lnTo>
                    <a:pt x="133" y="1408"/>
                  </a:lnTo>
                  <a:lnTo>
                    <a:pt x="153" y="1433"/>
                  </a:lnTo>
                  <a:lnTo>
                    <a:pt x="177" y="1458"/>
                  </a:lnTo>
                  <a:lnTo>
                    <a:pt x="201" y="1481"/>
                  </a:lnTo>
                  <a:lnTo>
                    <a:pt x="228" y="1502"/>
                  </a:lnTo>
                  <a:lnTo>
                    <a:pt x="257" y="1522"/>
                  </a:lnTo>
                  <a:lnTo>
                    <a:pt x="287" y="1540"/>
                  </a:lnTo>
                  <a:lnTo>
                    <a:pt x="320" y="1557"/>
                  </a:lnTo>
                  <a:lnTo>
                    <a:pt x="354" y="1572"/>
                  </a:lnTo>
                  <a:lnTo>
                    <a:pt x="390" y="1584"/>
                  </a:lnTo>
                  <a:lnTo>
                    <a:pt x="427" y="1595"/>
                  </a:lnTo>
                  <a:lnTo>
                    <a:pt x="464" y="1602"/>
                  </a:lnTo>
                  <a:lnTo>
                    <a:pt x="503" y="1606"/>
                  </a:lnTo>
                  <a:lnTo>
                    <a:pt x="542" y="1607"/>
                  </a:lnTo>
                  <a:lnTo>
                    <a:pt x="581" y="1606"/>
                  </a:lnTo>
                  <a:lnTo>
                    <a:pt x="621" y="1604"/>
                  </a:lnTo>
                  <a:lnTo>
                    <a:pt x="660" y="1598"/>
                  </a:lnTo>
                  <a:lnTo>
                    <a:pt x="700" y="1590"/>
                  </a:lnTo>
                  <a:lnTo>
                    <a:pt x="740" y="1580"/>
                  </a:lnTo>
                  <a:lnTo>
                    <a:pt x="780" y="1569"/>
                  </a:lnTo>
                  <a:lnTo>
                    <a:pt x="820" y="1555"/>
                  </a:lnTo>
                  <a:lnTo>
                    <a:pt x="860" y="1540"/>
                  </a:lnTo>
                  <a:lnTo>
                    <a:pt x="899" y="1523"/>
                  </a:lnTo>
                  <a:lnTo>
                    <a:pt x="938" y="1505"/>
                  </a:lnTo>
                  <a:lnTo>
                    <a:pt x="975" y="1486"/>
                  </a:lnTo>
                  <a:lnTo>
                    <a:pt x="1013" y="1465"/>
                  </a:lnTo>
                  <a:lnTo>
                    <a:pt x="1049" y="1444"/>
                  </a:lnTo>
                  <a:lnTo>
                    <a:pt x="1085" y="1421"/>
                  </a:lnTo>
                  <a:lnTo>
                    <a:pt x="1120" y="1398"/>
                  </a:lnTo>
                  <a:lnTo>
                    <a:pt x="1153" y="1374"/>
                  </a:lnTo>
                  <a:lnTo>
                    <a:pt x="1186" y="1349"/>
                  </a:lnTo>
                  <a:lnTo>
                    <a:pt x="1217" y="1324"/>
                  </a:lnTo>
                  <a:lnTo>
                    <a:pt x="1248" y="1299"/>
                  </a:lnTo>
                  <a:lnTo>
                    <a:pt x="1276" y="1273"/>
                  </a:lnTo>
                  <a:lnTo>
                    <a:pt x="1302" y="1248"/>
                  </a:lnTo>
                  <a:lnTo>
                    <a:pt x="1327" y="1222"/>
                  </a:lnTo>
                  <a:lnTo>
                    <a:pt x="1351" y="1197"/>
                  </a:lnTo>
                  <a:lnTo>
                    <a:pt x="1373" y="1172"/>
                  </a:lnTo>
                  <a:lnTo>
                    <a:pt x="1392" y="1147"/>
                  </a:lnTo>
                  <a:lnTo>
                    <a:pt x="1410" y="1123"/>
                  </a:lnTo>
                  <a:lnTo>
                    <a:pt x="1426" y="1099"/>
                  </a:lnTo>
                  <a:lnTo>
                    <a:pt x="1446" y="1063"/>
                  </a:lnTo>
                  <a:lnTo>
                    <a:pt x="1464" y="1027"/>
                  </a:lnTo>
                  <a:lnTo>
                    <a:pt x="1479" y="988"/>
                  </a:lnTo>
                  <a:lnTo>
                    <a:pt x="1493" y="949"/>
                  </a:lnTo>
                  <a:lnTo>
                    <a:pt x="1503" y="910"/>
                  </a:lnTo>
                  <a:lnTo>
                    <a:pt x="1512" y="870"/>
                  </a:lnTo>
                  <a:lnTo>
                    <a:pt x="1518" y="829"/>
                  </a:lnTo>
                  <a:lnTo>
                    <a:pt x="1522" y="788"/>
                  </a:lnTo>
                  <a:lnTo>
                    <a:pt x="1525" y="747"/>
                  </a:lnTo>
                  <a:lnTo>
                    <a:pt x="1524" y="706"/>
                  </a:lnTo>
                  <a:lnTo>
                    <a:pt x="1521" y="665"/>
                  </a:lnTo>
                  <a:lnTo>
                    <a:pt x="1517" y="623"/>
                  </a:lnTo>
                  <a:lnTo>
                    <a:pt x="1511" y="584"/>
                  </a:lnTo>
                  <a:lnTo>
                    <a:pt x="1502" y="543"/>
                  </a:lnTo>
                  <a:lnTo>
                    <a:pt x="1492" y="503"/>
                  </a:lnTo>
                  <a:lnTo>
                    <a:pt x="1479" y="464"/>
                  </a:lnTo>
                  <a:lnTo>
                    <a:pt x="1465" y="426"/>
                  </a:lnTo>
                  <a:lnTo>
                    <a:pt x="1449" y="388"/>
                  </a:lnTo>
                  <a:lnTo>
                    <a:pt x="1432" y="352"/>
                  </a:lnTo>
                  <a:lnTo>
                    <a:pt x="1413" y="317"/>
                  </a:lnTo>
                  <a:lnTo>
                    <a:pt x="1391" y="284"/>
                  </a:lnTo>
                  <a:lnTo>
                    <a:pt x="1370" y="251"/>
                  </a:lnTo>
                  <a:lnTo>
                    <a:pt x="1345" y="220"/>
                  </a:lnTo>
                  <a:lnTo>
                    <a:pt x="1319" y="190"/>
                  </a:lnTo>
                  <a:lnTo>
                    <a:pt x="1292" y="163"/>
                  </a:lnTo>
                  <a:lnTo>
                    <a:pt x="1264" y="137"/>
                  </a:lnTo>
                  <a:lnTo>
                    <a:pt x="1233" y="114"/>
                  </a:lnTo>
                  <a:lnTo>
                    <a:pt x="1202" y="93"/>
                  </a:lnTo>
                  <a:lnTo>
                    <a:pt x="1169" y="73"/>
                  </a:lnTo>
                  <a:lnTo>
                    <a:pt x="1135" y="56"/>
                  </a:lnTo>
                  <a:lnTo>
                    <a:pt x="1099" y="43"/>
                  </a:lnTo>
                  <a:lnTo>
                    <a:pt x="1063" y="31"/>
                  </a:lnTo>
                  <a:close/>
                  <a:moveTo>
                    <a:pt x="1288" y="1105"/>
                  </a:moveTo>
                  <a:lnTo>
                    <a:pt x="1288" y="1105"/>
                  </a:lnTo>
                  <a:lnTo>
                    <a:pt x="1276" y="1123"/>
                  </a:lnTo>
                  <a:lnTo>
                    <a:pt x="1262" y="1141"/>
                  </a:lnTo>
                  <a:lnTo>
                    <a:pt x="1247" y="1160"/>
                  </a:lnTo>
                  <a:lnTo>
                    <a:pt x="1229" y="1178"/>
                  </a:lnTo>
                  <a:lnTo>
                    <a:pt x="1211" y="1196"/>
                  </a:lnTo>
                  <a:lnTo>
                    <a:pt x="1191" y="1214"/>
                  </a:lnTo>
                  <a:lnTo>
                    <a:pt x="1169" y="1232"/>
                  </a:lnTo>
                  <a:lnTo>
                    <a:pt x="1146" y="1250"/>
                  </a:lnTo>
                  <a:lnTo>
                    <a:pt x="1122" y="1268"/>
                  </a:lnTo>
                  <a:lnTo>
                    <a:pt x="1097" y="1285"/>
                  </a:lnTo>
                  <a:lnTo>
                    <a:pt x="1071" y="1300"/>
                  </a:lnTo>
                  <a:lnTo>
                    <a:pt x="1044" y="1316"/>
                  </a:lnTo>
                  <a:lnTo>
                    <a:pt x="1015" y="1332"/>
                  </a:lnTo>
                  <a:lnTo>
                    <a:pt x="987" y="1347"/>
                  </a:lnTo>
                  <a:lnTo>
                    <a:pt x="957" y="1361"/>
                  </a:lnTo>
                  <a:lnTo>
                    <a:pt x="927" y="1374"/>
                  </a:lnTo>
                  <a:lnTo>
                    <a:pt x="896" y="1386"/>
                  </a:lnTo>
                  <a:lnTo>
                    <a:pt x="865" y="1397"/>
                  </a:lnTo>
                  <a:lnTo>
                    <a:pt x="834" y="1407"/>
                  </a:lnTo>
                  <a:lnTo>
                    <a:pt x="802" y="1416"/>
                  </a:lnTo>
                  <a:lnTo>
                    <a:pt x="770" y="1424"/>
                  </a:lnTo>
                  <a:lnTo>
                    <a:pt x="738" y="1431"/>
                  </a:lnTo>
                  <a:lnTo>
                    <a:pt x="705" y="1436"/>
                  </a:lnTo>
                  <a:lnTo>
                    <a:pt x="673" y="1440"/>
                  </a:lnTo>
                  <a:lnTo>
                    <a:pt x="641" y="1442"/>
                  </a:lnTo>
                  <a:lnTo>
                    <a:pt x="610" y="1442"/>
                  </a:lnTo>
                  <a:lnTo>
                    <a:pt x="578" y="1442"/>
                  </a:lnTo>
                  <a:lnTo>
                    <a:pt x="548" y="1439"/>
                  </a:lnTo>
                  <a:lnTo>
                    <a:pt x="518" y="1435"/>
                  </a:lnTo>
                  <a:lnTo>
                    <a:pt x="488" y="1429"/>
                  </a:lnTo>
                  <a:lnTo>
                    <a:pt x="459" y="1421"/>
                  </a:lnTo>
                  <a:lnTo>
                    <a:pt x="431" y="1411"/>
                  </a:lnTo>
                  <a:lnTo>
                    <a:pt x="404" y="1398"/>
                  </a:lnTo>
                  <a:lnTo>
                    <a:pt x="379" y="1386"/>
                  </a:lnTo>
                  <a:lnTo>
                    <a:pt x="355" y="1371"/>
                  </a:lnTo>
                  <a:lnTo>
                    <a:pt x="333" y="1356"/>
                  </a:lnTo>
                  <a:lnTo>
                    <a:pt x="312" y="1339"/>
                  </a:lnTo>
                  <a:lnTo>
                    <a:pt x="292" y="1321"/>
                  </a:lnTo>
                  <a:lnTo>
                    <a:pt x="275" y="1303"/>
                  </a:lnTo>
                  <a:lnTo>
                    <a:pt x="258" y="1283"/>
                  </a:lnTo>
                  <a:lnTo>
                    <a:pt x="243" y="1262"/>
                  </a:lnTo>
                  <a:lnTo>
                    <a:pt x="230" y="1240"/>
                  </a:lnTo>
                  <a:lnTo>
                    <a:pt x="217" y="1219"/>
                  </a:lnTo>
                  <a:lnTo>
                    <a:pt x="206" y="1195"/>
                  </a:lnTo>
                  <a:lnTo>
                    <a:pt x="195" y="1171"/>
                  </a:lnTo>
                  <a:lnTo>
                    <a:pt x="186" y="1146"/>
                  </a:lnTo>
                  <a:lnTo>
                    <a:pt x="179" y="1120"/>
                  </a:lnTo>
                  <a:lnTo>
                    <a:pt x="173" y="1094"/>
                  </a:lnTo>
                  <a:lnTo>
                    <a:pt x="167" y="1066"/>
                  </a:lnTo>
                  <a:lnTo>
                    <a:pt x="162" y="1039"/>
                  </a:lnTo>
                  <a:lnTo>
                    <a:pt x="159" y="1012"/>
                  </a:lnTo>
                  <a:lnTo>
                    <a:pt x="157" y="982"/>
                  </a:lnTo>
                  <a:lnTo>
                    <a:pt x="155" y="954"/>
                  </a:lnTo>
                  <a:lnTo>
                    <a:pt x="154" y="924"/>
                  </a:lnTo>
                  <a:lnTo>
                    <a:pt x="154" y="895"/>
                  </a:lnTo>
                  <a:lnTo>
                    <a:pt x="155" y="864"/>
                  </a:lnTo>
                  <a:lnTo>
                    <a:pt x="158" y="835"/>
                  </a:lnTo>
                  <a:lnTo>
                    <a:pt x="161" y="804"/>
                  </a:lnTo>
                  <a:lnTo>
                    <a:pt x="165" y="772"/>
                  </a:lnTo>
                  <a:lnTo>
                    <a:pt x="168" y="741"/>
                  </a:lnTo>
                  <a:lnTo>
                    <a:pt x="174" y="711"/>
                  </a:lnTo>
                  <a:lnTo>
                    <a:pt x="179" y="679"/>
                  </a:lnTo>
                  <a:lnTo>
                    <a:pt x="185" y="647"/>
                  </a:lnTo>
                  <a:lnTo>
                    <a:pt x="192" y="617"/>
                  </a:lnTo>
                  <a:lnTo>
                    <a:pt x="200" y="586"/>
                  </a:lnTo>
                  <a:lnTo>
                    <a:pt x="210" y="555"/>
                  </a:lnTo>
                  <a:lnTo>
                    <a:pt x="222" y="526"/>
                  </a:lnTo>
                  <a:lnTo>
                    <a:pt x="235" y="497"/>
                  </a:lnTo>
                  <a:lnTo>
                    <a:pt x="251" y="470"/>
                  </a:lnTo>
                  <a:lnTo>
                    <a:pt x="268" y="444"/>
                  </a:lnTo>
                  <a:lnTo>
                    <a:pt x="287" y="419"/>
                  </a:lnTo>
                  <a:lnTo>
                    <a:pt x="306" y="394"/>
                  </a:lnTo>
                  <a:lnTo>
                    <a:pt x="328" y="371"/>
                  </a:lnTo>
                  <a:lnTo>
                    <a:pt x="350" y="348"/>
                  </a:lnTo>
                  <a:lnTo>
                    <a:pt x="373" y="328"/>
                  </a:lnTo>
                  <a:lnTo>
                    <a:pt x="398" y="307"/>
                  </a:lnTo>
                  <a:lnTo>
                    <a:pt x="424" y="289"/>
                  </a:lnTo>
                  <a:lnTo>
                    <a:pt x="452" y="271"/>
                  </a:lnTo>
                  <a:lnTo>
                    <a:pt x="479" y="255"/>
                  </a:lnTo>
                  <a:lnTo>
                    <a:pt x="508" y="240"/>
                  </a:lnTo>
                  <a:lnTo>
                    <a:pt x="536" y="227"/>
                  </a:lnTo>
                  <a:lnTo>
                    <a:pt x="567" y="214"/>
                  </a:lnTo>
                  <a:lnTo>
                    <a:pt x="597" y="203"/>
                  </a:lnTo>
                  <a:lnTo>
                    <a:pt x="627" y="193"/>
                  </a:lnTo>
                  <a:lnTo>
                    <a:pt x="659" y="185"/>
                  </a:lnTo>
                  <a:lnTo>
                    <a:pt x="690" y="178"/>
                  </a:lnTo>
                  <a:lnTo>
                    <a:pt x="722" y="172"/>
                  </a:lnTo>
                  <a:lnTo>
                    <a:pt x="754" y="168"/>
                  </a:lnTo>
                  <a:lnTo>
                    <a:pt x="786" y="165"/>
                  </a:lnTo>
                  <a:lnTo>
                    <a:pt x="818" y="164"/>
                  </a:lnTo>
                  <a:lnTo>
                    <a:pt x="850" y="165"/>
                  </a:lnTo>
                  <a:lnTo>
                    <a:pt x="881" y="168"/>
                  </a:lnTo>
                  <a:lnTo>
                    <a:pt x="912" y="171"/>
                  </a:lnTo>
                  <a:lnTo>
                    <a:pt x="943" y="177"/>
                  </a:lnTo>
                  <a:lnTo>
                    <a:pt x="973" y="184"/>
                  </a:lnTo>
                  <a:lnTo>
                    <a:pt x="1004" y="193"/>
                  </a:lnTo>
                  <a:lnTo>
                    <a:pt x="1033" y="203"/>
                  </a:lnTo>
                  <a:lnTo>
                    <a:pt x="1062" y="217"/>
                  </a:lnTo>
                  <a:lnTo>
                    <a:pt x="1089" y="231"/>
                  </a:lnTo>
                  <a:lnTo>
                    <a:pt x="1117" y="250"/>
                  </a:lnTo>
                  <a:lnTo>
                    <a:pt x="1142" y="268"/>
                  </a:lnTo>
                  <a:lnTo>
                    <a:pt x="1166" y="289"/>
                  </a:lnTo>
                  <a:lnTo>
                    <a:pt x="1188" y="312"/>
                  </a:lnTo>
                  <a:lnTo>
                    <a:pt x="1211" y="336"/>
                  </a:lnTo>
                  <a:lnTo>
                    <a:pt x="1232" y="361"/>
                  </a:lnTo>
                  <a:lnTo>
                    <a:pt x="1251" y="388"/>
                  </a:lnTo>
                  <a:lnTo>
                    <a:pt x="1268" y="417"/>
                  </a:lnTo>
                  <a:lnTo>
                    <a:pt x="1285" y="445"/>
                  </a:lnTo>
                  <a:lnTo>
                    <a:pt x="1300" y="476"/>
                  </a:lnTo>
                  <a:lnTo>
                    <a:pt x="1314" y="506"/>
                  </a:lnTo>
                  <a:lnTo>
                    <a:pt x="1326" y="539"/>
                  </a:lnTo>
                  <a:lnTo>
                    <a:pt x="1338" y="571"/>
                  </a:lnTo>
                  <a:lnTo>
                    <a:pt x="1347" y="605"/>
                  </a:lnTo>
                  <a:lnTo>
                    <a:pt x="1355" y="638"/>
                  </a:lnTo>
                  <a:lnTo>
                    <a:pt x="1361" y="672"/>
                  </a:lnTo>
                  <a:lnTo>
                    <a:pt x="1366" y="707"/>
                  </a:lnTo>
                  <a:lnTo>
                    <a:pt x="1369" y="741"/>
                  </a:lnTo>
                  <a:lnTo>
                    <a:pt x="1371" y="777"/>
                  </a:lnTo>
                  <a:lnTo>
                    <a:pt x="1370" y="811"/>
                  </a:lnTo>
                  <a:lnTo>
                    <a:pt x="1369" y="846"/>
                  </a:lnTo>
                  <a:lnTo>
                    <a:pt x="1364" y="880"/>
                  </a:lnTo>
                  <a:lnTo>
                    <a:pt x="1359" y="914"/>
                  </a:lnTo>
                  <a:lnTo>
                    <a:pt x="1351" y="947"/>
                  </a:lnTo>
                  <a:lnTo>
                    <a:pt x="1342" y="980"/>
                  </a:lnTo>
                  <a:lnTo>
                    <a:pt x="1332" y="1013"/>
                  </a:lnTo>
                  <a:lnTo>
                    <a:pt x="1319" y="1045"/>
                  </a:lnTo>
                  <a:lnTo>
                    <a:pt x="1305" y="1076"/>
                  </a:lnTo>
                  <a:lnTo>
                    <a:pt x="1288" y="1105"/>
                  </a:lnTo>
                  <a:close/>
                </a:path>
              </a:pathLst>
            </a:custGeom>
            <a:solidFill>
              <a:srgbClr val="D8E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auto">
            <a:xfrm>
              <a:off x="6937945" y="1785741"/>
              <a:ext cx="276225" cy="288925"/>
            </a:xfrm>
            <a:custGeom>
              <a:avLst/>
              <a:gdLst>
                <a:gd name="T0" fmla="*/ 758 w 1217"/>
                <a:gd name="T1" fmla="*/ 7 h 1278"/>
                <a:gd name="T2" fmla="*/ 632 w 1217"/>
                <a:gd name="T3" fmla="*/ 1 h 1278"/>
                <a:gd name="T4" fmla="*/ 505 w 1217"/>
                <a:gd name="T5" fmla="*/ 21 h 1278"/>
                <a:gd name="T6" fmla="*/ 382 w 1217"/>
                <a:gd name="T7" fmla="*/ 63 h 1278"/>
                <a:gd name="T8" fmla="*/ 270 w 1217"/>
                <a:gd name="T9" fmla="*/ 125 h 1278"/>
                <a:gd name="T10" fmla="*/ 174 w 1217"/>
                <a:gd name="T11" fmla="*/ 207 h 1278"/>
                <a:gd name="T12" fmla="*/ 97 w 1217"/>
                <a:gd name="T13" fmla="*/ 306 h 1278"/>
                <a:gd name="T14" fmla="*/ 46 w 1217"/>
                <a:gd name="T15" fmla="*/ 422 h 1278"/>
                <a:gd name="T16" fmla="*/ 20 w 1217"/>
                <a:gd name="T17" fmla="*/ 547 h 1278"/>
                <a:gd name="T18" fmla="*/ 4 w 1217"/>
                <a:gd name="T19" fmla="*/ 671 h 1278"/>
                <a:gd name="T20" fmla="*/ 1 w 1217"/>
                <a:gd name="T21" fmla="*/ 790 h 1278"/>
                <a:gd name="T22" fmla="*/ 13 w 1217"/>
                <a:gd name="T23" fmla="*/ 902 h 1278"/>
                <a:gd name="T24" fmla="*/ 41 w 1217"/>
                <a:gd name="T25" fmla="*/ 1007 h 1278"/>
                <a:gd name="T26" fmla="*/ 89 w 1217"/>
                <a:gd name="T27" fmla="*/ 1098 h 1278"/>
                <a:gd name="T28" fmla="*/ 158 w 1217"/>
                <a:gd name="T29" fmla="*/ 1175 h 1278"/>
                <a:gd name="T30" fmla="*/ 250 w 1217"/>
                <a:gd name="T31" fmla="*/ 1234 h 1278"/>
                <a:gd name="T32" fmla="*/ 364 w 1217"/>
                <a:gd name="T33" fmla="*/ 1271 h 1278"/>
                <a:gd name="T34" fmla="*/ 487 w 1217"/>
                <a:gd name="T35" fmla="*/ 1278 h 1278"/>
                <a:gd name="T36" fmla="*/ 616 w 1217"/>
                <a:gd name="T37" fmla="*/ 1260 h 1278"/>
                <a:gd name="T38" fmla="*/ 742 w 1217"/>
                <a:gd name="T39" fmla="*/ 1222 h 1278"/>
                <a:gd name="T40" fmla="*/ 861 w 1217"/>
                <a:gd name="T41" fmla="*/ 1168 h 1278"/>
                <a:gd name="T42" fmla="*/ 968 w 1217"/>
                <a:gd name="T43" fmla="*/ 1104 h 1278"/>
                <a:gd name="T44" fmla="*/ 1057 w 1217"/>
                <a:gd name="T45" fmla="*/ 1032 h 1278"/>
                <a:gd name="T46" fmla="*/ 1122 w 1217"/>
                <a:gd name="T47" fmla="*/ 959 h 1278"/>
                <a:gd name="T48" fmla="*/ 1178 w 1217"/>
                <a:gd name="T49" fmla="*/ 849 h 1278"/>
                <a:gd name="T50" fmla="*/ 1210 w 1217"/>
                <a:gd name="T51" fmla="*/ 716 h 1278"/>
                <a:gd name="T52" fmla="*/ 1215 w 1217"/>
                <a:gd name="T53" fmla="*/ 577 h 1278"/>
                <a:gd name="T54" fmla="*/ 1193 w 1217"/>
                <a:gd name="T55" fmla="*/ 441 h 1278"/>
                <a:gd name="T56" fmla="*/ 1146 w 1217"/>
                <a:gd name="T57" fmla="*/ 312 h 1278"/>
                <a:gd name="T58" fmla="*/ 1078 w 1217"/>
                <a:gd name="T59" fmla="*/ 197 h 1278"/>
                <a:gd name="T60" fmla="*/ 988 w 1217"/>
                <a:gd name="T61" fmla="*/ 104 h 1278"/>
                <a:gd name="T62" fmla="*/ 879 w 1217"/>
                <a:gd name="T63" fmla="*/ 39 h 1278"/>
                <a:gd name="T64" fmla="*/ 888 w 1217"/>
                <a:gd name="T65" fmla="*/ 956 h 1278"/>
                <a:gd name="T66" fmla="*/ 820 w 1217"/>
                <a:gd name="T67" fmla="*/ 1015 h 1278"/>
                <a:gd name="T68" fmla="*/ 741 w 1217"/>
                <a:gd name="T69" fmla="*/ 1054 h 1278"/>
                <a:gd name="T70" fmla="*/ 655 w 1217"/>
                <a:gd name="T71" fmla="*/ 1073 h 1278"/>
                <a:gd name="T72" fmla="*/ 565 w 1217"/>
                <a:gd name="T73" fmla="*/ 1075 h 1278"/>
                <a:gd name="T74" fmla="*/ 473 w 1217"/>
                <a:gd name="T75" fmla="*/ 1059 h 1278"/>
                <a:gd name="T76" fmla="*/ 384 w 1217"/>
                <a:gd name="T77" fmla="*/ 1029 h 1278"/>
                <a:gd name="T78" fmla="*/ 301 w 1217"/>
                <a:gd name="T79" fmla="*/ 983 h 1278"/>
                <a:gd name="T80" fmla="*/ 228 w 1217"/>
                <a:gd name="T81" fmla="*/ 924 h 1278"/>
                <a:gd name="T82" fmla="*/ 175 w 1217"/>
                <a:gd name="T83" fmla="*/ 852 h 1278"/>
                <a:gd name="T84" fmla="*/ 141 w 1217"/>
                <a:gd name="T85" fmla="*/ 768 h 1278"/>
                <a:gd name="T86" fmla="*/ 126 w 1217"/>
                <a:gd name="T87" fmla="*/ 676 h 1278"/>
                <a:gd name="T88" fmla="*/ 130 w 1217"/>
                <a:gd name="T89" fmla="*/ 583 h 1278"/>
                <a:gd name="T90" fmla="*/ 153 w 1217"/>
                <a:gd name="T91" fmla="*/ 491 h 1278"/>
                <a:gd name="T92" fmla="*/ 194 w 1217"/>
                <a:gd name="T93" fmla="*/ 406 h 1278"/>
                <a:gd name="T94" fmla="*/ 252 w 1217"/>
                <a:gd name="T95" fmla="*/ 334 h 1278"/>
                <a:gd name="T96" fmla="*/ 321 w 1217"/>
                <a:gd name="T97" fmla="*/ 282 h 1278"/>
                <a:gd name="T98" fmla="*/ 389 w 1217"/>
                <a:gd name="T99" fmla="*/ 251 h 1278"/>
                <a:gd name="T100" fmla="*/ 476 w 1217"/>
                <a:gd name="T101" fmla="*/ 226 h 1278"/>
                <a:gd name="T102" fmla="*/ 573 w 1217"/>
                <a:gd name="T103" fmla="*/ 209 h 1278"/>
                <a:gd name="T104" fmla="*/ 676 w 1217"/>
                <a:gd name="T105" fmla="*/ 204 h 1278"/>
                <a:gd name="T106" fmla="*/ 779 w 1217"/>
                <a:gd name="T107" fmla="*/ 209 h 1278"/>
                <a:gd name="T108" fmla="*/ 876 w 1217"/>
                <a:gd name="T109" fmla="*/ 232 h 1278"/>
                <a:gd name="T110" fmla="*/ 960 w 1217"/>
                <a:gd name="T111" fmla="*/ 273 h 1278"/>
                <a:gd name="T112" fmla="*/ 1028 w 1217"/>
                <a:gd name="T113" fmla="*/ 334 h 1278"/>
                <a:gd name="T114" fmla="*/ 1070 w 1217"/>
                <a:gd name="T115" fmla="*/ 405 h 1278"/>
                <a:gd name="T116" fmla="*/ 1089 w 1217"/>
                <a:gd name="T117" fmla="*/ 481 h 1278"/>
                <a:gd name="T118" fmla="*/ 1089 w 1217"/>
                <a:gd name="T119" fmla="*/ 559 h 1278"/>
                <a:gd name="T120" fmla="*/ 1072 w 1217"/>
                <a:gd name="T121" fmla="*/ 640 h 1278"/>
                <a:gd name="T122" fmla="*/ 1040 w 1217"/>
                <a:gd name="T123" fmla="*/ 722 h 1278"/>
                <a:gd name="T124" fmla="*/ 985 w 1217"/>
                <a:gd name="T125" fmla="*/ 822 h 1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7" h="1278">
                  <a:moveTo>
                    <a:pt x="850" y="29"/>
                  </a:moveTo>
                  <a:lnTo>
                    <a:pt x="819" y="20"/>
                  </a:lnTo>
                  <a:lnTo>
                    <a:pt x="789" y="13"/>
                  </a:lnTo>
                  <a:lnTo>
                    <a:pt x="758" y="7"/>
                  </a:lnTo>
                  <a:lnTo>
                    <a:pt x="727" y="4"/>
                  </a:lnTo>
                  <a:lnTo>
                    <a:pt x="696" y="1"/>
                  </a:lnTo>
                  <a:lnTo>
                    <a:pt x="664" y="0"/>
                  </a:lnTo>
                  <a:lnTo>
                    <a:pt x="632" y="1"/>
                  </a:lnTo>
                  <a:lnTo>
                    <a:pt x="600" y="4"/>
                  </a:lnTo>
                  <a:lnTo>
                    <a:pt x="568" y="8"/>
                  </a:lnTo>
                  <a:lnTo>
                    <a:pt x="536" y="14"/>
                  </a:lnTo>
                  <a:lnTo>
                    <a:pt x="505" y="21"/>
                  </a:lnTo>
                  <a:lnTo>
                    <a:pt x="473" y="29"/>
                  </a:lnTo>
                  <a:lnTo>
                    <a:pt x="443" y="39"/>
                  </a:lnTo>
                  <a:lnTo>
                    <a:pt x="413" y="50"/>
                  </a:lnTo>
                  <a:lnTo>
                    <a:pt x="382" y="63"/>
                  </a:lnTo>
                  <a:lnTo>
                    <a:pt x="354" y="76"/>
                  </a:lnTo>
                  <a:lnTo>
                    <a:pt x="325" y="91"/>
                  </a:lnTo>
                  <a:lnTo>
                    <a:pt x="298" y="107"/>
                  </a:lnTo>
                  <a:lnTo>
                    <a:pt x="270" y="125"/>
                  </a:lnTo>
                  <a:lnTo>
                    <a:pt x="244" y="143"/>
                  </a:lnTo>
                  <a:lnTo>
                    <a:pt x="219" y="164"/>
                  </a:lnTo>
                  <a:lnTo>
                    <a:pt x="196" y="184"/>
                  </a:lnTo>
                  <a:lnTo>
                    <a:pt x="174" y="207"/>
                  </a:lnTo>
                  <a:lnTo>
                    <a:pt x="152" y="230"/>
                  </a:lnTo>
                  <a:lnTo>
                    <a:pt x="133" y="255"/>
                  </a:lnTo>
                  <a:lnTo>
                    <a:pt x="114" y="280"/>
                  </a:lnTo>
                  <a:lnTo>
                    <a:pt x="97" y="306"/>
                  </a:lnTo>
                  <a:lnTo>
                    <a:pt x="81" y="333"/>
                  </a:lnTo>
                  <a:lnTo>
                    <a:pt x="68" y="362"/>
                  </a:lnTo>
                  <a:lnTo>
                    <a:pt x="56" y="391"/>
                  </a:lnTo>
                  <a:lnTo>
                    <a:pt x="46" y="422"/>
                  </a:lnTo>
                  <a:lnTo>
                    <a:pt x="38" y="453"/>
                  </a:lnTo>
                  <a:lnTo>
                    <a:pt x="31" y="483"/>
                  </a:lnTo>
                  <a:lnTo>
                    <a:pt x="25" y="515"/>
                  </a:lnTo>
                  <a:lnTo>
                    <a:pt x="20" y="547"/>
                  </a:lnTo>
                  <a:lnTo>
                    <a:pt x="14" y="577"/>
                  </a:lnTo>
                  <a:lnTo>
                    <a:pt x="11" y="608"/>
                  </a:lnTo>
                  <a:lnTo>
                    <a:pt x="7" y="640"/>
                  </a:lnTo>
                  <a:lnTo>
                    <a:pt x="4" y="671"/>
                  </a:lnTo>
                  <a:lnTo>
                    <a:pt x="1" y="700"/>
                  </a:lnTo>
                  <a:lnTo>
                    <a:pt x="0" y="731"/>
                  </a:lnTo>
                  <a:lnTo>
                    <a:pt x="0" y="760"/>
                  </a:lnTo>
                  <a:lnTo>
                    <a:pt x="1" y="790"/>
                  </a:lnTo>
                  <a:lnTo>
                    <a:pt x="3" y="818"/>
                  </a:lnTo>
                  <a:lnTo>
                    <a:pt x="5" y="848"/>
                  </a:lnTo>
                  <a:lnTo>
                    <a:pt x="8" y="875"/>
                  </a:lnTo>
                  <a:lnTo>
                    <a:pt x="13" y="902"/>
                  </a:lnTo>
                  <a:lnTo>
                    <a:pt x="19" y="930"/>
                  </a:lnTo>
                  <a:lnTo>
                    <a:pt x="25" y="956"/>
                  </a:lnTo>
                  <a:lnTo>
                    <a:pt x="32" y="982"/>
                  </a:lnTo>
                  <a:lnTo>
                    <a:pt x="41" y="1007"/>
                  </a:lnTo>
                  <a:lnTo>
                    <a:pt x="52" y="1031"/>
                  </a:lnTo>
                  <a:lnTo>
                    <a:pt x="63" y="1055"/>
                  </a:lnTo>
                  <a:lnTo>
                    <a:pt x="76" y="1076"/>
                  </a:lnTo>
                  <a:lnTo>
                    <a:pt x="89" y="1098"/>
                  </a:lnTo>
                  <a:lnTo>
                    <a:pt x="104" y="1119"/>
                  </a:lnTo>
                  <a:lnTo>
                    <a:pt x="121" y="1139"/>
                  </a:lnTo>
                  <a:lnTo>
                    <a:pt x="138" y="1157"/>
                  </a:lnTo>
                  <a:lnTo>
                    <a:pt x="158" y="1175"/>
                  </a:lnTo>
                  <a:lnTo>
                    <a:pt x="179" y="1192"/>
                  </a:lnTo>
                  <a:lnTo>
                    <a:pt x="201" y="1207"/>
                  </a:lnTo>
                  <a:lnTo>
                    <a:pt x="225" y="1222"/>
                  </a:lnTo>
                  <a:lnTo>
                    <a:pt x="250" y="1234"/>
                  </a:lnTo>
                  <a:lnTo>
                    <a:pt x="277" y="1247"/>
                  </a:lnTo>
                  <a:lnTo>
                    <a:pt x="305" y="1257"/>
                  </a:lnTo>
                  <a:lnTo>
                    <a:pt x="334" y="1265"/>
                  </a:lnTo>
                  <a:lnTo>
                    <a:pt x="364" y="1271"/>
                  </a:lnTo>
                  <a:lnTo>
                    <a:pt x="394" y="1275"/>
                  </a:lnTo>
                  <a:lnTo>
                    <a:pt x="424" y="1278"/>
                  </a:lnTo>
                  <a:lnTo>
                    <a:pt x="456" y="1278"/>
                  </a:lnTo>
                  <a:lnTo>
                    <a:pt x="487" y="1278"/>
                  </a:lnTo>
                  <a:lnTo>
                    <a:pt x="519" y="1276"/>
                  </a:lnTo>
                  <a:lnTo>
                    <a:pt x="551" y="1272"/>
                  </a:lnTo>
                  <a:lnTo>
                    <a:pt x="584" y="1267"/>
                  </a:lnTo>
                  <a:lnTo>
                    <a:pt x="616" y="1260"/>
                  </a:lnTo>
                  <a:lnTo>
                    <a:pt x="648" y="1252"/>
                  </a:lnTo>
                  <a:lnTo>
                    <a:pt x="680" y="1243"/>
                  </a:lnTo>
                  <a:lnTo>
                    <a:pt x="711" y="1233"/>
                  </a:lnTo>
                  <a:lnTo>
                    <a:pt x="742" y="1222"/>
                  </a:lnTo>
                  <a:lnTo>
                    <a:pt x="773" y="1210"/>
                  </a:lnTo>
                  <a:lnTo>
                    <a:pt x="803" y="1197"/>
                  </a:lnTo>
                  <a:lnTo>
                    <a:pt x="833" y="1183"/>
                  </a:lnTo>
                  <a:lnTo>
                    <a:pt x="861" y="1168"/>
                  </a:lnTo>
                  <a:lnTo>
                    <a:pt x="890" y="1152"/>
                  </a:lnTo>
                  <a:lnTo>
                    <a:pt x="917" y="1136"/>
                  </a:lnTo>
                  <a:lnTo>
                    <a:pt x="943" y="1121"/>
                  </a:lnTo>
                  <a:lnTo>
                    <a:pt x="968" y="1104"/>
                  </a:lnTo>
                  <a:lnTo>
                    <a:pt x="992" y="1086"/>
                  </a:lnTo>
                  <a:lnTo>
                    <a:pt x="1015" y="1068"/>
                  </a:lnTo>
                  <a:lnTo>
                    <a:pt x="1037" y="1050"/>
                  </a:lnTo>
                  <a:lnTo>
                    <a:pt x="1057" y="1032"/>
                  </a:lnTo>
                  <a:lnTo>
                    <a:pt x="1075" y="1014"/>
                  </a:lnTo>
                  <a:lnTo>
                    <a:pt x="1093" y="996"/>
                  </a:lnTo>
                  <a:lnTo>
                    <a:pt x="1108" y="977"/>
                  </a:lnTo>
                  <a:lnTo>
                    <a:pt x="1122" y="959"/>
                  </a:lnTo>
                  <a:lnTo>
                    <a:pt x="1134" y="941"/>
                  </a:lnTo>
                  <a:lnTo>
                    <a:pt x="1151" y="912"/>
                  </a:lnTo>
                  <a:lnTo>
                    <a:pt x="1165" y="881"/>
                  </a:lnTo>
                  <a:lnTo>
                    <a:pt x="1178" y="849"/>
                  </a:lnTo>
                  <a:lnTo>
                    <a:pt x="1188" y="816"/>
                  </a:lnTo>
                  <a:lnTo>
                    <a:pt x="1197" y="783"/>
                  </a:lnTo>
                  <a:lnTo>
                    <a:pt x="1205" y="750"/>
                  </a:lnTo>
                  <a:lnTo>
                    <a:pt x="1210" y="716"/>
                  </a:lnTo>
                  <a:lnTo>
                    <a:pt x="1215" y="682"/>
                  </a:lnTo>
                  <a:lnTo>
                    <a:pt x="1216" y="647"/>
                  </a:lnTo>
                  <a:lnTo>
                    <a:pt x="1217" y="613"/>
                  </a:lnTo>
                  <a:lnTo>
                    <a:pt x="1215" y="577"/>
                  </a:lnTo>
                  <a:lnTo>
                    <a:pt x="1212" y="543"/>
                  </a:lnTo>
                  <a:lnTo>
                    <a:pt x="1207" y="508"/>
                  </a:lnTo>
                  <a:lnTo>
                    <a:pt x="1201" y="474"/>
                  </a:lnTo>
                  <a:lnTo>
                    <a:pt x="1193" y="441"/>
                  </a:lnTo>
                  <a:lnTo>
                    <a:pt x="1184" y="407"/>
                  </a:lnTo>
                  <a:lnTo>
                    <a:pt x="1172" y="375"/>
                  </a:lnTo>
                  <a:lnTo>
                    <a:pt x="1160" y="342"/>
                  </a:lnTo>
                  <a:lnTo>
                    <a:pt x="1146" y="312"/>
                  </a:lnTo>
                  <a:lnTo>
                    <a:pt x="1131" y="281"/>
                  </a:lnTo>
                  <a:lnTo>
                    <a:pt x="1114" y="253"/>
                  </a:lnTo>
                  <a:lnTo>
                    <a:pt x="1097" y="224"/>
                  </a:lnTo>
                  <a:lnTo>
                    <a:pt x="1078" y="197"/>
                  </a:lnTo>
                  <a:lnTo>
                    <a:pt x="1057" y="172"/>
                  </a:lnTo>
                  <a:lnTo>
                    <a:pt x="1034" y="148"/>
                  </a:lnTo>
                  <a:lnTo>
                    <a:pt x="1012" y="125"/>
                  </a:lnTo>
                  <a:lnTo>
                    <a:pt x="988" y="104"/>
                  </a:lnTo>
                  <a:lnTo>
                    <a:pt x="963" y="86"/>
                  </a:lnTo>
                  <a:lnTo>
                    <a:pt x="935" y="67"/>
                  </a:lnTo>
                  <a:lnTo>
                    <a:pt x="908" y="53"/>
                  </a:lnTo>
                  <a:lnTo>
                    <a:pt x="879" y="39"/>
                  </a:lnTo>
                  <a:lnTo>
                    <a:pt x="850" y="29"/>
                  </a:lnTo>
                  <a:close/>
                  <a:moveTo>
                    <a:pt x="903" y="938"/>
                  </a:moveTo>
                  <a:lnTo>
                    <a:pt x="903" y="938"/>
                  </a:lnTo>
                  <a:lnTo>
                    <a:pt x="888" y="956"/>
                  </a:lnTo>
                  <a:lnTo>
                    <a:pt x="872" y="972"/>
                  </a:lnTo>
                  <a:lnTo>
                    <a:pt x="855" y="988"/>
                  </a:lnTo>
                  <a:lnTo>
                    <a:pt x="838" y="1001"/>
                  </a:lnTo>
                  <a:lnTo>
                    <a:pt x="820" y="1015"/>
                  </a:lnTo>
                  <a:lnTo>
                    <a:pt x="802" y="1026"/>
                  </a:lnTo>
                  <a:lnTo>
                    <a:pt x="781" y="1036"/>
                  </a:lnTo>
                  <a:lnTo>
                    <a:pt x="762" y="1046"/>
                  </a:lnTo>
                  <a:lnTo>
                    <a:pt x="741" y="1054"/>
                  </a:lnTo>
                  <a:lnTo>
                    <a:pt x="720" y="1060"/>
                  </a:lnTo>
                  <a:lnTo>
                    <a:pt x="699" y="1066"/>
                  </a:lnTo>
                  <a:lnTo>
                    <a:pt x="676" y="1069"/>
                  </a:lnTo>
                  <a:lnTo>
                    <a:pt x="655" y="1073"/>
                  </a:lnTo>
                  <a:lnTo>
                    <a:pt x="633" y="1075"/>
                  </a:lnTo>
                  <a:lnTo>
                    <a:pt x="610" y="1076"/>
                  </a:lnTo>
                  <a:lnTo>
                    <a:pt x="587" y="1076"/>
                  </a:lnTo>
                  <a:lnTo>
                    <a:pt x="565" y="1075"/>
                  </a:lnTo>
                  <a:lnTo>
                    <a:pt x="542" y="1073"/>
                  </a:lnTo>
                  <a:lnTo>
                    <a:pt x="519" y="1069"/>
                  </a:lnTo>
                  <a:lnTo>
                    <a:pt x="496" y="1065"/>
                  </a:lnTo>
                  <a:lnTo>
                    <a:pt x="473" y="1059"/>
                  </a:lnTo>
                  <a:lnTo>
                    <a:pt x="451" y="1054"/>
                  </a:lnTo>
                  <a:lnTo>
                    <a:pt x="428" y="1046"/>
                  </a:lnTo>
                  <a:lnTo>
                    <a:pt x="406" y="1038"/>
                  </a:lnTo>
                  <a:lnTo>
                    <a:pt x="384" y="1029"/>
                  </a:lnTo>
                  <a:lnTo>
                    <a:pt x="363" y="1018"/>
                  </a:lnTo>
                  <a:lnTo>
                    <a:pt x="342" y="1008"/>
                  </a:lnTo>
                  <a:lnTo>
                    <a:pt x="322" y="996"/>
                  </a:lnTo>
                  <a:lnTo>
                    <a:pt x="301" y="983"/>
                  </a:lnTo>
                  <a:lnTo>
                    <a:pt x="282" y="969"/>
                  </a:lnTo>
                  <a:lnTo>
                    <a:pt x="262" y="955"/>
                  </a:lnTo>
                  <a:lnTo>
                    <a:pt x="244" y="940"/>
                  </a:lnTo>
                  <a:lnTo>
                    <a:pt x="228" y="924"/>
                  </a:lnTo>
                  <a:lnTo>
                    <a:pt x="212" y="908"/>
                  </a:lnTo>
                  <a:lnTo>
                    <a:pt x="199" y="890"/>
                  </a:lnTo>
                  <a:lnTo>
                    <a:pt x="186" y="872"/>
                  </a:lnTo>
                  <a:lnTo>
                    <a:pt x="175" y="852"/>
                  </a:lnTo>
                  <a:lnTo>
                    <a:pt x="164" y="832"/>
                  </a:lnTo>
                  <a:lnTo>
                    <a:pt x="155" y="812"/>
                  </a:lnTo>
                  <a:lnTo>
                    <a:pt x="147" y="790"/>
                  </a:lnTo>
                  <a:lnTo>
                    <a:pt x="141" y="768"/>
                  </a:lnTo>
                  <a:lnTo>
                    <a:pt x="135" y="746"/>
                  </a:lnTo>
                  <a:lnTo>
                    <a:pt x="130" y="723"/>
                  </a:lnTo>
                  <a:lnTo>
                    <a:pt x="128" y="700"/>
                  </a:lnTo>
                  <a:lnTo>
                    <a:pt x="126" y="676"/>
                  </a:lnTo>
                  <a:lnTo>
                    <a:pt x="125" y="654"/>
                  </a:lnTo>
                  <a:lnTo>
                    <a:pt x="126" y="630"/>
                  </a:lnTo>
                  <a:lnTo>
                    <a:pt x="127" y="606"/>
                  </a:lnTo>
                  <a:lnTo>
                    <a:pt x="130" y="583"/>
                  </a:lnTo>
                  <a:lnTo>
                    <a:pt x="134" y="559"/>
                  </a:lnTo>
                  <a:lnTo>
                    <a:pt x="139" y="537"/>
                  </a:lnTo>
                  <a:lnTo>
                    <a:pt x="145" y="514"/>
                  </a:lnTo>
                  <a:lnTo>
                    <a:pt x="153" y="491"/>
                  </a:lnTo>
                  <a:lnTo>
                    <a:pt x="161" y="470"/>
                  </a:lnTo>
                  <a:lnTo>
                    <a:pt x="171" y="448"/>
                  </a:lnTo>
                  <a:lnTo>
                    <a:pt x="182" y="426"/>
                  </a:lnTo>
                  <a:lnTo>
                    <a:pt x="194" y="406"/>
                  </a:lnTo>
                  <a:lnTo>
                    <a:pt x="207" y="387"/>
                  </a:lnTo>
                  <a:lnTo>
                    <a:pt x="220" y="368"/>
                  </a:lnTo>
                  <a:lnTo>
                    <a:pt x="236" y="350"/>
                  </a:lnTo>
                  <a:lnTo>
                    <a:pt x="252" y="334"/>
                  </a:lnTo>
                  <a:lnTo>
                    <a:pt x="269" y="318"/>
                  </a:lnTo>
                  <a:lnTo>
                    <a:pt x="288" y="304"/>
                  </a:lnTo>
                  <a:lnTo>
                    <a:pt x="307" y="290"/>
                  </a:lnTo>
                  <a:lnTo>
                    <a:pt x="321" y="282"/>
                  </a:lnTo>
                  <a:lnTo>
                    <a:pt x="337" y="274"/>
                  </a:lnTo>
                  <a:lnTo>
                    <a:pt x="353" y="266"/>
                  </a:lnTo>
                  <a:lnTo>
                    <a:pt x="371" y="258"/>
                  </a:lnTo>
                  <a:lnTo>
                    <a:pt x="389" y="251"/>
                  </a:lnTo>
                  <a:lnTo>
                    <a:pt x="410" y="245"/>
                  </a:lnTo>
                  <a:lnTo>
                    <a:pt x="431" y="238"/>
                  </a:lnTo>
                  <a:lnTo>
                    <a:pt x="453" y="232"/>
                  </a:lnTo>
                  <a:lnTo>
                    <a:pt x="476" y="226"/>
                  </a:lnTo>
                  <a:lnTo>
                    <a:pt x="499" y="222"/>
                  </a:lnTo>
                  <a:lnTo>
                    <a:pt x="524" y="217"/>
                  </a:lnTo>
                  <a:lnTo>
                    <a:pt x="548" y="213"/>
                  </a:lnTo>
                  <a:lnTo>
                    <a:pt x="573" y="209"/>
                  </a:lnTo>
                  <a:lnTo>
                    <a:pt x="599" y="207"/>
                  </a:lnTo>
                  <a:lnTo>
                    <a:pt x="624" y="205"/>
                  </a:lnTo>
                  <a:lnTo>
                    <a:pt x="650" y="204"/>
                  </a:lnTo>
                  <a:lnTo>
                    <a:pt x="676" y="204"/>
                  </a:lnTo>
                  <a:lnTo>
                    <a:pt x="701" y="204"/>
                  </a:lnTo>
                  <a:lnTo>
                    <a:pt x="728" y="205"/>
                  </a:lnTo>
                  <a:lnTo>
                    <a:pt x="754" y="207"/>
                  </a:lnTo>
                  <a:lnTo>
                    <a:pt x="779" y="209"/>
                  </a:lnTo>
                  <a:lnTo>
                    <a:pt x="804" y="214"/>
                  </a:lnTo>
                  <a:lnTo>
                    <a:pt x="828" y="218"/>
                  </a:lnTo>
                  <a:lnTo>
                    <a:pt x="852" y="225"/>
                  </a:lnTo>
                  <a:lnTo>
                    <a:pt x="876" y="232"/>
                  </a:lnTo>
                  <a:lnTo>
                    <a:pt x="899" y="241"/>
                  </a:lnTo>
                  <a:lnTo>
                    <a:pt x="920" y="250"/>
                  </a:lnTo>
                  <a:lnTo>
                    <a:pt x="941" y="261"/>
                  </a:lnTo>
                  <a:lnTo>
                    <a:pt x="960" y="273"/>
                  </a:lnTo>
                  <a:lnTo>
                    <a:pt x="978" y="287"/>
                  </a:lnTo>
                  <a:lnTo>
                    <a:pt x="997" y="301"/>
                  </a:lnTo>
                  <a:lnTo>
                    <a:pt x="1013" y="317"/>
                  </a:lnTo>
                  <a:lnTo>
                    <a:pt x="1028" y="334"/>
                  </a:lnTo>
                  <a:lnTo>
                    <a:pt x="1040" y="351"/>
                  </a:lnTo>
                  <a:lnTo>
                    <a:pt x="1051" y="368"/>
                  </a:lnTo>
                  <a:lnTo>
                    <a:pt x="1062" y="387"/>
                  </a:lnTo>
                  <a:lnTo>
                    <a:pt x="1070" y="405"/>
                  </a:lnTo>
                  <a:lnTo>
                    <a:pt x="1077" y="424"/>
                  </a:lnTo>
                  <a:lnTo>
                    <a:pt x="1082" y="442"/>
                  </a:lnTo>
                  <a:lnTo>
                    <a:pt x="1087" y="462"/>
                  </a:lnTo>
                  <a:lnTo>
                    <a:pt x="1089" y="481"/>
                  </a:lnTo>
                  <a:lnTo>
                    <a:pt x="1091" y="500"/>
                  </a:lnTo>
                  <a:lnTo>
                    <a:pt x="1091" y="520"/>
                  </a:lnTo>
                  <a:lnTo>
                    <a:pt x="1091" y="540"/>
                  </a:lnTo>
                  <a:lnTo>
                    <a:pt x="1089" y="559"/>
                  </a:lnTo>
                  <a:lnTo>
                    <a:pt x="1087" y="580"/>
                  </a:lnTo>
                  <a:lnTo>
                    <a:pt x="1082" y="599"/>
                  </a:lnTo>
                  <a:lnTo>
                    <a:pt x="1078" y="620"/>
                  </a:lnTo>
                  <a:lnTo>
                    <a:pt x="1072" y="640"/>
                  </a:lnTo>
                  <a:lnTo>
                    <a:pt x="1065" y="660"/>
                  </a:lnTo>
                  <a:lnTo>
                    <a:pt x="1057" y="681"/>
                  </a:lnTo>
                  <a:lnTo>
                    <a:pt x="1049" y="701"/>
                  </a:lnTo>
                  <a:lnTo>
                    <a:pt x="1040" y="722"/>
                  </a:lnTo>
                  <a:lnTo>
                    <a:pt x="1030" y="741"/>
                  </a:lnTo>
                  <a:lnTo>
                    <a:pt x="1020" y="762"/>
                  </a:lnTo>
                  <a:lnTo>
                    <a:pt x="1009" y="782"/>
                  </a:lnTo>
                  <a:lnTo>
                    <a:pt x="985" y="822"/>
                  </a:lnTo>
                  <a:lnTo>
                    <a:pt x="959" y="862"/>
                  </a:lnTo>
                  <a:lnTo>
                    <a:pt x="932" y="900"/>
                  </a:lnTo>
                  <a:lnTo>
                    <a:pt x="903" y="938"/>
                  </a:lnTo>
                  <a:close/>
                </a:path>
              </a:pathLst>
            </a:custGeom>
            <a:solidFill>
              <a:srgbClr val="F08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auto">
            <a:xfrm>
              <a:off x="6966520" y="1831778"/>
              <a:ext cx="219075" cy="196850"/>
            </a:xfrm>
            <a:custGeom>
              <a:avLst/>
              <a:gdLst>
                <a:gd name="T0" fmla="*/ 127 w 966"/>
                <a:gd name="T1" fmla="*/ 130 h 872"/>
                <a:gd name="T2" fmla="*/ 69 w 966"/>
                <a:gd name="T3" fmla="*/ 202 h 872"/>
                <a:gd name="T4" fmla="*/ 28 w 966"/>
                <a:gd name="T5" fmla="*/ 287 h 872"/>
                <a:gd name="T6" fmla="*/ 5 w 966"/>
                <a:gd name="T7" fmla="*/ 379 h 872"/>
                <a:gd name="T8" fmla="*/ 1 w 966"/>
                <a:gd name="T9" fmla="*/ 472 h 872"/>
                <a:gd name="T10" fmla="*/ 16 w 966"/>
                <a:gd name="T11" fmla="*/ 564 h 872"/>
                <a:gd name="T12" fmla="*/ 50 w 966"/>
                <a:gd name="T13" fmla="*/ 648 h 872"/>
                <a:gd name="T14" fmla="*/ 103 w 966"/>
                <a:gd name="T15" fmla="*/ 720 h 872"/>
                <a:gd name="T16" fmla="*/ 176 w 966"/>
                <a:gd name="T17" fmla="*/ 779 h 872"/>
                <a:gd name="T18" fmla="*/ 259 w 966"/>
                <a:gd name="T19" fmla="*/ 825 h 872"/>
                <a:gd name="T20" fmla="*/ 348 w 966"/>
                <a:gd name="T21" fmla="*/ 855 h 872"/>
                <a:gd name="T22" fmla="*/ 440 w 966"/>
                <a:gd name="T23" fmla="*/ 871 h 872"/>
                <a:gd name="T24" fmla="*/ 530 w 966"/>
                <a:gd name="T25" fmla="*/ 869 h 872"/>
                <a:gd name="T26" fmla="*/ 616 w 966"/>
                <a:gd name="T27" fmla="*/ 850 h 872"/>
                <a:gd name="T28" fmla="*/ 695 w 966"/>
                <a:gd name="T29" fmla="*/ 811 h 872"/>
                <a:gd name="T30" fmla="*/ 763 w 966"/>
                <a:gd name="T31" fmla="*/ 752 h 872"/>
                <a:gd name="T32" fmla="*/ 860 w 966"/>
                <a:gd name="T33" fmla="*/ 618 h 872"/>
                <a:gd name="T34" fmla="*/ 915 w 966"/>
                <a:gd name="T35" fmla="*/ 518 h 872"/>
                <a:gd name="T36" fmla="*/ 947 w 966"/>
                <a:gd name="T37" fmla="*/ 436 h 872"/>
                <a:gd name="T38" fmla="*/ 964 w 966"/>
                <a:gd name="T39" fmla="*/ 355 h 872"/>
                <a:gd name="T40" fmla="*/ 964 w 966"/>
                <a:gd name="T41" fmla="*/ 277 h 872"/>
                <a:gd name="T42" fmla="*/ 945 w 966"/>
                <a:gd name="T43" fmla="*/ 201 h 872"/>
                <a:gd name="T44" fmla="*/ 903 w 966"/>
                <a:gd name="T45" fmla="*/ 130 h 872"/>
                <a:gd name="T46" fmla="*/ 835 w 966"/>
                <a:gd name="T47" fmla="*/ 69 h 872"/>
                <a:gd name="T48" fmla="*/ 751 w 966"/>
                <a:gd name="T49" fmla="*/ 28 h 872"/>
                <a:gd name="T50" fmla="*/ 654 w 966"/>
                <a:gd name="T51" fmla="*/ 5 h 872"/>
                <a:gd name="T52" fmla="*/ 551 w 966"/>
                <a:gd name="T53" fmla="*/ 0 h 872"/>
                <a:gd name="T54" fmla="*/ 448 w 966"/>
                <a:gd name="T55" fmla="*/ 5 h 872"/>
                <a:gd name="T56" fmla="*/ 351 w 966"/>
                <a:gd name="T57" fmla="*/ 22 h 872"/>
                <a:gd name="T58" fmla="*/ 264 w 966"/>
                <a:gd name="T59" fmla="*/ 47 h 872"/>
                <a:gd name="T60" fmla="*/ 196 w 966"/>
                <a:gd name="T61" fmla="*/ 78 h 872"/>
                <a:gd name="T62" fmla="*/ 689 w 966"/>
                <a:gd name="T63" fmla="*/ 654 h 872"/>
                <a:gd name="T64" fmla="*/ 632 w 966"/>
                <a:gd name="T65" fmla="*/ 704 h 872"/>
                <a:gd name="T66" fmla="*/ 570 w 966"/>
                <a:gd name="T67" fmla="*/ 738 h 872"/>
                <a:gd name="T68" fmla="*/ 505 w 966"/>
                <a:gd name="T69" fmla="*/ 757 h 872"/>
                <a:gd name="T70" fmla="*/ 437 w 966"/>
                <a:gd name="T71" fmla="*/ 763 h 872"/>
                <a:gd name="T72" fmla="*/ 370 w 966"/>
                <a:gd name="T73" fmla="*/ 755 h 872"/>
                <a:gd name="T74" fmla="*/ 306 w 966"/>
                <a:gd name="T75" fmla="*/ 736 h 872"/>
                <a:gd name="T76" fmla="*/ 247 w 966"/>
                <a:gd name="T77" fmla="*/ 706 h 872"/>
                <a:gd name="T78" fmla="*/ 195 w 966"/>
                <a:gd name="T79" fmla="*/ 667 h 872"/>
                <a:gd name="T80" fmla="*/ 157 w 966"/>
                <a:gd name="T81" fmla="*/ 617 h 872"/>
                <a:gd name="T82" fmla="*/ 135 w 966"/>
                <a:gd name="T83" fmla="*/ 556 h 872"/>
                <a:gd name="T84" fmla="*/ 127 w 966"/>
                <a:gd name="T85" fmla="*/ 491 h 872"/>
                <a:gd name="T86" fmla="*/ 134 w 966"/>
                <a:gd name="T87" fmla="*/ 420 h 872"/>
                <a:gd name="T88" fmla="*/ 156 w 966"/>
                <a:gd name="T89" fmla="*/ 351 h 872"/>
                <a:gd name="T90" fmla="*/ 192 w 966"/>
                <a:gd name="T91" fmla="*/ 285 h 872"/>
                <a:gd name="T92" fmla="*/ 241 w 966"/>
                <a:gd name="T93" fmla="*/ 226 h 872"/>
                <a:gd name="T94" fmla="*/ 311 w 966"/>
                <a:gd name="T95" fmla="*/ 174 h 872"/>
                <a:gd name="T96" fmla="*/ 429 w 966"/>
                <a:gd name="T97" fmla="*/ 127 h 872"/>
                <a:gd name="T98" fmla="*/ 550 w 966"/>
                <a:gd name="T99" fmla="*/ 109 h 872"/>
                <a:gd name="T100" fmla="*/ 619 w 966"/>
                <a:gd name="T101" fmla="*/ 112 h 872"/>
                <a:gd name="T102" fmla="*/ 684 w 966"/>
                <a:gd name="T103" fmla="*/ 126 h 872"/>
                <a:gd name="T104" fmla="*/ 741 w 966"/>
                <a:gd name="T105" fmla="*/ 154 h 872"/>
                <a:gd name="T106" fmla="*/ 786 w 966"/>
                <a:gd name="T107" fmla="*/ 196 h 872"/>
                <a:gd name="T108" fmla="*/ 818 w 966"/>
                <a:gd name="T109" fmla="*/ 245 h 872"/>
                <a:gd name="T110" fmla="*/ 835 w 966"/>
                <a:gd name="T111" fmla="*/ 297 h 872"/>
                <a:gd name="T112" fmla="*/ 839 w 966"/>
                <a:gd name="T113" fmla="*/ 353 h 872"/>
                <a:gd name="T114" fmla="*/ 831 w 966"/>
                <a:gd name="T115" fmla="*/ 411 h 872"/>
                <a:gd name="T116" fmla="*/ 803 w 966"/>
                <a:gd name="T117" fmla="*/ 485 h 872"/>
                <a:gd name="T118" fmla="*/ 727 w 966"/>
                <a:gd name="T119" fmla="*/ 608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6" h="872">
                  <a:moveTo>
                    <a:pt x="182" y="86"/>
                  </a:moveTo>
                  <a:lnTo>
                    <a:pt x="163" y="100"/>
                  </a:lnTo>
                  <a:lnTo>
                    <a:pt x="144" y="114"/>
                  </a:lnTo>
                  <a:lnTo>
                    <a:pt x="127" y="130"/>
                  </a:lnTo>
                  <a:lnTo>
                    <a:pt x="111" y="146"/>
                  </a:lnTo>
                  <a:lnTo>
                    <a:pt x="95" y="164"/>
                  </a:lnTo>
                  <a:lnTo>
                    <a:pt x="82" y="183"/>
                  </a:lnTo>
                  <a:lnTo>
                    <a:pt x="69" y="202"/>
                  </a:lnTo>
                  <a:lnTo>
                    <a:pt x="57" y="222"/>
                  </a:lnTo>
                  <a:lnTo>
                    <a:pt x="46" y="244"/>
                  </a:lnTo>
                  <a:lnTo>
                    <a:pt x="36" y="266"/>
                  </a:lnTo>
                  <a:lnTo>
                    <a:pt x="28" y="287"/>
                  </a:lnTo>
                  <a:lnTo>
                    <a:pt x="20" y="310"/>
                  </a:lnTo>
                  <a:lnTo>
                    <a:pt x="14" y="333"/>
                  </a:lnTo>
                  <a:lnTo>
                    <a:pt x="9" y="355"/>
                  </a:lnTo>
                  <a:lnTo>
                    <a:pt x="5" y="379"/>
                  </a:lnTo>
                  <a:lnTo>
                    <a:pt x="2" y="402"/>
                  </a:lnTo>
                  <a:lnTo>
                    <a:pt x="1" y="426"/>
                  </a:lnTo>
                  <a:lnTo>
                    <a:pt x="0" y="450"/>
                  </a:lnTo>
                  <a:lnTo>
                    <a:pt x="1" y="472"/>
                  </a:lnTo>
                  <a:lnTo>
                    <a:pt x="3" y="496"/>
                  </a:lnTo>
                  <a:lnTo>
                    <a:pt x="5" y="519"/>
                  </a:lnTo>
                  <a:lnTo>
                    <a:pt x="10" y="542"/>
                  </a:lnTo>
                  <a:lnTo>
                    <a:pt x="16" y="564"/>
                  </a:lnTo>
                  <a:lnTo>
                    <a:pt x="22" y="586"/>
                  </a:lnTo>
                  <a:lnTo>
                    <a:pt x="30" y="608"/>
                  </a:lnTo>
                  <a:lnTo>
                    <a:pt x="39" y="628"/>
                  </a:lnTo>
                  <a:lnTo>
                    <a:pt x="50" y="648"/>
                  </a:lnTo>
                  <a:lnTo>
                    <a:pt x="61" y="668"/>
                  </a:lnTo>
                  <a:lnTo>
                    <a:pt x="74" y="686"/>
                  </a:lnTo>
                  <a:lnTo>
                    <a:pt x="87" y="704"/>
                  </a:lnTo>
                  <a:lnTo>
                    <a:pt x="103" y="720"/>
                  </a:lnTo>
                  <a:lnTo>
                    <a:pt x="119" y="736"/>
                  </a:lnTo>
                  <a:lnTo>
                    <a:pt x="137" y="751"/>
                  </a:lnTo>
                  <a:lnTo>
                    <a:pt x="157" y="765"/>
                  </a:lnTo>
                  <a:lnTo>
                    <a:pt x="176" y="779"/>
                  </a:lnTo>
                  <a:lnTo>
                    <a:pt x="197" y="792"/>
                  </a:lnTo>
                  <a:lnTo>
                    <a:pt x="217" y="804"/>
                  </a:lnTo>
                  <a:lnTo>
                    <a:pt x="238" y="814"/>
                  </a:lnTo>
                  <a:lnTo>
                    <a:pt x="259" y="825"/>
                  </a:lnTo>
                  <a:lnTo>
                    <a:pt x="281" y="834"/>
                  </a:lnTo>
                  <a:lnTo>
                    <a:pt x="303" y="842"/>
                  </a:lnTo>
                  <a:lnTo>
                    <a:pt x="326" y="850"/>
                  </a:lnTo>
                  <a:lnTo>
                    <a:pt x="348" y="855"/>
                  </a:lnTo>
                  <a:lnTo>
                    <a:pt x="371" y="861"/>
                  </a:lnTo>
                  <a:lnTo>
                    <a:pt x="394" y="865"/>
                  </a:lnTo>
                  <a:lnTo>
                    <a:pt x="417" y="869"/>
                  </a:lnTo>
                  <a:lnTo>
                    <a:pt x="440" y="871"/>
                  </a:lnTo>
                  <a:lnTo>
                    <a:pt x="462" y="872"/>
                  </a:lnTo>
                  <a:lnTo>
                    <a:pt x="485" y="872"/>
                  </a:lnTo>
                  <a:lnTo>
                    <a:pt x="508" y="871"/>
                  </a:lnTo>
                  <a:lnTo>
                    <a:pt x="530" y="869"/>
                  </a:lnTo>
                  <a:lnTo>
                    <a:pt x="551" y="865"/>
                  </a:lnTo>
                  <a:lnTo>
                    <a:pt x="574" y="862"/>
                  </a:lnTo>
                  <a:lnTo>
                    <a:pt x="595" y="856"/>
                  </a:lnTo>
                  <a:lnTo>
                    <a:pt x="616" y="850"/>
                  </a:lnTo>
                  <a:lnTo>
                    <a:pt x="637" y="842"/>
                  </a:lnTo>
                  <a:lnTo>
                    <a:pt x="656" y="832"/>
                  </a:lnTo>
                  <a:lnTo>
                    <a:pt x="677" y="822"/>
                  </a:lnTo>
                  <a:lnTo>
                    <a:pt x="695" y="811"/>
                  </a:lnTo>
                  <a:lnTo>
                    <a:pt x="713" y="797"/>
                  </a:lnTo>
                  <a:lnTo>
                    <a:pt x="730" y="784"/>
                  </a:lnTo>
                  <a:lnTo>
                    <a:pt x="747" y="768"/>
                  </a:lnTo>
                  <a:lnTo>
                    <a:pt x="763" y="752"/>
                  </a:lnTo>
                  <a:lnTo>
                    <a:pt x="778" y="734"/>
                  </a:lnTo>
                  <a:lnTo>
                    <a:pt x="807" y="696"/>
                  </a:lnTo>
                  <a:lnTo>
                    <a:pt x="834" y="658"/>
                  </a:lnTo>
                  <a:lnTo>
                    <a:pt x="860" y="618"/>
                  </a:lnTo>
                  <a:lnTo>
                    <a:pt x="884" y="578"/>
                  </a:lnTo>
                  <a:lnTo>
                    <a:pt x="895" y="558"/>
                  </a:lnTo>
                  <a:lnTo>
                    <a:pt x="905" y="537"/>
                  </a:lnTo>
                  <a:lnTo>
                    <a:pt x="915" y="518"/>
                  </a:lnTo>
                  <a:lnTo>
                    <a:pt x="924" y="497"/>
                  </a:lnTo>
                  <a:lnTo>
                    <a:pt x="932" y="477"/>
                  </a:lnTo>
                  <a:lnTo>
                    <a:pt x="940" y="456"/>
                  </a:lnTo>
                  <a:lnTo>
                    <a:pt x="947" y="436"/>
                  </a:lnTo>
                  <a:lnTo>
                    <a:pt x="953" y="416"/>
                  </a:lnTo>
                  <a:lnTo>
                    <a:pt x="957" y="395"/>
                  </a:lnTo>
                  <a:lnTo>
                    <a:pt x="962" y="376"/>
                  </a:lnTo>
                  <a:lnTo>
                    <a:pt x="964" y="355"/>
                  </a:lnTo>
                  <a:lnTo>
                    <a:pt x="966" y="336"/>
                  </a:lnTo>
                  <a:lnTo>
                    <a:pt x="966" y="316"/>
                  </a:lnTo>
                  <a:lnTo>
                    <a:pt x="966" y="296"/>
                  </a:lnTo>
                  <a:lnTo>
                    <a:pt x="964" y="277"/>
                  </a:lnTo>
                  <a:lnTo>
                    <a:pt x="962" y="258"/>
                  </a:lnTo>
                  <a:lnTo>
                    <a:pt x="957" y="238"/>
                  </a:lnTo>
                  <a:lnTo>
                    <a:pt x="952" y="220"/>
                  </a:lnTo>
                  <a:lnTo>
                    <a:pt x="945" y="201"/>
                  </a:lnTo>
                  <a:lnTo>
                    <a:pt x="937" y="183"/>
                  </a:lnTo>
                  <a:lnTo>
                    <a:pt x="926" y="164"/>
                  </a:lnTo>
                  <a:lnTo>
                    <a:pt x="915" y="147"/>
                  </a:lnTo>
                  <a:lnTo>
                    <a:pt x="903" y="130"/>
                  </a:lnTo>
                  <a:lnTo>
                    <a:pt x="888" y="113"/>
                  </a:lnTo>
                  <a:lnTo>
                    <a:pt x="872" y="97"/>
                  </a:lnTo>
                  <a:lnTo>
                    <a:pt x="853" y="83"/>
                  </a:lnTo>
                  <a:lnTo>
                    <a:pt x="835" y="69"/>
                  </a:lnTo>
                  <a:lnTo>
                    <a:pt x="816" y="57"/>
                  </a:lnTo>
                  <a:lnTo>
                    <a:pt x="795" y="46"/>
                  </a:lnTo>
                  <a:lnTo>
                    <a:pt x="774" y="37"/>
                  </a:lnTo>
                  <a:lnTo>
                    <a:pt x="751" y="28"/>
                  </a:lnTo>
                  <a:lnTo>
                    <a:pt x="727" y="21"/>
                  </a:lnTo>
                  <a:lnTo>
                    <a:pt x="703" y="14"/>
                  </a:lnTo>
                  <a:lnTo>
                    <a:pt x="679" y="10"/>
                  </a:lnTo>
                  <a:lnTo>
                    <a:pt x="654" y="5"/>
                  </a:lnTo>
                  <a:lnTo>
                    <a:pt x="629" y="3"/>
                  </a:lnTo>
                  <a:lnTo>
                    <a:pt x="603" y="1"/>
                  </a:lnTo>
                  <a:lnTo>
                    <a:pt x="576" y="0"/>
                  </a:lnTo>
                  <a:lnTo>
                    <a:pt x="551" y="0"/>
                  </a:lnTo>
                  <a:lnTo>
                    <a:pt x="525" y="0"/>
                  </a:lnTo>
                  <a:lnTo>
                    <a:pt x="499" y="1"/>
                  </a:lnTo>
                  <a:lnTo>
                    <a:pt x="474" y="3"/>
                  </a:lnTo>
                  <a:lnTo>
                    <a:pt x="448" y="5"/>
                  </a:lnTo>
                  <a:lnTo>
                    <a:pt x="423" y="9"/>
                  </a:lnTo>
                  <a:lnTo>
                    <a:pt x="399" y="13"/>
                  </a:lnTo>
                  <a:lnTo>
                    <a:pt x="374" y="18"/>
                  </a:lnTo>
                  <a:lnTo>
                    <a:pt x="351" y="22"/>
                  </a:lnTo>
                  <a:lnTo>
                    <a:pt x="328" y="28"/>
                  </a:lnTo>
                  <a:lnTo>
                    <a:pt x="306" y="34"/>
                  </a:lnTo>
                  <a:lnTo>
                    <a:pt x="285" y="41"/>
                  </a:lnTo>
                  <a:lnTo>
                    <a:pt x="264" y="47"/>
                  </a:lnTo>
                  <a:lnTo>
                    <a:pt x="246" y="54"/>
                  </a:lnTo>
                  <a:lnTo>
                    <a:pt x="228" y="62"/>
                  </a:lnTo>
                  <a:lnTo>
                    <a:pt x="212" y="70"/>
                  </a:lnTo>
                  <a:lnTo>
                    <a:pt x="196" y="78"/>
                  </a:lnTo>
                  <a:lnTo>
                    <a:pt x="182" y="86"/>
                  </a:lnTo>
                  <a:close/>
                  <a:moveTo>
                    <a:pt x="703" y="638"/>
                  </a:moveTo>
                  <a:lnTo>
                    <a:pt x="703" y="638"/>
                  </a:lnTo>
                  <a:lnTo>
                    <a:pt x="689" y="654"/>
                  </a:lnTo>
                  <a:lnTo>
                    <a:pt x="676" y="668"/>
                  </a:lnTo>
                  <a:lnTo>
                    <a:pt x="662" y="680"/>
                  </a:lnTo>
                  <a:lnTo>
                    <a:pt x="647" y="693"/>
                  </a:lnTo>
                  <a:lnTo>
                    <a:pt x="632" y="704"/>
                  </a:lnTo>
                  <a:lnTo>
                    <a:pt x="617" y="713"/>
                  </a:lnTo>
                  <a:lnTo>
                    <a:pt x="602" y="722"/>
                  </a:lnTo>
                  <a:lnTo>
                    <a:pt x="586" y="730"/>
                  </a:lnTo>
                  <a:lnTo>
                    <a:pt x="570" y="738"/>
                  </a:lnTo>
                  <a:lnTo>
                    <a:pt x="554" y="744"/>
                  </a:lnTo>
                  <a:lnTo>
                    <a:pt x="538" y="750"/>
                  </a:lnTo>
                  <a:lnTo>
                    <a:pt x="521" y="754"/>
                  </a:lnTo>
                  <a:lnTo>
                    <a:pt x="505" y="757"/>
                  </a:lnTo>
                  <a:lnTo>
                    <a:pt x="488" y="760"/>
                  </a:lnTo>
                  <a:lnTo>
                    <a:pt x="470" y="762"/>
                  </a:lnTo>
                  <a:lnTo>
                    <a:pt x="454" y="762"/>
                  </a:lnTo>
                  <a:lnTo>
                    <a:pt x="437" y="763"/>
                  </a:lnTo>
                  <a:lnTo>
                    <a:pt x="420" y="762"/>
                  </a:lnTo>
                  <a:lnTo>
                    <a:pt x="403" y="761"/>
                  </a:lnTo>
                  <a:lnTo>
                    <a:pt x="387" y="759"/>
                  </a:lnTo>
                  <a:lnTo>
                    <a:pt x="370" y="755"/>
                  </a:lnTo>
                  <a:lnTo>
                    <a:pt x="354" y="752"/>
                  </a:lnTo>
                  <a:lnTo>
                    <a:pt x="338" y="747"/>
                  </a:lnTo>
                  <a:lnTo>
                    <a:pt x="322" y="743"/>
                  </a:lnTo>
                  <a:lnTo>
                    <a:pt x="306" y="736"/>
                  </a:lnTo>
                  <a:lnTo>
                    <a:pt x="291" y="730"/>
                  </a:lnTo>
                  <a:lnTo>
                    <a:pt x="277" y="722"/>
                  </a:lnTo>
                  <a:lnTo>
                    <a:pt x="262" y="714"/>
                  </a:lnTo>
                  <a:lnTo>
                    <a:pt x="247" y="706"/>
                  </a:lnTo>
                  <a:lnTo>
                    <a:pt x="233" y="697"/>
                  </a:lnTo>
                  <a:lnTo>
                    <a:pt x="220" y="688"/>
                  </a:lnTo>
                  <a:lnTo>
                    <a:pt x="207" y="678"/>
                  </a:lnTo>
                  <a:lnTo>
                    <a:pt x="195" y="667"/>
                  </a:lnTo>
                  <a:lnTo>
                    <a:pt x="184" y="655"/>
                  </a:lnTo>
                  <a:lnTo>
                    <a:pt x="174" y="643"/>
                  </a:lnTo>
                  <a:lnTo>
                    <a:pt x="165" y="630"/>
                  </a:lnTo>
                  <a:lnTo>
                    <a:pt x="157" y="617"/>
                  </a:lnTo>
                  <a:lnTo>
                    <a:pt x="150" y="603"/>
                  </a:lnTo>
                  <a:lnTo>
                    <a:pt x="144" y="588"/>
                  </a:lnTo>
                  <a:lnTo>
                    <a:pt x="139" y="572"/>
                  </a:lnTo>
                  <a:lnTo>
                    <a:pt x="135" y="556"/>
                  </a:lnTo>
                  <a:lnTo>
                    <a:pt x="132" y="540"/>
                  </a:lnTo>
                  <a:lnTo>
                    <a:pt x="130" y="523"/>
                  </a:lnTo>
                  <a:lnTo>
                    <a:pt x="127" y="508"/>
                  </a:lnTo>
                  <a:lnTo>
                    <a:pt x="127" y="491"/>
                  </a:lnTo>
                  <a:lnTo>
                    <a:pt x="127" y="472"/>
                  </a:lnTo>
                  <a:lnTo>
                    <a:pt x="130" y="455"/>
                  </a:lnTo>
                  <a:lnTo>
                    <a:pt x="132" y="438"/>
                  </a:lnTo>
                  <a:lnTo>
                    <a:pt x="134" y="420"/>
                  </a:lnTo>
                  <a:lnTo>
                    <a:pt x="139" y="403"/>
                  </a:lnTo>
                  <a:lnTo>
                    <a:pt x="143" y="385"/>
                  </a:lnTo>
                  <a:lnTo>
                    <a:pt x="149" y="368"/>
                  </a:lnTo>
                  <a:lnTo>
                    <a:pt x="156" y="351"/>
                  </a:lnTo>
                  <a:lnTo>
                    <a:pt x="164" y="334"/>
                  </a:lnTo>
                  <a:lnTo>
                    <a:pt x="172" y="317"/>
                  </a:lnTo>
                  <a:lnTo>
                    <a:pt x="182" y="301"/>
                  </a:lnTo>
                  <a:lnTo>
                    <a:pt x="192" y="285"/>
                  </a:lnTo>
                  <a:lnTo>
                    <a:pt x="202" y="269"/>
                  </a:lnTo>
                  <a:lnTo>
                    <a:pt x="215" y="254"/>
                  </a:lnTo>
                  <a:lnTo>
                    <a:pt x="228" y="239"/>
                  </a:lnTo>
                  <a:lnTo>
                    <a:pt x="241" y="226"/>
                  </a:lnTo>
                  <a:lnTo>
                    <a:pt x="256" y="212"/>
                  </a:lnTo>
                  <a:lnTo>
                    <a:pt x="271" y="200"/>
                  </a:lnTo>
                  <a:lnTo>
                    <a:pt x="288" y="188"/>
                  </a:lnTo>
                  <a:lnTo>
                    <a:pt x="311" y="174"/>
                  </a:lnTo>
                  <a:lnTo>
                    <a:pt x="337" y="160"/>
                  </a:lnTo>
                  <a:lnTo>
                    <a:pt x="366" y="147"/>
                  </a:lnTo>
                  <a:lnTo>
                    <a:pt x="396" y="137"/>
                  </a:lnTo>
                  <a:lnTo>
                    <a:pt x="429" y="127"/>
                  </a:lnTo>
                  <a:lnTo>
                    <a:pt x="462" y="119"/>
                  </a:lnTo>
                  <a:lnTo>
                    <a:pt x="498" y="113"/>
                  </a:lnTo>
                  <a:lnTo>
                    <a:pt x="532" y="110"/>
                  </a:lnTo>
                  <a:lnTo>
                    <a:pt x="550" y="109"/>
                  </a:lnTo>
                  <a:lnTo>
                    <a:pt x="567" y="109"/>
                  </a:lnTo>
                  <a:lnTo>
                    <a:pt x="584" y="109"/>
                  </a:lnTo>
                  <a:lnTo>
                    <a:pt x="602" y="110"/>
                  </a:lnTo>
                  <a:lnTo>
                    <a:pt x="619" y="112"/>
                  </a:lnTo>
                  <a:lnTo>
                    <a:pt x="636" y="114"/>
                  </a:lnTo>
                  <a:lnTo>
                    <a:pt x="652" y="118"/>
                  </a:lnTo>
                  <a:lnTo>
                    <a:pt x="668" y="121"/>
                  </a:lnTo>
                  <a:lnTo>
                    <a:pt x="684" y="126"/>
                  </a:lnTo>
                  <a:lnTo>
                    <a:pt x="698" y="131"/>
                  </a:lnTo>
                  <a:lnTo>
                    <a:pt x="713" y="138"/>
                  </a:lnTo>
                  <a:lnTo>
                    <a:pt x="727" y="145"/>
                  </a:lnTo>
                  <a:lnTo>
                    <a:pt x="741" y="154"/>
                  </a:lnTo>
                  <a:lnTo>
                    <a:pt x="753" y="163"/>
                  </a:lnTo>
                  <a:lnTo>
                    <a:pt x="765" y="174"/>
                  </a:lnTo>
                  <a:lnTo>
                    <a:pt x="776" y="184"/>
                  </a:lnTo>
                  <a:lnTo>
                    <a:pt x="786" y="196"/>
                  </a:lnTo>
                  <a:lnTo>
                    <a:pt x="795" y="208"/>
                  </a:lnTo>
                  <a:lnTo>
                    <a:pt x="804" y="220"/>
                  </a:lnTo>
                  <a:lnTo>
                    <a:pt x="811" y="233"/>
                  </a:lnTo>
                  <a:lnTo>
                    <a:pt x="818" y="245"/>
                  </a:lnTo>
                  <a:lnTo>
                    <a:pt x="824" y="259"/>
                  </a:lnTo>
                  <a:lnTo>
                    <a:pt x="828" y="271"/>
                  </a:lnTo>
                  <a:lnTo>
                    <a:pt x="832" y="285"/>
                  </a:lnTo>
                  <a:lnTo>
                    <a:pt x="835" y="297"/>
                  </a:lnTo>
                  <a:lnTo>
                    <a:pt x="838" y="311"/>
                  </a:lnTo>
                  <a:lnTo>
                    <a:pt x="839" y="325"/>
                  </a:lnTo>
                  <a:lnTo>
                    <a:pt x="840" y="339"/>
                  </a:lnTo>
                  <a:lnTo>
                    <a:pt x="839" y="353"/>
                  </a:lnTo>
                  <a:lnTo>
                    <a:pt x="839" y="368"/>
                  </a:lnTo>
                  <a:lnTo>
                    <a:pt x="836" y="381"/>
                  </a:lnTo>
                  <a:lnTo>
                    <a:pt x="834" y="396"/>
                  </a:lnTo>
                  <a:lnTo>
                    <a:pt x="831" y="411"/>
                  </a:lnTo>
                  <a:lnTo>
                    <a:pt x="826" y="426"/>
                  </a:lnTo>
                  <a:lnTo>
                    <a:pt x="822" y="441"/>
                  </a:lnTo>
                  <a:lnTo>
                    <a:pt x="816" y="455"/>
                  </a:lnTo>
                  <a:lnTo>
                    <a:pt x="803" y="485"/>
                  </a:lnTo>
                  <a:lnTo>
                    <a:pt x="789" y="515"/>
                  </a:lnTo>
                  <a:lnTo>
                    <a:pt x="770" y="546"/>
                  </a:lnTo>
                  <a:lnTo>
                    <a:pt x="750" y="577"/>
                  </a:lnTo>
                  <a:lnTo>
                    <a:pt x="727" y="608"/>
                  </a:lnTo>
                  <a:lnTo>
                    <a:pt x="703" y="638"/>
                  </a:lnTo>
                  <a:close/>
                </a:path>
              </a:pathLst>
            </a:custGeom>
            <a:solidFill>
              <a:srgbClr val="FDD7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Freeform 12"/>
            <p:cNvSpPr>
              <a:spLocks/>
            </p:cNvSpPr>
            <p:nvPr/>
          </p:nvSpPr>
          <p:spPr bwMode="auto">
            <a:xfrm>
              <a:off x="6995095" y="1855591"/>
              <a:ext cx="161925" cy="149225"/>
            </a:xfrm>
            <a:custGeom>
              <a:avLst/>
              <a:gdLst>
                <a:gd name="T0" fmla="*/ 144 w 713"/>
                <a:gd name="T1" fmla="*/ 91 h 654"/>
                <a:gd name="T2" fmla="*/ 114 w 713"/>
                <a:gd name="T3" fmla="*/ 117 h 654"/>
                <a:gd name="T4" fmla="*/ 88 w 713"/>
                <a:gd name="T5" fmla="*/ 145 h 654"/>
                <a:gd name="T6" fmla="*/ 65 w 713"/>
                <a:gd name="T7" fmla="*/ 176 h 654"/>
                <a:gd name="T8" fmla="*/ 45 w 713"/>
                <a:gd name="T9" fmla="*/ 208 h 654"/>
                <a:gd name="T10" fmla="*/ 29 w 713"/>
                <a:gd name="T11" fmla="*/ 242 h 654"/>
                <a:gd name="T12" fmla="*/ 16 w 713"/>
                <a:gd name="T13" fmla="*/ 276 h 654"/>
                <a:gd name="T14" fmla="*/ 7 w 713"/>
                <a:gd name="T15" fmla="*/ 311 h 654"/>
                <a:gd name="T16" fmla="*/ 3 w 713"/>
                <a:gd name="T17" fmla="*/ 346 h 654"/>
                <a:gd name="T18" fmla="*/ 0 w 713"/>
                <a:gd name="T19" fmla="*/ 382 h 654"/>
                <a:gd name="T20" fmla="*/ 3 w 713"/>
                <a:gd name="T21" fmla="*/ 414 h 654"/>
                <a:gd name="T22" fmla="*/ 8 w 713"/>
                <a:gd name="T23" fmla="*/ 447 h 654"/>
                <a:gd name="T24" fmla="*/ 17 w 713"/>
                <a:gd name="T25" fmla="*/ 479 h 654"/>
                <a:gd name="T26" fmla="*/ 30 w 713"/>
                <a:gd name="T27" fmla="*/ 508 h 654"/>
                <a:gd name="T28" fmla="*/ 47 w 713"/>
                <a:gd name="T29" fmla="*/ 534 h 654"/>
                <a:gd name="T30" fmla="*/ 68 w 713"/>
                <a:gd name="T31" fmla="*/ 558 h 654"/>
                <a:gd name="T32" fmla="*/ 93 w 713"/>
                <a:gd name="T33" fmla="*/ 579 h 654"/>
                <a:gd name="T34" fmla="*/ 120 w 713"/>
                <a:gd name="T35" fmla="*/ 597 h 654"/>
                <a:gd name="T36" fmla="*/ 150 w 713"/>
                <a:gd name="T37" fmla="*/ 613 h 654"/>
                <a:gd name="T38" fmla="*/ 179 w 713"/>
                <a:gd name="T39" fmla="*/ 627 h 654"/>
                <a:gd name="T40" fmla="*/ 211 w 713"/>
                <a:gd name="T41" fmla="*/ 638 h 654"/>
                <a:gd name="T42" fmla="*/ 243 w 713"/>
                <a:gd name="T43" fmla="*/ 646 h 654"/>
                <a:gd name="T44" fmla="*/ 276 w 713"/>
                <a:gd name="T45" fmla="*/ 652 h 654"/>
                <a:gd name="T46" fmla="*/ 310 w 713"/>
                <a:gd name="T47" fmla="*/ 654 h 654"/>
                <a:gd name="T48" fmla="*/ 343 w 713"/>
                <a:gd name="T49" fmla="*/ 653 h 654"/>
                <a:gd name="T50" fmla="*/ 378 w 713"/>
                <a:gd name="T51" fmla="*/ 648 h 654"/>
                <a:gd name="T52" fmla="*/ 411 w 713"/>
                <a:gd name="T53" fmla="*/ 641 h 654"/>
                <a:gd name="T54" fmla="*/ 443 w 713"/>
                <a:gd name="T55" fmla="*/ 629 h 654"/>
                <a:gd name="T56" fmla="*/ 475 w 713"/>
                <a:gd name="T57" fmla="*/ 613 h 654"/>
                <a:gd name="T58" fmla="*/ 505 w 713"/>
                <a:gd name="T59" fmla="*/ 595 h 654"/>
                <a:gd name="T60" fmla="*/ 535 w 713"/>
                <a:gd name="T61" fmla="*/ 571 h 654"/>
                <a:gd name="T62" fmla="*/ 562 w 713"/>
                <a:gd name="T63" fmla="*/ 545 h 654"/>
                <a:gd name="T64" fmla="*/ 600 w 713"/>
                <a:gd name="T65" fmla="*/ 499 h 654"/>
                <a:gd name="T66" fmla="*/ 643 w 713"/>
                <a:gd name="T67" fmla="*/ 437 h 654"/>
                <a:gd name="T68" fmla="*/ 676 w 713"/>
                <a:gd name="T69" fmla="*/ 376 h 654"/>
                <a:gd name="T70" fmla="*/ 695 w 713"/>
                <a:gd name="T71" fmla="*/ 332 h 654"/>
                <a:gd name="T72" fmla="*/ 704 w 713"/>
                <a:gd name="T73" fmla="*/ 302 h 654"/>
                <a:gd name="T74" fmla="*/ 709 w 713"/>
                <a:gd name="T75" fmla="*/ 272 h 654"/>
                <a:gd name="T76" fmla="*/ 712 w 713"/>
                <a:gd name="T77" fmla="*/ 244 h 654"/>
                <a:gd name="T78" fmla="*/ 712 w 713"/>
                <a:gd name="T79" fmla="*/ 216 h 654"/>
                <a:gd name="T80" fmla="*/ 708 w 713"/>
                <a:gd name="T81" fmla="*/ 188 h 654"/>
                <a:gd name="T82" fmla="*/ 701 w 713"/>
                <a:gd name="T83" fmla="*/ 162 h 654"/>
                <a:gd name="T84" fmla="*/ 691 w 713"/>
                <a:gd name="T85" fmla="*/ 136 h 654"/>
                <a:gd name="T86" fmla="*/ 677 w 713"/>
                <a:gd name="T87" fmla="*/ 111 h 654"/>
                <a:gd name="T88" fmla="*/ 659 w 713"/>
                <a:gd name="T89" fmla="*/ 87 h 654"/>
                <a:gd name="T90" fmla="*/ 638 w 713"/>
                <a:gd name="T91" fmla="*/ 65 h 654"/>
                <a:gd name="T92" fmla="*/ 614 w 713"/>
                <a:gd name="T93" fmla="*/ 45 h 654"/>
                <a:gd name="T94" fmla="*/ 586 w 713"/>
                <a:gd name="T95" fmla="*/ 29 h 654"/>
                <a:gd name="T96" fmla="*/ 557 w 713"/>
                <a:gd name="T97" fmla="*/ 17 h 654"/>
                <a:gd name="T98" fmla="*/ 525 w 713"/>
                <a:gd name="T99" fmla="*/ 9 h 654"/>
                <a:gd name="T100" fmla="*/ 492 w 713"/>
                <a:gd name="T101" fmla="*/ 3 h 654"/>
                <a:gd name="T102" fmla="*/ 457 w 713"/>
                <a:gd name="T103" fmla="*/ 0 h 654"/>
                <a:gd name="T104" fmla="*/ 423 w 713"/>
                <a:gd name="T105" fmla="*/ 0 h 654"/>
                <a:gd name="T106" fmla="*/ 371 w 713"/>
                <a:gd name="T107" fmla="*/ 4 h 654"/>
                <a:gd name="T108" fmla="*/ 302 w 713"/>
                <a:gd name="T109" fmla="*/ 18 h 654"/>
                <a:gd name="T110" fmla="*/ 239 w 713"/>
                <a:gd name="T111" fmla="*/ 38 h 654"/>
                <a:gd name="T112" fmla="*/ 184 w 713"/>
                <a:gd name="T113" fmla="*/ 65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3" h="654">
                  <a:moveTo>
                    <a:pt x="161" y="79"/>
                  </a:moveTo>
                  <a:lnTo>
                    <a:pt x="144" y="91"/>
                  </a:lnTo>
                  <a:lnTo>
                    <a:pt x="129" y="103"/>
                  </a:lnTo>
                  <a:lnTo>
                    <a:pt x="114" y="117"/>
                  </a:lnTo>
                  <a:lnTo>
                    <a:pt x="101" y="130"/>
                  </a:lnTo>
                  <a:lnTo>
                    <a:pt x="88" y="145"/>
                  </a:lnTo>
                  <a:lnTo>
                    <a:pt x="75" y="160"/>
                  </a:lnTo>
                  <a:lnTo>
                    <a:pt x="65" y="176"/>
                  </a:lnTo>
                  <a:lnTo>
                    <a:pt x="55" y="192"/>
                  </a:lnTo>
                  <a:lnTo>
                    <a:pt x="45" y="208"/>
                  </a:lnTo>
                  <a:lnTo>
                    <a:pt x="37" y="225"/>
                  </a:lnTo>
                  <a:lnTo>
                    <a:pt x="29" y="242"/>
                  </a:lnTo>
                  <a:lnTo>
                    <a:pt x="22" y="259"/>
                  </a:lnTo>
                  <a:lnTo>
                    <a:pt x="16" y="276"/>
                  </a:lnTo>
                  <a:lnTo>
                    <a:pt x="12" y="294"/>
                  </a:lnTo>
                  <a:lnTo>
                    <a:pt x="7" y="311"/>
                  </a:lnTo>
                  <a:lnTo>
                    <a:pt x="5" y="329"/>
                  </a:lnTo>
                  <a:lnTo>
                    <a:pt x="3" y="346"/>
                  </a:lnTo>
                  <a:lnTo>
                    <a:pt x="0" y="363"/>
                  </a:lnTo>
                  <a:lnTo>
                    <a:pt x="0" y="382"/>
                  </a:lnTo>
                  <a:lnTo>
                    <a:pt x="0" y="399"/>
                  </a:lnTo>
                  <a:lnTo>
                    <a:pt x="3" y="414"/>
                  </a:lnTo>
                  <a:lnTo>
                    <a:pt x="5" y="431"/>
                  </a:lnTo>
                  <a:lnTo>
                    <a:pt x="8" y="447"/>
                  </a:lnTo>
                  <a:lnTo>
                    <a:pt x="12" y="463"/>
                  </a:lnTo>
                  <a:lnTo>
                    <a:pt x="17" y="479"/>
                  </a:lnTo>
                  <a:lnTo>
                    <a:pt x="23" y="494"/>
                  </a:lnTo>
                  <a:lnTo>
                    <a:pt x="30" y="508"/>
                  </a:lnTo>
                  <a:lnTo>
                    <a:pt x="38" y="521"/>
                  </a:lnTo>
                  <a:lnTo>
                    <a:pt x="47" y="534"/>
                  </a:lnTo>
                  <a:lnTo>
                    <a:pt x="57" y="546"/>
                  </a:lnTo>
                  <a:lnTo>
                    <a:pt x="68" y="558"/>
                  </a:lnTo>
                  <a:lnTo>
                    <a:pt x="80" y="569"/>
                  </a:lnTo>
                  <a:lnTo>
                    <a:pt x="93" y="579"/>
                  </a:lnTo>
                  <a:lnTo>
                    <a:pt x="106" y="588"/>
                  </a:lnTo>
                  <a:lnTo>
                    <a:pt x="120" y="597"/>
                  </a:lnTo>
                  <a:lnTo>
                    <a:pt x="135" y="605"/>
                  </a:lnTo>
                  <a:lnTo>
                    <a:pt x="150" y="613"/>
                  </a:lnTo>
                  <a:lnTo>
                    <a:pt x="164" y="621"/>
                  </a:lnTo>
                  <a:lnTo>
                    <a:pt x="179" y="627"/>
                  </a:lnTo>
                  <a:lnTo>
                    <a:pt x="195" y="634"/>
                  </a:lnTo>
                  <a:lnTo>
                    <a:pt x="211" y="638"/>
                  </a:lnTo>
                  <a:lnTo>
                    <a:pt x="227" y="643"/>
                  </a:lnTo>
                  <a:lnTo>
                    <a:pt x="243" y="646"/>
                  </a:lnTo>
                  <a:lnTo>
                    <a:pt x="260" y="650"/>
                  </a:lnTo>
                  <a:lnTo>
                    <a:pt x="276" y="652"/>
                  </a:lnTo>
                  <a:lnTo>
                    <a:pt x="293" y="653"/>
                  </a:lnTo>
                  <a:lnTo>
                    <a:pt x="310" y="654"/>
                  </a:lnTo>
                  <a:lnTo>
                    <a:pt x="327" y="653"/>
                  </a:lnTo>
                  <a:lnTo>
                    <a:pt x="343" y="653"/>
                  </a:lnTo>
                  <a:lnTo>
                    <a:pt x="361" y="651"/>
                  </a:lnTo>
                  <a:lnTo>
                    <a:pt x="378" y="648"/>
                  </a:lnTo>
                  <a:lnTo>
                    <a:pt x="394" y="645"/>
                  </a:lnTo>
                  <a:lnTo>
                    <a:pt x="411" y="641"/>
                  </a:lnTo>
                  <a:lnTo>
                    <a:pt x="427" y="635"/>
                  </a:lnTo>
                  <a:lnTo>
                    <a:pt x="443" y="629"/>
                  </a:lnTo>
                  <a:lnTo>
                    <a:pt x="459" y="621"/>
                  </a:lnTo>
                  <a:lnTo>
                    <a:pt x="475" y="613"/>
                  </a:lnTo>
                  <a:lnTo>
                    <a:pt x="490" y="604"/>
                  </a:lnTo>
                  <a:lnTo>
                    <a:pt x="505" y="595"/>
                  </a:lnTo>
                  <a:lnTo>
                    <a:pt x="520" y="584"/>
                  </a:lnTo>
                  <a:lnTo>
                    <a:pt x="535" y="571"/>
                  </a:lnTo>
                  <a:lnTo>
                    <a:pt x="549" y="559"/>
                  </a:lnTo>
                  <a:lnTo>
                    <a:pt x="562" y="545"/>
                  </a:lnTo>
                  <a:lnTo>
                    <a:pt x="576" y="529"/>
                  </a:lnTo>
                  <a:lnTo>
                    <a:pt x="600" y="499"/>
                  </a:lnTo>
                  <a:lnTo>
                    <a:pt x="623" y="468"/>
                  </a:lnTo>
                  <a:lnTo>
                    <a:pt x="643" y="437"/>
                  </a:lnTo>
                  <a:lnTo>
                    <a:pt x="662" y="406"/>
                  </a:lnTo>
                  <a:lnTo>
                    <a:pt x="676" y="376"/>
                  </a:lnTo>
                  <a:lnTo>
                    <a:pt x="689" y="346"/>
                  </a:lnTo>
                  <a:lnTo>
                    <a:pt x="695" y="332"/>
                  </a:lnTo>
                  <a:lnTo>
                    <a:pt x="699" y="317"/>
                  </a:lnTo>
                  <a:lnTo>
                    <a:pt x="704" y="302"/>
                  </a:lnTo>
                  <a:lnTo>
                    <a:pt x="707" y="287"/>
                  </a:lnTo>
                  <a:lnTo>
                    <a:pt x="709" y="272"/>
                  </a:lnTo>
                  <a:lnTo>
                    <a:pt x="712" y="259"/>
                  </a:lnTo>
                  <a:lnTo>
                    <a:pt x="712" y="244"/>
                  </a:lnTo>
                  <a:lnTo>
                    <a:pt x="713" y="230"/>
                  </a:lnTo>
                  <a:lnTo>
                    <a:pt x="712" y="216"/>
                  </a:lnTo>
                  <a:lnTo>
                    <a:pt x="711" y="202"/>
                  </a:lnTo>
                  <a:lnTo>
                    <a:pt x="708" y="188"/>
                  </a:lnTo>
                  <a:lnTo>
                    <a:pt x="705" y="176"/>
                  </a:lnTo>
                  <a:lnTo>
                    <a:pt x="701" y="162"/>
                  </a:lnTo>
                  <a:lnTo>
                    <a:pt x="697" y="150"/>
                  </a:lnTo>
                  <a:lnTo>
                    <a:pt x="691" y="136"/>
                  </a:lnTo>
                  <a:lnTo>
                    <a:pt x="684" y="124"/>
                  </a:lnTo>
                  <a:lnTo>
                    <a:pt x="677" y="111"/>
                  </a:lnTo>
                  <a:lnTo>
                    <a:pt x="668" y="99"/>
                  </a:lnTo>
                  <a:lnTo>
                    <a:pt x="659" y="87"/>
                  </a:lnTo>
                  <a:lnTo>
                    <a:pt x="649" y="75"/>
                  </a:lnTo>
                  <a:lnTo>
                    <a:pt x="638" y="65"/>
                  </a:lnTo>
                  <a:lnTo>
                    <a:pt x="626" y="54"/>
                  </a:lnTo>
                  <a:lnTo>
                    <a:pt x="614" y="45"/>
                  </a:lnTo>
                  <a:lnTo>
                    <a:pt x="600" y="36"/>
                  </a:lnTo>
                  <a:lnTo>
                    <a:pt x="586" y="29"/>
                  </a:lnTo>
                  <a:lnTo>
                    <a:pt x="571" y="22"/>
                  </a:lnTo>
                  <a:lnTo>
                    <a:pt x="557" y="17"/>
                  </a:lnTo>
                  <a:lnTo>
                    <a:pt x="541" y="12"/>
                  </a:lnTo>
                  <a:lnTo>
                    <a:pt x="525" y="9"/>
                  </a:lnTo>
                  <a:lnTo>
                    <a:pt x="509" y="5"/>
                  </a:lnTo>
                  <a:lnTo>
                    <a:pt x="492" y="3"/>
                  </a:lnTo>
                  <a:lnTo>
                    <a:pt x="475" y="1"/>
                  </a:lnTo>
                  <a:lnTo>
                    <a:pt x="457" y="0"/>
                  </a:lnTo>
                  <a:lnTo>
                    <a:pt x="440" y="0"/>
                  </a:lnTo>
                  <a:lnTo>
                    <a:pt x="423" y="0"/>
                  </a:lnTo>
                  <a:lnTo>
                    <a:pt x="405" y="1"/>
                  </a:lnTo>
                  <a:lnTo>
                    <a:pt x="371" y="4"/>
                  </a:lnTo>
                  <a:lnTo>
                    <a:pt x="335" y="10"/>
                  </a:lnTo>
                  <a:lnTo>
                    <a:pt x="302" y="18"/>
                  </a:lnTo>
                  <a:lnTo>
                    <a:pt x="269" y="28"/>
                  </a:lnTo>
                  <a:lnTo>
                    <a:pt x="239" y="38"/>
                  </a:lnTo>
                  <a:lnTo>
                    <a:pt x="210" y="51"/>
                  </a:lnTo>
                  <a:lnTo>
                    <a:pt x="184" y="65"/>
                  </a:lnTo>
                  <a:lnTo>
                    <a:pt x="161" y="79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Freeform 13"/>
            <p:cNvSpPr>
              <a:spLocks noEditPoints="1"/>
            </p:cNvSpPr>
            <p:nvPr/>
          </p:nvSpPr>
          <p:spPr bwMode="auto">
            <a:xfrm>
              <a:off x="7453883" y="1717478"/>
              <a:ext cx="892175" cy="425450"/>
            </a:xfrm>
            <a:custGeom>
              <a:avLst/>
              <a:gdLst>
                <a:gd name="T0" fmla="*/ 129 w 3933"/>
                <a:gd name="T1" fmla="*/ 1398 h 1874"/>
                <a:gd name="T2" fmla="*/ 927 w 3933"/>
                <a:gd name="T3" fmla="*/ 1637 h 1874"/>
                <a:gd name="T4" fmla="*/ 3807 w 3933"/>
                <a:gd name="T5" fmla="*/ 1806 h 1874"/>
                <a:gd name="T6" fmla="*/ 3840 w 3933"/>
                <a:gd name="T7" fmla="*/ 1671 h 1874"/>
                <a:gd name="T8" fmla="*/ 3533 w 3933"/>
                <a:gd name="T9" fmla="*/ 1869 h 1874"/>
                <a:gd name="T10" fmla="*/ 3450 w 3933"/>
                <a:gd name="T11" fmla="*/ 1715 h 1874"/>
                <a:gd name="T12" fmla="*/ 3395 w 3933"/>
                <a:gd name="T13" fmla="*/ 1745 h 1874"/>
                <a:gd name="T14" fmla="*/ 3089 w 3933"/>
                <a:gd name="T15" fmla="*/ 1864 h 1874"/>
                <a:gd name="T16" fmla="*/ 3064 w 3933"/>
                <a:gd name="T17" fmla="*/ 1763 h 1874"/>
                <a:gd name="T18" fmla="*/ 3083 w 3933"/>
                <a:gd name="T19" fmla="*/ 1697 h 1874"/>
                <a:gd name="T20" fmla="*/ 2799 w 3933"/>
                <a:gd name="T21" fmla="*/ 1871 h 1874"/>
                <a:gd name="T22" fmla="*/ 2809 w 3933"/>
                <a:gd name="T23" fmla="*/ 1681 h 1874"/>
                <a:gd name="T24" fmla="*/ 2567 w 3933"/>
                <a:gd name="T25" fmla="*/ 1679 h 1874"/>
                <a:gd name="T26" fmla="*/ 2619 w 3933"/>
                <a:gd name="T27" fmla="*/ 1678 h 1874"/>
                <a:gd name="T28" fmla="*/ 2461 w 3933"/>
                <a:gd name="T29" fmla="*/ 1783 h 1874"/>
                <a:gd name="T30" fmla="*/ 2486 w 3933"/>
                <a:gd name="T31" fmla="*/ 1690 h 1874"/>
                <a:gd name="T32" fmla="*/ 2293 w 3933"/>
                <a:gd name="T33" fmla="*/ 1691 h 1874"/>
                <a:gd name="T34" fmla="*/ 2331 w 3933"/>
                <a:gd name="T35" fmla="*/ 1666 h 1874"/>
                <a:gd name="T36" fmla="*/ 2049 w 3933"/>
                <a:gd name="T37" fmla="*/ 1871 h 1874"/>
                <a:gd name="T38" fmla="*/ 2005 w 3933"/>
                <a:gd name="T39" fmla="*/ 1672 h 1874"/>
                <a:gd name="T40" fmla="*/ 1747 w 3933"/>
                <a:gd name="T41" fmla="*/ 1649 h 1874"/>
                <a:gd name="T42" fmla="*/ 1550 w 3933"/>
                <a:gd name="T43" fmla="*/ 1867 h 1874"/>
                <a:gd name="T44" fmla="*/ 1446 w 3933"/>
                <a:gd name="T45" fmla="*/ 1873 h 1874"/>
                <a:gd name="T46" fmla="*/ 1476 w 3933"/>
                <a:gd name="T47" fmla="*/ 1644 h 1874"/>
                <a:gd name="T48" fmla="*/ 1470 w 3933"/>
                <a:gd name="T49" fmla="*/ 1833 h 1874"/>
                <a:gd name="T50" fmla="*/ 1208 w 3933"/>
                <a:gd name="T51" fmla="*/ 1640 h 1874"/>
                <a:gd name="T52" fmla="*/ 1219 w 3933"/>
                <a:gd name="T53" fmla="*/ 1810 h 1874"/>
                <a:gd name="T54" fmla="*/ 1131 w 3933"/>
                <a:gd name="T55" fmla="*/ 1637 h 1874"/>
                <a:gd name="T56" fmla="*/ 679 w 3933"/>
                <a:gd name="T57" fmla="*/ 1870 h 1874"/>
                <a:gd name="T58" fmla="*/ 399 w 3933"/>
                <a:gd name="T59" fmla="*/ 1870 h 1874"/>
                <a:gd name="T60" fmla="*/ 298 w 3933"/>
                <a:gd name="T61" fmla="*/ 1783 h 1874"/>
                <a:gd name="T62" fmla="*/ 323 w 3933"/>
                <a:gd name="T63" fmla="*/ 1690 h 1874"/>
                <a:gd name="T64" fmla="*/ 129 w 3933"/>
                <a:gd name="T65" fmla="*/ 1806 h 1874"/>
                <a:gd name="T66" fmla="*/ 95 w 3933"/>
                <a:gd name="T67" fmla="*/ 1671 h 1874"/>
                <a:gd name="T68" fmla="*/ 615 w 3933"/>
                <a:gd name="T69" fmla="*/ 590 h 1874"/>
                <a:gd name="T70" fmla="*/ 1070 w 3933"/>
                <a:gd name="T71" fmla="*/ 214 h 1874"/>
                <a:gd name="T72" fmla="*/ 871 w 3933"/>
                <a:gd name="T73" fmla="*/ 292 h 1874"/>
                <a:gd name="T74" fmla="*/ 2350 w 3933"/>
                <a:gd name="T75" fmla="*/ 163 h 1874"/>
                <a:gd name="T76" fmla="*/ 2647 w 3933"/>
                <a:gd name="T77" fmla="*/ 397 h 1874"/>
                <a:gd name="T78" fmla="*/ 2488 w 3933"/>
                <a:gd name="T79" fmla="*/ 241 h 1874"/>
                <a:gd name="T80" fmla="*/ 1957 w 3933"/>
                <a:gd name="T81" fmla="*/ 276 h 1874"/>
                <a:gd name="T82" fmla="*/ 1875 w 3933"/>
                <a:gd name="T83" fmla="*/ 385 h 1874"/>
                <a:gd name="T84" fmla="*/ 1308 w 3933"/>
                <a:gd name="T85" fmla="*/ 119 h 1874"/>
                <a:gd name="T86" fmla="*/ 1208 w 3933"/>
                <a:gd name="T87" fmla="*/ 38 h 1874"/>
                <a:gd name="T88" fmla="*/ 1410 w 3933"/>
                <a:gd name="T89" fmla="*/ 611 h 1874"/>
                <a:gd name="T90" fmla="*/ 1528 w 3933"/>
                <a:gd name="T91" fmla="*/ 344 h 1874"/>
                <a:gd name="T92" fmla="*/ 469 w 3933"/>
                <a:gd name="T93" fmla="*/ 84 h 1874"/>
                <a:gd name="T94" fmla="*/ 125 w 3933"/>
                <a:gd name="T95" fmla="*/ 608 h 1874"/>
                <a:gd name="T96" fmla="*/ 233 w 3933"/>
                <a:gd name="T97" fmla="*/ 502 h 1874"/>
                <a:gd name="T98" fmla="*/ 340 w 3933"/>
                <a:gd name="T99" fmla="*/ 233 h 1874"/>
                <a:gd name="T100" fmla="*/ 1623 w 3933"/>
                <a:gd name="T101" fmla="*/ 810 h 1874"/>
                <a:gd name="T102" fmla="*/ 1276 w 3933"/>
                <a:gd name="T103" fmla="*/ 1401 h 1874"/>
                <a:gd name="T104" fmla="*/ 2367 w 3933"/>
                <a:gd name="T105" fmla="*/ 819 h 1874"/>
                <a:gd name="T106" fmla="*/ 2608 w 3933"/>
                <a:gd name="T107" fmla="*/ 1404 h 1874"/>
                <a:gd name="T108" fmla="*/ 3447 w 3933"/>
                <a:gd name="T109" fmla="*/ 806 h 1874"/>
                <a:gd name="T110" fmla="*/ 3927 w 3933"/>
                <a:gd name="T111" fmla="*/ 1385 h 1874"/>
                <a:gd name="T112" fmla="*/ 2862 w 3933"/>
                <a:gd name="T113" fmla="*/ 818 h 1874"/>
                <a:gd name="T114" fmla="*/ 2134 w 3933"/>
                <a:gd name="T115" fmla="*/ 805 h 1874"/>
                <a:gd name="T116" fmla="*/ 2140 w 3933"/>
                <a:gd name="T117" fmla="*/ 913 h 1874"/>
                <a:gd name="T118" fmla="*/ 613 w 3933"/>
                <a:gd name="T119" fmla="*/ 842 h 1874"/>
                <a:gd name="T120" fmla="*/ 1064 w 3933"/>
                <a:gd name="T121" fmla="*/ 1052 h 1874"/>
                <a:gd name="T122" fmla="*/ 900 w 3933"/>
                <a:gd name="T123" fmla="*/ 1079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33" h="1874">
                  <a:moveTo>
                    <a:pt x="393" y="889"/>
                  </a:moveTo>
                  <a:lnTo>
                    <a:pt x="388" y="874"/>
                  </a:lnTo>
                  <a:lnTo>
                    <a:pt x="383" y="861"/>
                  </a:lnTo>
                  <a:lnTo>
                    <a:pt x="377" y="849"/>
                  </a:lnTo>
                  <a:lnTo>
                    <a:pt x="370" y="839"/>
                  </a:lnTo>
                  <a:lnTo>
                    <a:pt x="362" y="831"/>
                  </a:lnTo>
                  <a:lnTo>
                    <a:pt x="353" y="824"/>
                  </a:lnTo>
                  <a:lnTo>
                    <a:pt x="345" y="818"/>
                  </a:lnTo>
                  <a:lnTo>
                    <a:pt x="336" y="813"/>
                  </a:lnTo>
                  <a:lnTo>
                    <a:pt x="328" y="809"/>
                  </a:lnTo>
                  <a:lnTo>
                    <a:pt x="318" y="805"/>
                  </a:lnTo>
                  <a:lnTo>
                    <a:pt x="309" y="803"/>
                  </a:lnTo>
                  <a:lnTo>
                    <a:pt x="299" y="801"/>
                  </a:lnTo>
                  <a:lnTo>
                    <a:pt x="283" y="800"/>
                  </a:lnTo>
                  <a:lnTo>
                    <a:pt x="268" y="798"/>
                  </a:lnTo>
                  <a:lnTo>
                    <a:pt x="252" y="800"/>
                  </a:lnTo>
                  <a:lnTo>
                    <a:pt x="235" y="801"/>
                  </a:lnTo>
                  <a:lnTo>
                    <a:pt x="226" y="803"/>
                  </a:lnTo>
                  <a:lnTo>
                    <a:pt x="217" y="805"/>
                  </a:lnTo>
                  <a:lnTo>
                    <a:pt x="208" y="809"/>
                  </a:lnTo>
                  <a:lnTo>
                    <a:pt x="199" y="813"/>
                  </a:lnTo>
                  <a:lnTo>
                    <a:pt x="191" y="818"/>
                  </a:lnTo>
                  <a:lnTo>
                    <a:pt x="182" y="824"/>
                  </a:lnTo>
                  <a:lnTo>
                    <a:pt x="174" y="831"/>
                  </a:lnTo>
                  <a:lnTo>
                    <a:pt x="166" y="840"/>
                  </a:lnTo>
                  <a:lnTo>
                    <a:pt x="158" y="849"/>
                  </a:lnTo>
                  <a:lnTo>
                    <a:pt x="152" y="861"/>
                  </a:lnTo>
                  <a:lnTo>
                    <a:pt x="146" y="873"/>
                  </a:lnTo>
                  <a:lnTo>
                    <a:pt x="142" y="888"/>
                  </a:lnTo>
                  <a:lnTo>
                    <a:pt x="0" y="1382"/>
                  </a:lnTo>
                  <a:lnTo>
                    <a:pt x="2" y="1388"/>
                  </a:lnTo>
                  <a:lnTo>
                    <a:pt x="3" y="1393"/>
                  </a:lnTo>
                  <a:lnTo>
                    <a:pt x="5" y="1396"/>
                  </a:lnTo>
                  <a:lnTo>
                    <a:pt x="8" y="1398"/>
                  </a:lnTo>
                  <a:lnTo>
                    <a:pt x="11" y="1402"/>
                  </a:lnTo>
                  <a:lnTo>
                    <a:pt x="15" y="1403"/>
                  </a:lnTo>
                  <a:lnTo>
                    <a:pt x="19" y="1404"/>
                  </a:lnTo>
                  <a:lnTo>
                    <a:pt x="24" y="1404"/>
                  </a:lnTo>
                  <a:lnTo>
                    <a:pt x="114" y="1404"/>
                  </a:lnTo>
                  <a:lnTo>
                    <a:pt x="119" y="1404"/>
                  </a:lnTo>
                  <a:lnTo>
                    <a:pt x="122" y="1403"/>
                  </a:lnTo>
                  <a:lnTo>
                    <a:pt x="126" y="1401"/>
                  </a:lnTo>
                  <a:lnTo>
                    <a:pt x="129" y="1398"/>
                  </a:lnTo>
                  <a:lnTo>
                    <a:pt x="135" y="1393"/>
                  </a:lnTo>
                  <a:lnTo>
                    <a:pt x="137" y="1385"/>
                  </a:lnTo>
                  <a:lnTo>
                    <a:pt x="175" y="1263"/>
                  </a:lnTo>
                  <a:lnTo>
                    <a:pt x="360" y="1263"/>
                  </a:lnTo>
                  <a:lnTo>
                    <a:pt x="397" y="1385"/>
                  </a:lnTo>
                  <a:lnTo>
                    <a:pt x="401" y="1391"/>
                  </a:lnTo>
                  <a:lnTo>
                    <a:pt x="405" y="1398"/>
                  </a:lnTo>
                  <a:lnTo>
                    <a:pt x="409" y="1402"/>
                  </a:lnTo>
                  <a:lnTo>
                    <a:pt x="413" y="1403"/>
                  </a:lnTo>
                  <a:lnTo>
                    <a:pt x="417" y="1404"/>
                  </a:lnTo>
                  <a:lnTo>
                    <a:pt x="421" y="1404"/>
                  </a:lnTo>
                  <a:lnTo>
                    <a:pt x="511" y="1404"/>
                  </a:lnTo>
                  <a:lnTo>
                    <a:pt x="516" y="1404"/>
                  </a:lnTo>
                  <a:lnTo>
                    <a:pt x="520" y="1403"/>
                  </a:lnTo>
                  <a:lnTo>
                    <a:pt x="524" y="1402"/>
                  </a:lnTo>
                  <a:lnTo>
                    <a:pt x="526" y="1399"/>
                  </a:lnTo>
                  <a:lnTo>
                    <a:pt x="529" y="1397"/>
                  </a:lnTo>
                  <a:lnTo>
                    <a:pt x="532" y="1393"/>
                  </a:lnTo>
                  <a:lnTo>
                    <a:pt x="533" y="1388"/>
                  </a:lnTo>
                  <a:lnTo>
                    <a:pt x="534" y="1382"/>
                  </a:lnTo>
                  <a:lnTo>
                    <a:pt x="393" y="889"/>
                  </a:lnTo>
                  <a:close/>
                  <a:moveTo>
                    <a:pt x="768" y="1642"/>
                  </a:moveTo>
                  <a:lnTo>
                    <a:pt x="768" y="1639"/>
                  </a:lnTo>
                  <a:lnTo>
                    <a:pt x="769" y="1638"/>
                  </a:lnTo>
                  <a:lnTo>
                    <a:pt x="771" y="1637"/>
                  </a:lnTo>
                  <a:lnTo>
                    <a:pt x="773" y="1636"/>
                  </a:lnTo>
                  <a:lnTo>
                    <a:pt x="803" y="1636"/>
                  </a:lnTo>
                  <a:lnTo>
                    <a:pt x="805" y="1637"/>
                  </a:lnTo>
                  <a:lnTo>
                    <a:pt x="808" y="1638"/>
                  </a:lnTo>
                  <a:lnTo>
                    <a:pt x="809" y="1639"/>
                  </a:lnTo>
                  <a:lnTo>
                    <a:pt x="809" y="1642"/>
                  </a:lnTo>
                  <a:lnTo>
                    <a:pt x="809" y="1810"/>
                  </a:lnTo>
                  <a:lnTo>
                    <a:pt x="810" y="1811"/>
                  </a:lnTo>
                  <a:lnTo>
                    <a:pt x="811" y="1812"/>
                  </a:lnTo>
                  <a:lnTo>
                    <a:pt x="812" y="1812"/>
                  </a:lnTo>
                  <a:lnTo>
                    <a:pt x="813" y="1810"/>
                  </a:lnTo>
                  <a:lnTo>
                    <a:pt x="878" y="1646"/>
                  </a:lnTo>
                  <a:lnTo>
                    <a:pt x="881" y="1641"/>
                  </a:lnTo>
                  <a:lnTo>
                    <a:pt x="883" y="1638"/>
                  </a:lnTo>
                  <a:lnTo>
                    <a:pt x="886" y="1637"/>
                  </a:lnTo>
                  <a:lnTo>
                    <a:pt x="891" y="1636"/>
                  </a:lnTo>
                  <a:lnTo>
                    <a:pt x="923" y="1636"/>
                  </a:lnTo>
                  <a:lnTo>
                    <a:pt x="927" y="1637"/>
                  </a:lnTo>
                  <a:lnTo>
                    <a:pt x="932" y="1640"/>
                  </a:lnTo>
                  <a:lnTo>
                    <a:pt x="934" y="1644"/>
                  </a:lnTo>
                  <a:lnTo>
                    <a:pt x="935" y="1649"/>
                  </a:lnTo>
                  <a:lnTo>
                    <a:pt x="935" y="1865"/>
                  </a:lnTo>
                  <a:lnTo>
                    <a:pt x="934" y="1867"/>
                  </a:lnTo>
                  <a:lnTo>
                    <a:pt x="933" y="1870"/>
                  </a:lnTo>
                  <a:lnTo>
                    <a:pt x="932" y="1871"/>
                  </a:lnTo>
                  <a:lnTo>
                    <a:pt x="930" y="1872"/>
                  </a:lnTo>
                  <a:lnTo>
                    <a:pt x="899" y="1872"/>
                  </a:lnTo>
                  <a:lnTo>
                    <a:pt x="897" y="1871"/>
                  </a:lnTo>
                  <a:lnTo>
                    <a:pt x="895" y="1870"/>
                  </a:lnTo>
                  <a:lnTo>
                    <a:pt x="894" y="1867"/>
                  </a:lnTo>
                  <a:lnTo>
                    <a:pt x="893" y="1865"/>
                  </a:lnTo>
                  <a:lnTo>
                    <a:pt x="893" y="1706"/>
                  </a:lnTo>
                  <a:lnTo>
                    <a:pt x="893" y="1704"/>
                  </a:lnTo>
                  <a:lnTo>
                    <a:pt x="892" y="1704"/>
                  </a:lnTo>
                  <a:lnTo>
                    <a:pt x="891" y="1704"/>
                  </a:lnTo>
                  <a:lnTo>
                    <a:pt x="890" y="1706"/>
                  </a:lnTo>
                  <a:lnTo>
                    <a:pt x="828" y="1861"/>
                  </a:lnTo>
                  <a:lnTo>
                    <a:pt x="826" y="1864"/>
                  </a:lnTo>
                  <a:lnTo>
                    <a:pt x="824" y="1867"/>
                  </a:lnTo>
                  <a:lnTo>
                    <a:pt x="821" y="1869"/>
                  </a:lnTo>
                  <a:lnTo>
                    <a:pt x="819" y="1871"/>
                  </a:lnTo>
                  <a:lnTo>
                    <a:pt x="814" y="1871"/>
                  </a:lnTo>
                  <a:lnTo>
                    <a:pt x="810" y="1872"/>
                  </a:lnTo>
                  <a:lnTo>
                    <a:pt x="779" y="1872"/>
                  </a:lnTo>
                  <a:lnTo>
                    <a:pt x="775" y="1871"/>
                  </a:lnTo>
                  <a:lnTo>
                    <a:pt x="771" y="1869"/>
                  </a:lnTo>
                  <a:lnTo>
                    <a:pt x="768" y="1864"/>
                  </a:lnTo>
                  <a:lnTo>
                    <a:pt x="768" y="1859"/>
                  </a:lnTo>
                  <a:lnTo>
                    <a:pt x="768" y="1642"/>
                  </a:lnTo>
                  <a:close/>
                  <a:moveTo>
                    <a:pt x="3933" y="1866"/>
                  </a:moveTo>
                  <a:lnTo>
                    <a:pt x="3933" y="1869"/>
                  </a:lnTo>
                  <a:lnTo>
                    <a:pt x="3932" y="1870"/>
                  </a:lnTo>
                  <a:lnTo>
                    <a:pt x="3929" y="1871"/>
                  </a:lnTo>
                  <a:lnTo>
                    <a:pt x="3927" y="1871"/>
                  </a:lnTo>
                  <a:lnTo>
                    <a:pt x="3896" y="1871"/>
                  </a:lnTo>
                  <a:lnTo>
                    <a:pt x="3894" y="1871"/>
                  </a:lnTo>
                  <a:lnTo>
                    <a:pt x="3892" y="1870"/>
                  </a:lnTo>
                  <a:lnTo>
                    <a:pt x="3891" y="1869"/>
                  </a:lnTo>
                  <a:lnTo>
                    <a:pt x="3891" y="1866"/>
                  </a:lnTo>
                  <a:lnTo>
                    <a:pt x="3877" y="1806"/>
                  </a:lnTo>
                  <a:lnTo>
                    <a:pt x="3807" y="1806"/>
                  </a:lnTo>
                  <a:lnTo>
                    <a:pt x="3794" y="1866"/>
                  </a:lnTo>
                  <a:lnTo>
                    <a:pt x="3794" y="1869"/>
                  </a:lnTo>
                  <a:lnTo>
                    <a:pt x="3791" y="1870"/>
                  </a:lnTo>
                  <a:lnTo>
                    <a:pt x="3790" y="1871"/>
                  </a:lnTo>
                  <a:lnTo>
                    <a:pt x="3788" y="1871"/>
                  </a:lnTo>
                  <a:lnTo>
                    <a:pt x="3757" y="1871"/>
                  </a:lnTo>
                  <a:lnTo>
                    <a:pt x="3755" y="1871"/>
                  </a:lnTo>
                  <a:lnTo>
                    <a:pt x="3753" y="1870"/>
                  </a:lnTo>
                  <a:lnTo>
                    <a:pt x="3751" y="1869"/>
                  </a:lnTo>
                  <a:lnTo>
                    <a:pt x="3751" y="1866"/>
                  </a:lnTo>
                  <a:lnTo>
                    <a:pt x="3751" y="1865"/>
                  </a:lnTo>
                  <a:lnTo>
                    <a:pt x="3751" y="1865"/>
                  </a:lnTo>
                  <a:lnTo>
                    <a:pt x="3751" y="1865"/>
                  </a:lnTo>
                  <a:lnTo>
                    <a:pt x="3751" y="1864"/>
                  </a:lnTo>
                  <a:lnTo>
                    <a:pt x="3800" y="1666"/>
                  </a:lnTo>
                  <a:lnTo>
                    <a:pt x="3804" y="1656"/>
                  </a:lnTo>
                  <a:lnTo>
                    <a:pt x="3808" y="1649"/>
                  </a:lnTo>
                  <a:lnTo>
                    <a:pt x="3813" y="1644"/>
                  </a:lnTo>
                  <a:lnTo>
                    <a:pt x="3819" y="1639"/>
                  </a:lnTo>
                  <a:lnTo>
                    <a:pt x="3826" y="1637"/>
                  </a:lnTo>
                  <a:lnTo>
                    <a:pt x="3831" y="1635"/>
                  </a:lnTo>
                  <a:lnTo>
                    <a:pt x="3837" y="1635"/>
                  </a:lnTo>
                  <a:lnTo>
                    <a:pt x="3841" y="1633"/>
                  </a:lnTo>
                  <a:lnTo>
                    <a:pt x="3847" y="1635"/>
                  </a:lnTo>
                  <a:lnTo>
                    <a:pt x="3853" y="1635"/>
                  </a:lnTo>
                  <a:lnTo>
                    <a:pt x="3859" y="1637"/>
                  </a:lnTo>
                  <a:lnTo>
                    <a:pt x="3865" y="1639"/>
                  </a:lnTo>
                  <a:lnTo>
                    <a:pt x="3870" y="1644"/>
                  </a:lnTo>
                  <a:lnTo>
                    <a:pt x="3876" y="1649"/>
                  </a:lnTo>
                  <a:lnTo>
                    <a:pt x="3880" y="1656"/>
                  </a:lnTo>
                  <a:lnTo>
                    <a:pt x="3884" y="1666"/>
                  </a:lnTo>
                  <a:lnTo>
                    <a:pt x="3933" y="1864"/>
                  </a:lnTo>
                  <a:lnTo>
                    <a:pt x="3933" y="1865"/>
                  </a:lnTo>
                  <a:lnTo>
                    <a:pt x="3933" y="1865"/>
                  </a:lnTo>
                  <a:lnTo>
                    <a:pt x="3933" y="1865"/>
                  </a:lnTo>
                  <a:lnTo>
                    <a:pt x="3933" y="1866"/>
                  </a:lnTo>
                  <a:close/>
                  <a:moveTo>
                    <a:pt x="3847" y="1677"/>
                  </a:moveTo>
                  <a:lnTo>
                    <a:pt x="3847" y="1677"/>
                  </a:lnTo>
                  <a:lnTo>
                    <a:pt x="3846" y="1673"/>
                  </a:lnTo>
                  <a:lnTo>
                    <a:pt x="3845" y="1672"/>
                  </a:lnTo>
                  <a:lnTo>
                    <a:pt x="3844" y="1671"/>
                  </a:lnTo>
                  <a:lnTo>
                    <a:pt x="3841" y="1671"/>
                  </a:lnTo>
                  <a:lnTo>
                    <a:pt x="3840" y="1671"/>
                  </a:lnTo>
                  <a:lnTo>
                    <a:pt x="3839" y="1672"/>
                  </a:lnTo>
                  <a:lnTo>
                    <a:pt x="3838" y="1673"/>
                  </a:lnTo>
                  <a:lnTo>
                    <a:pt x="3837" y="1677"/>
                  </a:lnTo>
                  <a:lnTo>
                    <a:pt x="3815" y="1770"/>
                  </a:lnTo>
                  <a:lnTo>
                    <a:pt x="3868" y="1770"/>
                  </a:lnTo>
                  <a:lnTo>
                    <a:pt x="3847" y="1677"/>
                  </a:lnTo>
                  <a:close/>
                  <a:moveTo>
                    <a:pt x="3722" y="1871"/>
                  </a:moveTo>
                  <a:lnTo>
                    <a:pt x="3721" y="1871"/>
                  </a:lnTo>
                  <a:lnTo>
                    <a:pt x="3718" y="1871"/>
                  </a:lnTo>
                  <a:lnTo>
                    <a:pt x="3689" y="1871"/>
                  </a:lnTo>
                  <a:lnTo>
                    <a:pt x="3686" y="1871"/>
                  </a:lnTo>
                  <a:lnTo>
                    <a:pt x="3685" y="1870"/>
                  </a:lnTo>
                  <a:lnTo>
                    <a:pt x="3684" y="1867"/>
                  </a:lnTo>
                  <a:lnTo>
                    <a:pt x="3683" y="1865"/>
                  </a:lnTo>
                  <a:lnTo>
                    <a:pt x="3683" y="1719"/>
                  </a:lnTo>
                  <a:lnTo>
                    <a:pt x="3683" y="1715"/>
                  </a:lnTo>
                  <a:lnTo>
                    <a:pt x="3683" y="1715"/>
                  </a:lnTo>
                  <a:lnTo>
                    <a:pt x="3682" y="1715"/>
                  </a:lnTo>
                  <a:lnTo>
                    <a:pt x="3681" y="1716"/>
                  </a:lnTo>
                  <a:lnTo>
                    <a:pt x="3652" y="1778"/>
                  </a:lnTo>
                  <a:lnTo>
                    <a:pt x="3651" y="1780"/>
                  </a:lnTo>
                  <a:lnTo>
                    <a:pt x="3649" y="1781"/>
                  </a:lnTo>
                  <a:lnTo>
                    <a:pt x="3645" y="1782"/>
                  </a:lnTo>
                  <a:lnTo>
                    <a:pt x="3643" y="1782"/>
                  </a:lnTo>
                  <a:lnTo>
                    <a:pt x="3612" y="1782"/>
                  </a:lnTo>
                  <a:lnTo>
                    <a:pt x="3610" y="1782"/>
                  </a:lnTo>
                  <a:lnTo>
                    <a:pt x="3607" y="1781"/>
                  </a:lnTo>
                  <a:lnTo>
                    <a:pt x="3604" y="1780"/>
                  </a:lnTo>
                  <a:lnTo>
                    <a:pt x="3603" y="1778"/>
                  </a:lnTo>
                  <a:lnTo>
                    <a:pt x="3574" y="1716"/>
                  </a:lnTo>
                  <a:lnTo>
                    <a:pt x="3574" y="1715"/>
                  </a:lnTo>
                  <a:lnTo>
                    <a:pt x="3572" y="1715"/>
                  </a:lnTo>
                  <a:lnTo>
                    <a:pt x="3572" y="1715"/>
                  </a:lnTo>
                  <a:lnTo>
                    <a:pt x="3571" y="1719"/>
                  </a:lnTo>
                  <a:lnTo>
                    <a:pt x="3571" y="1865"/>
                  </a:lnTo>
                  <a:lnTo>
                    <a:pt x="3571" y="1867"/>
                  </a:lnTo>
                  <a:lnTo>
                    <a:pt x="3570" y="1870"/>
                  </a:lnTo>
                  <a:lnTo>
                    <a:pt x="3569" y="1871"/>
                  </a:lnTo>
                  <a:lnTo>
                    <a:pt x="3567" y="1871"/>
                  </a:lnTo>
                  <a:lnTo>
                    <a:pt x="3537" y="1871"/>
                  </a:lnTo>
                  <a:lnTo>
                    <a:pt x="3535" y="1871"/>
                  </a:lnTo>
                  <a:lnTo>
                    <a:pt x="3534" y="1871"/>
                  </a:lnTo>
                  <a:lnTo>
                    <a:pt x="3533" y="1869"/>
                  </a:lnTo>
                  <a:lnTo>
                    <a:pt x="3531" y="1866"/>
                  </a:lnTo>
                  <a:lnTo>
                    <a:pt x="3531" y="1649"/>
                  </a:lnTo>
                  <a:lnTo>
                    <a:pt x="3533" y="1645"/>
                  </a:lnTo>
                  <a:lnTo>
                    <a:pt x="3535" y="1640"/>
                  </a:lnTo>
                  <a:lnTo>
                    <a:pt x="3539" y="1638"/>
                  </a:lnTo>
                  <a:lnTo>
                    <a:pt x="3544" y="1637"/>
                  </a:lnTo>
                  <a:lnTo>
                    <a:pt x="3568" y="1637"/>
                  </a:lnTo>
                  <a:lnTo>
                    <a:pt x="3571" y="1637"/>
                  </a:lnTo>
                  <a:lnTo>
                    <a:pt x="3575" y="1639"/>
                  </a:lnTo>
                  <a:lnTo>
                    <a:pt x="3577" y="1641"/>
                  </a:lnTo>
                  <a:lnTo>
                    <a:pt x="3579" y="1644"/>
                  </a:lnTo>
                  <a:lnTo>
                    <a:pt x="3625" y="1741"/>
                  </a:lnTo>
                  <a:lnTo>
                    <a:pt x="3625" y="1742"/>
                  </a:lnTo>
                  <a:lnTo>
                    <a:pt x="3626" y="1744"/>
                  </a:lnTo>
                  <a:lnTo>
                    <a:pt x="3627" y="1745"/>
                  </a:lnTo>
                  <a:lnTo>
                    <a:pt x="3627" y="1745"/>
                  </a:lnTo>
                  <a:lnTo>
                    <a:pt x="3628" y="1745"/>
                  </a:lnTo>
                  <a:lnTo>
                    <a:pt x="3629" y="1744"/>
                  </a:lnTo>
                  <a:lnTo>
                    <a:pt x="3629" y="1742"/>
                  </a:lnTo>
                  <a:lnTo>
                    <a:pt x="3631" y="1741"/>
                  </a:lnTo>
                  <a:lnTo>
                    <a:pt x="3676" y="1644"/>
                  </a:lnTo>
                  <a:lnTo>
                    <a:pt x="3677" y="1641"/>
                  </a:lnTo>
                  <a:lnTo>
                    <a:pt x="3681" y="1639"/>
                  </a:lnTo>
                  <a:lnTo>
                    <a:pt x="3684" y="1637"/>
                  </a:lnTo>
                  <a:lnTo>
                    <a:pt x="3688" y="1637"/>
                  </a:lnTo>
                  <a:lnTo>
                    <a:pt x="3712" y="1637"/>
                  </a:lnTo>
                  <a:lnTo>
                    <a:pt x="3716" y="1638"/>
                  </a:lnTo>
                  <a:lnTo>
                    <a:pt x="3719" y="1640"/>
                  </a:lnTo>
                  <a:lnTo>
                    <a:pt x="3723" y="1645"/>
                  </a:lnTo>
                  <a:lnTo>
                    <a:pt x="3723" y="1649"/>
                  </a:lnTo>
                  <a:lnTo>
                    <a:pt x="3723" y="1866"/>
                  </a:lnTo>
                  <a:lnTo>
                    <a:pt x="3723" y="1869"/>
                  </a:lnTo>
                  <a:lnTo>
                    <a:pt x="3722" y="1871"/>
                  </a:lnTo>
                  <a:close/>
                  <a:moveTo>
                    <a:pt x="3488" y="1871"/>
                  </a:moveTo>
                  <a:lnTo>
                    <a:pt x="3487" y="1871"/>
                  </a:lnTo>
                  <a:lnTo>
                    <a:pt x="3485" y="1871"/>
                  </a:lnTo>
                  <a:lnTo>
                    <a:pt x="3455" y="1871"/>
                  </a:lnTo>
                  <a:lnTo>
                    <a:pt x="3453" y="1871"/>
                  </a:lnTo>
                  <a:lnTo>
                    <a:pt x="3452" y="1870"/>
                  </a:lnTo>
                  <a:lnTo>
                    <a:pt x="3450" y="1867"/>
                  </a:lnTo>
                  <a:lnTo>
                    <a:pt x="3450" y="1865"/>
                  </a:lnTo>
                  <a:lnTo>
                    <a:pt x="3450" y="1719"/>
                  </a:lnTo>
                  <a:lnTo>
                    <a:pt x="3450" y="1715"/>
                  </a:lnTo>
                  <a:lnTo>
                    <a:pt x="3449" y="1715"/>
                  </a:lnTo>
                  <a:lnTo>
                    <a:pt x="3448" y="1715"/>
                  </a:lnTo>
                  <a:lnTo>
                    <a:pt x="3448" y="1716"/>
                  </a:lnTo>
                  <a:lnTo>
                    <a:pt x="3418" y="1778"/>
                  </a:lnTo>
                  <a:lnTo>
                    <a:pt x="3417" y="1780"/>
                  </a:lnTo>
                  <a:lnTo>
                    <a:pt x="3415" y="1781"/>
                  </a:lnTo>
                  <a:lnTo>
                    <a:pt x="3413" y="1782"/>
                  </a:lnTo>
                  <a:lnTo>
                    <a:pt x="3409" y="1782"/>
                  </a:lnTo>
                  <a:lnTo>
                    <a:pt x="3380" y="1782"/>
                  </a:lnTo>
                  <a:lnTo>
                    <a:pt x="3376" y="1782"/>
                  </a:lnTo>
                  <a:lnTo>
                    <a:pt x="3374" y="1781"/>
                  </a:lnTo>
                  <a:lnTo>
                    <a:pt x="3372" y="1780"/>
                  </a:lnTo>
                  <a:lnTo>
                    <a:pt x="3369" y="1778"/>
                  </a:lnTo>
                  <a:lnTo>
                    <a:pt x="3341" y="1716"/>
                  </a:lnTo>
                  <a:lnTo>
                    <a:pt x="3340" y="1715"/>
                  </a:lnTo>
                  <a:lnTo>
                    <a:pt x="3339" y="1715"/>
                  </a:lnTo>
                  <a:lnTo>
                    <a:pt x="3339" y="1715"/>
                  </a:lnTo>
                  <a:lnTo>
                    <a:pt x="3339" y="1719"/>
                  </a:lnTo>
                  <a:lnTo>
                    <a:pt x="3339" y="1865"/>
                  </a:lnTo>
                  <a:lnTo>
                    <a:pt x="3338" y="1867"/>
                  </a:lnTo>
                  <a:lnTo>
                    <a:pt x="3338" y="1870"/>
                  </a:lnTo>
                  <a:lnTo>
                    <a:pt x="3335" y="1871"/>
                  </a:lnTo>
                  <a:lnTo>
                    <a:pt x="3334" y="1871"/>
                  </a:lnTo>
                  <a:lnTo>
                    <a:pt x="3303" y="1871"/>
                  </a:lnTo>
                  <a:lnTo>
                    <a:pt x="3301" y="1871"/>
                  </a:lnTo>
                  <a:lnTo>
                    <a:pt x="3300" y="1871"/>
                  </a:lnTo>
                  <a:lnTo>
                    <a:pt x="3299" y="1869"/>
                  </a:lnTo>
                  <a:lnTo>
                    <a:pt x="3299" y="1866"/>
                  </a:lnTo>
                  <a:lnTo>
                    <a:pt x="3299" y="1649"/>
                  </a:lnTo>
                  <a:lnTo>
                    <a:pt x="3299" y="1645"/>
                  </a:lnTo>
                  <a:lnTo>
                    <a:pt x="3302" y="1640"/>
                  </a:lnTo>
                  <a:lnTo>
                    <a:pt x="3306" y="1638"/>
                  </a:lnTo>
                  <a:lnTo>
                    <a:pt x="3310" y="1637"/>
                  </a:lnTo>
                  <a:lnTo>
                    <a:pt x="3335" y="1637"/>
                  </a:lnTo>
                  <a:lnTo>
                    <a:pt x="3339" y="1637"/>
                  </a:lnTo>
                  <a:lnTo>
                    <a:pt x="3341" y="1639"/>
                  </a:lnTo>
                  <a:lnTo>
                    <a:pt x="3344" y="1641"/>
                  </a:lnTo>
                  <a:lnTo>
                    <a:pt x="3346" y="1644"/>
                  </a:lnTo>
                  <a:lnTo>
                    <a:pt x="3391" y="1741"/>
                  </a:lnTo>
                  <a:lnTo>
                    <a:pt x="3392" y="1742"/>
                  </a:lnTo>
                  <a:lnTo>
                    <a:pt x="3392" y="1744"/>
                  </a:lnTo>
                  <a:lnTo>
                    <a:pt x="3393" y="1745"/>
                  </a:lnTo>
                  <a:lnTo>
                    <a:pt x="3395" y="1745"/>
                  </a:lnTo>
                  <a:lnTo>
                    <a:pt x="3395" y="1745"/>
                  </a:lnTo>
                  <a:lnTo>
                    <a:pt x="3396" y="1744"/>
                  </a:lnTo>
                  <a:lnTo>
                    <a:pt x="3397" y="1742"/>
                  </a:lnTo>
                  <a:lnTo>
                    <a:pt x="3398" y="1741"/>
                  </a:lnTo>
                  <a:lnTo>
                    <a:pt x="3442" y="1644"/>
                  </a:lnTo>
                  <a:lnTo>
                    <a:pt x="3445" y="1641"/>
                  </a:lnTo>
                  <a:lnTo>
                    <a:pt x="3447" y="1639"/>
                  </a:lnTo>
                  <a:lnTo>
                    <a:pt x="3450" y="1637"/>
                  </a:lnTo>
                  <a:lnTo>
                    <a:pt x="3454" y="1637"/>
                  </a:lnTo>
                  <a:lnTo>
                    <a:pt x="3478" y="1637"/>
                  </a:lnTo>
                  <a:lnTo>
                    <a:pt x="3482" y="1638"/>
                  </a:lnTo>
                  <a:lnTo>
                    <a:pt x="3487" y="1640"/>
                  </a:lnTo>
                  <a:lnTo>
                    <a:pt x="3489" y="1645"/>
                  </a:lnTo>
                  <a:lnTo>
                    <a:pt x="3490" y="1649"/>
                  </a:lnTo>
                  <a:lnTo>
                    <a:pt x="3490" y="1866"/>
                  </a:lnTo>
                  <a:lnTo>
                    <a:pt x="3489" y="1869"/>
                  </a:lnTo>
                  <a:lnTo>
                    <a:pt x="3488" y="1871"/>
                  </a:lnTo>
                  <a:close/>
                  <a:moveTo>
                    <a:pt x="3270" y="1866"/>
                  </a:moveTo>
                  <a:lnTo>
                    <a:pt x="3270" y="1869"/>
                  </a:lnTo>
                  <a:lnTo>
                    <a:pt x="3269" y="1870"/>
                  </a:lnTo>
                  <a:lnTo>
                    <a:pt x="3267" y="1871"/>
                  </a:lnTo>
                  <a:lnTo>
                    <a:pt x="3265" y="1871"/>
                  </a:lnTo>
                  <a:lnTo>
                    <a:pt x="3234" y="1871"/>
                  </a:lnTo>
                  <a:lnTo>
                    <a:pt x="3232" y="1871"/>
                  </a:lnTo>
                  <a:lnTo>
                    <a:pt x="3229" y="1870"/>
                  </a:lnTo>
                  <a:lnTo>
                    <a:pt x="3228" y="1869"/>
                  </a:lnTo>
                  <a:lnTo>
                    <a:pt x="3228" y="1866"/>
                  </a:lnTo>
                  <a:lnTo>
                    <a:pt x="3214" y="1806"/>
                  </a:lnTo>
                  <a:lnTo>
                    <a:pt x="3145" y="1806"/>
                  </a:lnTo>
                  <a:lnTo>
                    <a:pt x="3131" y="1866"/>
                  </a:lnTo>
                  <a:lnTo>
                    <a:pt x="3131" y="1869"/>
                  </a:lnTo>
                  <a:lnTo>
                    <a:pt x="3130" y="1870"/>
                  </a:lnTo>
                  <a:lnTo>
                    <a:pt x="3128" y="1871"/>
                  </a:lnTo>
                  <a:lnTo>
                    <a:pt x="3125" y="1871"/>
                  </a:lnTo>
                  <a:lnTo>
                    <a:pt x="3095" y="1871"/>
                  </a:lnTo>
                  <a:lnTo>
                    <a:pt x="3092" y="1871"/>
                  </a:lnTo>
                  <a:lnTo>
                    <a:pt x="3090" y="1870"/>
                  </a:lnTo>
                  <a:lnTo>
                    <a:pt x="3089" y="1869"/>
                  </a:lnTo>
                  <a:lnTo>
                    <a:pt x="3089" y="1866"/>
                  </a:lnTo>
                  <a:lnTo>
                    <a:pt x="3089" y="1865"/>
                  </a:lnTo>
                  <a:lnTo>
                    <a:pt x="3089" y="1865"/>
                  </a:lnTo>
                  <a:lnTo>
                    <a:pt x="3089" y="1865"/>
                  </a:lnTo>
                  <a:lnTo>
                    <a:pt x="3089" y="1864"/>
                  </a:lnTo>
                  <a:lnTo>
                    <a:pt x="3138" y="1666"/>
                  </a:lnTo>
                  <a:lnTo>
                    <a:pt x="3141" y="1656"/>
                  </a:lnTo>
                  <a:lnTo>
                    <a:pt x="3146" y="1649"/>
                  </a:lnTo>
                  <a:lnTo>
                    <a:pt x="3152" y="1644"/>
                  </a:lnTo>
                  <a:lnTo>
                    <a:pt x="3156" y="1639"/>
                  </a:lnTo>
                  <a:lnTo>
                    <a:pt x="3163" y="1637"/>
                  </a:lnTo>
                  <a:lnTo>
                    <a:pt x="3169" y="1635"/>
                  </a:lnTo>
                  <a:lnTo>
                    <a:pt x="3175" y="1635"/>
                  </a:lnTo>
                  <a:lnTo>
                    <a:pt x="3179" y="1633"/>
                  </a:lnTo>
                  <a:lnTo>
                    <a:pt x="3185" y="1635"/>
                  </a:lnTo>
                  <a:lnTo>
                    <a:pt x="3190" y="1635"/>
                  </a:lnTo>
                  <a:lnTo>
                    <a:pt x="3196" y="1637"/>
                  </a:lnTo>
                  <a:lnTo>
                    <a:pt x="3203" y="1639"/>
                  </a:lnTo>
                  <a:lnTo>
                    <a:pt x="3209" y="1644"/>
                  </a:lnTo>
                  <a:lnTo>
                    <a:pt x="3213" y="1649"/>
                  </a:lnTo>
                  <a:lnTo>
                    <a:pt x="3218" y="1656"/>
                  </a:lnTo>
                  <a:lnTo>
                    <a:pt x="3221" y="1666"/>
                  </a:lnTo>
                  <a:lnTo>
                    <a:pt x="3270" y="1864"/>
                  </a:lnTo>
                  <a:lnTo>
                    <a:pt x="3270" y="1865"/>
                  </a:lnTo>
                  <a:lnTo>
                    <a:pt x="3270" y="1865"/>
                  </a:lnTo>
                  <a:lnTo>
                    <a:pt x="3270" y="1865"/>
                  </a:lnTo>
                  <a:lnTo>
                    <a:pt x="3270" y="1866"/>
                  </a:lnTo>
                  <a:close/>
                  <a:moveTo>
                    <a:pt x="3185" y="1677"/>
                  </a:moveTo>
                  <a:lnTo>
                    <a:pt x="3185" y="1677"/>
                  </a:lnTo>
                  <a:lnTo>
                    <a:pt x="3184" y="1673"/>
                  </a:lnTo>
                  <a:lnTo>
                    <a:pt x="3182" y="1672"/>
                  </a:lnTo>
                  <a:lnTo>
                    <a:pt x="3181" y="1671"/>
                  </a:lnTo>
                  <a:lnTo>
                    <a:pt x="3179" y="1671"/>
                  </a:lnTo>
                  <a:lnTo>
                    <a:pt x="3178" y="1671"/>
                  </a:lnTo>
                  <a:lnTo>
                    <a:pt x="3177" y="1672"/>
                  </a:lnTo>
                  <a:lnTo>
                    <a:pt x="3176" y="1673"/>
                  </a:lnTo>
                  <a:lnTo>
                    <a:pt x="3175" y="1677"/>
                  </a:lnTo>
                  <a:lnTo>
                    <a:pt x="3153" y="1770"/>
                  </a:lnTo>
                  <a:lnTo>
                    <a:pt x="3206" y="1770"/>
                  </a:lnTo>
                  <a:lnTo>
                    <a:pt x="3185" y="1677"/>
                  </a:lnTo>
                  <a:close/>
                  <a:moveTo>
                    <a:pt x="3083" y="1710"/>
                  </a:moveTo>
                  <a:lnTo>
                    <a:pt x="3083" y="1720"/>
                  </a:lnTo>
                  <a:lnTo>
                    <a:pt x="3082" y="1729"/>
                  </a:lnTo>
                  <a:lnTo>
                    <a:pt x="3080" y="1738"/>
                  </a:lnTo>
                  <a:lnTo>
                    <a:pt x="3076" y="1745"/>
                  </a:lnTo>
                  <a:lnTo>
                    <a:pt x="3073" y="1752"/>
                  </a:lnTo>
                  <a:lnTo>
                    <a:pt x="3068" y="1757"/>
                  </a:lnTo>
                  <a:lnTo>
                    <a:pt x="3064" y="1763"/>
                  </a:lnTo>
                  <a:lnTo>
                    <a:pt x="3058" y="1767"/>
                  </a:lnTo>
                  <a:lnTo>
                    <a:pt x="3051" y="1772"/>
                  </a:lnTo>
                  <a:lnTo>
                    <a:pt x="3045" y="1775"/>
                  </a:lnTo>
                  <a:lnTo>
                    <a:pt x="3038" y="1778"/>
                  </a:lnTo>
                  <a:lnTo>
                    <a:pt x="3031" y="1780"/>
                  </a:lnTo>
                  <a:lnTo>
                    <a:pt x="3015" y="1783"/>
                  </a:lnTo>
                  <a:lnTo>
                    <a:pt x="2998" y="1783"/>
                  </a:lnTo>
                  <a:lnTo>
                    <a:pt x="2991" y="1783"/>
                  </a:lnTo>
                  <a:lnTo>
                    <a:pt x="2984" y="1783"/>
                  </a:lnTo>
                  <a:lnTo>
                    <a:pt x="2976" y="1783"/>
                  </a:lnTo>
                  <a:lnTo>
                    <a:pt x="2970" y="1782"/>
                  </a:lnTo>
                  <a:lnTo>
                    <a:pt x="2970" y="1865"/>
                  </a:lnTo>
                  <a:lnTo>
                    <a:pt x="2970" y="1867"/>
                  </a:lnTo>
                  <a:lnTo>
                    <a:pt x="2969" y="1870"/>
                  </a:lnTo>
                  <a:lnTo>
                    <a:pt x="2967" y="1871"/>
                  </a:lnTo>
                  <a:lnTo>
                    <a:pt x="2965" y="1871"/>
                  </a:lnTo>
                  <a:lnTo>
                    <a:pt x="2935" y="1871"/>
                  </a:lnTo>
                  <a:lnTo>
                    <a:pt x="2933" y="1871"/>
                  </a:lnTo>
                  <a:lnTo>
                    <a:pt x="2932" y="1870"/>
                  </a:lnTo>
                  <a:lnTo>
                    <a:pt x="2929" y="1867"/>
                  </a:lnTo>
                  <a:lnTo>
                    <a:pt x="2929" y="1865"/>
                  </a:lnTo>
                  <a:lnTo>
                    <a:pt x="2929" y="1648"/>
                  </a:lnTo>
                  <a:lnTo>
                    <a:pt x="2931" y="1644"/>
                  </a:lnTo>
                  <a:lnTo>
                    <a:pt x="2932" y="1640"/>
                  </a:lnTo>
                  <a:lnTo>
                    <a:pt x="2935" y="1639"/>
                  </a:lnTo>
                  <a:lnTo>
                    <a:pt x="2939" y="1638"/>
                  </a:lnTo>
                  <a:lnTo>
                    <a:pt x="2951" y="1637"/>
                  </a:lnTo>
                  <a:lnTo>
                    <a:pt x="2966" y="1635"/>
                  </a:lnTo>
                  <a:lnTo>
                    <a:pt x="2982" y="1635"/>
                  </a:lnTo>
                  <a:lnTo>
                    <a:pt x="2998" y="1633"/>
                  </a:lnTo>
                  <a:lnTo>
                    <a:pt x="3015" y="1635"/>
                  </a:lnTo>
                  <a:lnTo>
                    <a:pt x="3031" y="1638"/>
                  </a:lnTo>
                  <a:lnTo>
                    <a:pt x="3038" y="1639"/>
                  </a:lnTo>
                  <a:lnTo>
                    <a:pt x="3046" y="1642"/>
                  </a:lnTo>
                  <a:lnTo>
                    <a:pt x="3051" y="1646"/>
                  </a:lnTo>
                  <a:lnTo>
                    <a:pt x="3058" y="1649"/>
                  </a:lnTo>
                  <a:lnTo>
                    <a:pt x="3064" y="1654"/>
                  </a:lnTo>
                  <a:lnTo>
                    <a:pt x="3068" y="1660"/>
                  </a:lnTo>
                  <a:lnTo>
                    <a:pt x="3073" y="1665"/>
                  </a:lnTo>
                  <a:lnTo>
                    <a:pt x="3076" y="1672"/>
                  </a:lnTo>
                  <a:lnTo>
                    <a:pt x="3080" y="1680"/>
                  </a:lnTo>
                  <a:lnTo>
                    <a:pt x="3082" y="1688"/>
                  </a:lnTo>
                  <a:lnTo>
                    <a:pt x="3083" y="1697"/>
                  </a:lnTo>
                  <a:lnTo>
                    <a:pt x="3083" y="1707"/>
                  </a:lnTo>
                  <a:lnTo>
                    <a:pt x="3083" y="1710"/>
                  </a:lnTo>
                  <a:close/>
                  <a:moveTo>
                    <a:pt x="3042" y="1707"/>
                  </a:moveTo>
                  <a:lnTo>
                    <a:pt x="3042" y="1707"/>
                  </a:lnTo>
                  <a:lnTo>
                    <a:pt x="3041" y="1698"/>
                  </a:lnTo>
                  <a:lnTo>
                    <a:pt x="3040" y="1690"/>
                  </a:lnTo>
                  <a:lnTo>
                    <a:pt x="3035" y="1683"/>
                  </a:lnTo>
                  <a:lnTo>
                    <a:pt x="3031" y="1679"/>
                  </a:lnTo>
                  <a:lnTo>
                    <a:pt x="3025" y="1675"/>
                  </a:lnTo>
                  <a:lnTo>
                    <a:pt x="3017" y="1672"/>
                  </a:lnTo>
                  <a:lnTo>
                    <a:pt x="3008" y="1671"/>
                  </a:lnTo>
                  <a:lnTo>
                    <a:pt x="2998" y="1670"/>
                  </a:lnTo>
                  <a:lnTo>
                    <a:pt x="2994" y="1671"/>
                  </a:lnTo>
                  <a:lnTo>
                    <a:pt x="2991" y="1671"/>
                  </a:lnTo>
                  <a:lnTo>
                    <a:pt x="2988" y="1671"/>
                  </a:lnTo>
                  <a:lnTo>
                    <a:pt x="2984" y="1671"/>
                  </a:lnTo>
                  <a:lnTo>
                    <a:pt x="2980" y="1671"/>
                  </a:lnTo>
                  <a:lnTo>
                    <a:pt x="2976" y="1671"/>
                  </a:lnTo>
                  <a:lnTo>
                    <a:pt x="2973" y="1671"/>
                  </a:lnTo>
                  <a:lnTo>
                    <a:pt x="2970" y="1672"/>
                  </a:lnTo>
                  <a:lnTo>
                    <a:pt x="2970" y="1747"/>
                  </a:lnTo>
                  <a:lnTo>
                    <a:pt x="2973" y="1747"/>
                  </a:lnTo>
                  <a:lnTo>
                    <a:pt x="2976" y="1747"/>
                  </a:lnTo>
                  <a:lnTo>
                    <a:pt x="2981" y="1747"/>
                  </a:lnTo>
                  <a:lnTo>
                    <a:pt x="2984" y="1747"/>
                  </a:lnTo>
                  <a:lnTo>
                    <a:pt x="2989" y="1747"/>
                  </a:lnTo>
                  <a:lnTo>
                    <a:pt x="2992" y="1748"/>
                  </a:lnTo>
                  <a:lnTo>
                    <a:pt x="2996" y="1748"/>
                  </a:lnTo>
                  <a:lnTo>
                    <a:pt x="2998" y="1748"/>
                  </a:lnTo>
                  <a:lnTo>
                    <a:pt x="3009" y="1747"/>
                  </a:lnTo>
                  <a:lnTo>
                    <a:pt x="3018" y="1746"/>
                  </a:lnTo>
                  <a:lnTo>
                    <a:pt x="3026" y="1742"/>
                  </a:lnTo>
                  <a:lnTo>
                    <a:pt x="3032" y="1738"/>
                  </a:lnTo>
                  <a:lnTo>
                    <a:pt x="3037" y="1733"/>
                  </a:lnTo>
                  <a:lnTo>
                    <a:pt x="3040" y="1727"/>
                  </a:lnTo>
                  <a:lnTo>
                    <a:pt x="3041" y="1719"/>
                  </a:lnTo>
                  <a:lnTo>
                    <a:pt x="3042" y="1710"/>
                  </a:lnTo>
                  <a:lnTo>
                    <a:pt x="3042" y="1707"/>
                  </a:lnTo>
                  <a:close/>
                  <a:moveTo>
                    <a:pt x="2805" y="1865"/>
                  </a:moveTo>
                  <a:lnTo>
                    <a:pt x="2805" y="1867"/>
                  </a:lnTo>
                  <a:lnTo>
                    <a:pt x="2803" y="1870"/>
                  </a:lnTo>
                  <a:lnTo>
                    <a:pt x="2802" y="1871"/>
                  </a:lnTo>
                  <a:lnTo>
                    <a:pt x="2799" y="1871"/>
                  </a:lnTo>
                  <a:lnTo>
                    <a:pt x="2770" y="1871"/>
                  </a:lnTo>
                  <a:lnTo>
                    <a:pt x="2767" y="1871"/>
                  </a:lnTo>
                  <a:lnTo>
                    <a:pt x="2765" y="1870"/>
                  </a:lnTo>
                  <a:lnTo>
                    <a:pt x="2764" y="1867"/>
                  </a:lnTo>
                  <a:lnTo>
                    <a:pt x="2763" y="1865"/>
                  </a:lnTo>
                  <a:lnTo>
                    <a:pt x="2763" y="1699"/>
                  </a:lnTo>
                  <a:lnTo>
                    <a:pt x="2764" y="1689"/>
                  </a:lnTo>
                  <a:lnTo>
                    <a:pt x="2765" y="1680"/>
                  </a:lnTo>
                  <a:lnTo>
                    <a:pt x="2766" y="1673"/>
                  </a:lnTo>
                  <a:lnTo>
                    <a:pt x="2769" y="1666"/>
                  </a:lnTo>
                  <a:lnTo>
                    <a:pt x="2772" y="1660"/>
                  </a:lnTo>
                  <a:lnTo>
                    <a:pt x="2775" y="1655"/>
                  </a:lnTo>
                  <a:lnTo>
                    <a:pt x="2779" y="1650"/>
                  </a:lnTo>
                  <a:lnTo>
                    <a:pt x="2783" y="1646"/>
                  </a:lnTo>
                  <a:lnTo>
                    <a:pt x="2788" y="1642"/>
                  </a:lnTo>
                  <a:lnTo>
                    <a:pt x="2794" y="1640"/>
                  </a:lnTo>
                  <a:lnTo>
                    <a:pt x="2799" y="1638"/>
                  </a:lnTo>
                  <a:lnTo>
                    <a:pt x="2805" y="1637"/>
                  </a:lnTo>
                  <a:lnTo>
                    <a:pt x="2819" y="1635"/>
                  </a:lnTo>
                  <a:lnTo>
                    <a:pt x="2832" y="1633"/>
                  </a:lnTo>
                  <a:lnTo>
                    <a:pt x="2845" y="1635"/>
                  </a:lnTo>
                  <a:lnTo>
                    <a:pt x="2855" y="1635"/>
                  </a:lnTo>
                  <a:lnTo>
                    <a:pt x="2863" y="1635"/>
                  </a:lnTo>
                  <a:lnTo>
                    <a:pt x="2871" y="1636"/>
                  </a:lnTo>
                  <a:lnTo>
                    <a:pt x="2877" y="1636"/>
                  </a:lnTo>
                  <a:lnTo>
                    <a:pt x="2881" y="1637"/>
                  </a:lnTo>
                  <a:lnTo>
                    <a:pt x="2886" y="1638"/>
                  </a:lnTo>
                  <a:lnTo>
                    <a:pt x="2889" y="1638"/>
                  </a:lnTo>
                  <a:lnTo>
                    <a:pt x="2893" y="1639"/>
                  </a:lnTo>
                  <a:lnTo>
                    <a:pt x="2894" y="1640"/>
                  </a:lnTo>
                  <a:lnTo>
                    <a:pt x="2895" y="1642"/>
                  </a:lnTo>
                  <a:lnTo>
                    <a:pt x="2895" y="1645"/>
                  </a:lnTo>
                  <a:lnTo>
                    <a:pt x="2895" y="1665"/>
                  </a:lnTo>
                  <a:lnTo>
                    <a:pt x="2895" y="1667"/>
                  </a:lnTo>
                  <a:lnTo>
                    <a:pt x="2894" y="1670"/>
                  </a:lnTo>
                  <a:lnTo>
                    <a:pt x="2892" y="1671"/>
                  </a:lnTo>
                  <a:lnTo>
                    <a:pt x="2889" y="1672"/>
                  </a:lnTo>
                  <a:lnTo>
                    <a:pt x="2829" y="1672"/>
                  </a:lnTo>
                  <a:lnTo>
                    <a:pt x="2822" y="1672"/>
                  </a:lnTo>
                  <a:lnTo>
                    <a:pt x="2818" y="1673"/>
                  </a:lnTo>
                  <a:lnTo>
                    <a:pt x="2813" y="1674"/>
                  </a:lnTo>
                  <a:lnTo>
                    <a:pt x="2811" y="1678"/>
                  </a:lnTo>
                  <a:lnTo>
                    <a:pt x="2809" y="1681"/>
                  </a:lnTo>
                  <a:lnTo>
                    <a:pt x="2806" y="1686"/>
                  </a:lnTo>
                  <a:lnTo>
                    <a:pt x="2805" y="1691"/>
                  </a:lnTo>
                  <a:lnTo>
                    <a:pt x="2805" y="1699"/>
                  </a:lnTo>
                  <a:lnTo>
                    <a:pt x="2805" y="1865"/>
                  </a:lnTo>
                  <a:close/>
                  <a:moveTo>
                    <a:pt x="2728" y="1775"/>
                  </a:moveTo>
                  <a:lnTo>
                    <a:pt x="2726" y="1788"/>
                  </a:lnTo>
                  <a:lnTo>
                    <a:pt x="2725" y="1799"/>
                  </a:lnTo>
                  <a:lnTo>
                    <a:pt x="2724" y="1811"/>
                  </a:lnTo>
                  <a:lnTo>
                    <a:pt x="2721" y="1820"/>
                  </a:lnTo>
                  <a:lnTo>
                    <a:pt x="2717" y="1829"/>
                  </a:lnTo>
                  <a:lnTo>
                    <a:pt x="2713" y="1837"/>
                  </a:lnTo>
                  <a:lnTo>
                    <a:pt x="2708" y="1845"/>
                  </a:lnTo>
                  <a:lnTo>
                    <a:pt x="2704" y="1850"/>
                  </a:lnTo>
                  <a:lnTo>
                    <a:pt x="2697" y="1856"/>
                  </a:lnTo>
                  <a:lnTo>
                    <a:pt x="2691" y="1861"/>
                  </a:lnTo>
                  <a:lnTo>
                    <a:pt x="2684" y="1865"/>
                  </a:lnTo>
                  <a:lnTo>
                    <a:pt x="2676" y="1869"/>
                  </a:lnTo>
                  <a:lnTo>
                    <a:pt x="2668" y="1871"/>
                  </a:lnTo>
                  <a:lnTo>
                    <a:pt x="2660" y="1872"/>
                  </a:lnTo>
                  <a:lnTo>
                    <a:pt x="2651" y="1873"/>
                  </a:lnTo>
                  <a:lnTo>
                    <a:pt x="2642" y="1874"/>
                  </a:lnTo>
                  <a:lnTo>
                    <a:pt x="2633" y="1873"/>
                  </a:lnTo>
                  <a:lnTo>
                    <a:pt x="2625" y="1872"/>
                  </a:lnTo>
                  <a:lnTo>
                    <a:pt x="2616" y="1871"/>
                  </a:lnTo>
                  <a:lnTo>
                    <a:pt x="2608" y="1869"/>
                  </a:lnTo>
                  <a:lnTo>
                    <a:pt x="2601" y="1865"/>
                  </a:lnTo>
                  <a:lnTo>
                    <a:pt x="2594" y="1861"/>
                  </a:lnTo>
                  <a:lnTo>
                    <a:pt x="2587" y="1856"/>
                  </a:lnTo>
                  <a:lnTo>
                    <a:pt x="2582" y="1850"/>
                  </a:lnTo>
                  <a:lnTo>
                    <a:pt x="2576" y="1845"/>
                  </a:lnTo>
                  <a:lnTo>
                    <a:pt x="2571" y="1837"/>
                  </a:lnTo>
                  <a:lnTo>
                    <a:pt x="2567" y="1829"/>
                  </a:lnTo>
                  <a:lnTo>
                    <a:pt x="2563" y="1820"/>
                  </a:lnTo>
                  <a:lnTo>
                    <a:pt x="2561" y="1811"/>
                  </a:lnTo>
                  <a:lnTo>
                    <a:pt x="2559" y="1799"/>
                  </a:lnTo>
                  <a:lnTo>
                    <a:pt x="2558" y="1788"/>
                  </a:lnTo>
                  <a:lnTo>
                    <a:pt x="2558" y="1775"/>
                  </a:lnTo>
                  <a:lnTo>
                    <a:pt x="2558" y="1732"/>
                  </a:lnTo>
                  <a:lnTo>
                    <a:pt x="2558" y="1720"/>
                  </a:lnTo>
                  <a:lnTo>
                    <a:pt x="2559" y="1708"/>
                  </a:lnTo>
                  <a:lnTo>
                    <a:pt x="2561" y="1698"/>
                  </a:lnTo>
                  <a:lnTo>
                    <a:pt x="2563" y="1688"/>
                  </a:lnTo>
                  <a:lnTo>
                    <a:pt x="2567" y="1679"/>
                  </a:lnTo>
                  <a:lnTo>
                    <a:pt x="2571" y="1671"/>
                  </a:lnTo>
                  <a:lnTo>
                    <a:pt x="2576" y="1664"/>
                  </a:lnTo>
                  <a:lnTo>
                    <a:pt x="2582" y="1657"/>
                  </a:lnTo>
                  <a:lnTo>
                    <a:pt x="2587" y="1652"/>
                  </a:lnTo>
                  <a:lnTo>
                    <a:pt x="2594" y="1647"/>
                  </a:lnTo>
                  <a:lnTo>
                    <a:pt x="2601" y="1642"/>
                  </a:lnTo>
                  <a:lnTo>
                    <a:pt x="2608" y="1639"/>
                  </a:lnTo>
                  <a:lnTo>
                    <a:pt x="2616" y="1637"/>
                  </a:lnTo>
                  <a:lnTo>
                    <a:pt x="2625" y="1636"/>
                  </a:lnTo>
                  <a:lnTo>
                    <a:pt x="2633" y="1635"/>
                  </a:lnTo>
                  <a:lnTo>
                    <a:pt x="2642" y="1633"/>
                  </a:lnTo>
                  <a:lnTo>
                    <a:pt x="2651" y="1635"/>
                  </a:lnTo>
                  <a:lnTo>
                    <a:pt x="2660" y="1636"/>
                  </a:lnTo>
                  <a:lnTo>
                    <a:pt x="2668" y="1637"/>
                  </a:lnTo>
                  <a:lnTo>
                    <a:pt x="2676" y="1639"/>
                  </a:lnTo>
                  <a:lnTo>
                    <a:pt x="2684" y="1642"/>
                  </a:lnTo>
                  <a:lnTo>
                    <a:pt x="2691" y="1647"/>
                  </a:lnTo>
                  <a:lnTo>
                    <a:pt x="2697" y="1652"/>
                  </a:lnTo>
                  <a:lnTo>
                    <a:pt x="2704" y="1657"/>
                  </a:lnTo>
                  <a:lnTo>
                    <a:pt x="2708" y="1664"/>
                  </a:lnTo>
                  <a:lnTo>
                    <a:pt x="2713" y="1671"/>
                  </a:lnTo>
                  <a:lnTo>
                    <a:pt x="2717" y="1679"/>
                  </a:lnTo>
                  <a:lnTo>
                    <a:pt x="2721" y="1688"/>
                  </a:lnTo>
                  <a:lnTo>
                    <a:pt x="2724" y="1698"/>
                  </a:lnTo>
                  <a:lnTo>
                    <a:pt x="2725" y="1708"/>
                  </a:lnTo>
                  <a:lnTo>
                    <a:pt x="2726" y="1720"/>
                  </a:lnTo>
                  <a:lnTo>
                    <a:pt x="2728" y="1732"/>
                  </a:lnTo>
                  <a:lnTo>
                    <a:pt x="2728" y="1775"/>
                  </a:lnTo>
                  <a:close/>
                  <a:moveTo>
                    <a:pt x="2685" y="1732"/>
                  </a:moveTo>
                  <a:lnTo>
                    <a:pt x="2685" y="1732"/>
                  </a:lnTo>
                  <a:lnTo>
                    <a:pt x="2685" y="1717"/>
                  </a:lnTo>
                  <a:lnTo>
                    <a:pt x="2683" y="1705"/>
                  </a:lnTo>
                  <a:lnTo>
                    <a:pt x="2680" y="1695"/>
                  </a:lnTo>
                  <a:lnTo>
                    <a:pt x="2675" y="1687"/>
                  </a:lnTo>
                  <a:lnTo>
                    <a:pt x="2673" y="1683"/>
                  </a:lnTo>
                  <a:lnTo>
                    <a:pt x="2669" y="1680"/>
                  </a:lnTo>
                  <a:lnTo>
                    <a:pt x="2666" y="1678"/>
                  </a:lnTo>
                  <a:lnTo>
                    <a:pt x="2661" y="1675"/>
                  </a:lnTo>
                  <a:lnTo>
                    <a:pt x="2652" y="1673"/>
                  </a:lnTo>
                  <a:lnTo>
                    <a:pt x="2642" y="1672"/>
                  </a:lnTo>
                  <a:lnTo>
                    <a:pt x="2632" y="1673"/>
                  </a:lnTo>
                  <a:lnTo>
                    <a:pt x="2623" y="1675"/>
                  </a:lnTo>
                  <a:lnTo>
                    <a:pt x="2619" y="1678"/>
                  </a:lnTo>
                  <a:lnTo>
                    <a:pt x="2616" y="1680"/>
                  </a:lnTo>
                  <a:lnTo>
                    <a:pt x="2612" y="1683"/>
                  </a:lnTo>
                  <a:lnTo>
                    <a:pt x="2609" y="1687"/>
                  </a:lnTo>
                  <a:lnTo>
                    <a:pt x="2604" y="1695"/>
                  </a:lnTo>
                  <a:lnTo>
                    <a:pt x="2602" y="1705"/>
                  </a:lnTo>
                  <a:lnTo>
                    <a:pt x="2600" y="1717"/>
                  </a:lnTo>
                  <a:lnTo>
                    <a:pt x="2599" y="1732"/>
                  </a:lnTo>
                  <a:lnTo>
                    <a:pt x="2599" y="1775"/>
                  </a:lnTo>
                  <a:lnTo>
                    <a:pt x="2600" y="1790"/>
                  </a:lnTo>
                  <a:lnTo>
                    <a:pt x="2602" y="1803"/>
                  </a:lnTo>
                  <a:lnTo>
                    <a:pt x="2604" y="1813"/>
                  </a:lnTo>
                  <a:lnTo>
                    <a:pt x="2609" y="1821"/>
                  </a:lnTo>
                  <a:lnTo>
                    <a:pt x="2612" y="1824"/>
                  </a:lnTo>
                  <a:lnTo>
                    <a:pt x="2616" y="1828"/>
                  </a:lnTo>
                  <a:lnTo>
                    <a:pt x="2619" y="1830"/>
                  </a:lnTo>
                  <a:lnTo>
                    <a:pt x="2623" y="1832"/>
                  </a:lnTo>
                  <a:lnTo>
                    <a:pt x="2632" y="1834"/>
                  </a:lnTo>
                  <a:lnTo>
                    <a:pt x="2642" y="1836"/>
                  </a:lnTo>
                  <a:lnTo>
                    <a:pt x="2652" y="1834"/>
                  </a:lnTo>
                  <a:lnTo>
                    <a:pt x="2661" y="1832"/>
                  </a:lnTo>
                  <a:lnTo>
                    <a:pt x="2666" y="1830"/>
                  </a:lnTo>
                  <a:lnTo>
                    <a:pt x="2669" y="1828"/>
                  </a:lnTo>
                  <a:lnTo>
                    <a:pt x="2673" y="1824"/>
                  </a:lnTo>
                  <a:lnTo>
                    <a:pt x="2675" y="1821"/>
                  </a:lnTo>
                  <a:lnTo>
                    <a:pt x="2680" y="1813"/>
                  </a:lnTo>
                  <a:lnTo>
                    <a:pt x="2683" y="1803"/>
                  </a:lnTo>
                  <a:lnTo>
                    <a:pt x="2685" y="1790"/>
                  </a:lnTo>
                  <a:lnTo>
                    <a:pt x="2685" y="1775"/>
                  </a:lnTo>
                  <a:lnTo>
                    <a:pt x="2685" y="1732"/>
                  </a:lnTo>
                  <a:close/>
                  <a:moveTo>
                    <a:pt x="2530" y="1710"/>
                  </a:moveTo>
                  <a:lnTo>
                    <a:pt x="2530" y="1720"/>
                  </a:lnTo>
                  <a:lnTo>
                    <a:pt x="2528" y="1729"/>
                  </a:lnTo>
                  <a:lnTo>
                    <a:pt x="2526" y="1738"/>
                  </a:lnTo>
                  <a:lnTo>
                    <a:pt x="2523" y="1745"/>
                  </a:lnTo>
                  <a:lnTo>
                    <a:pt x="2519" y="1752"/>
                  </a:lnTo>
                  <a:lnTo>
                    <a:pt x="2516" y="1757"/>
                  </a:lnTo>
                  <a:lnTo>
                    <a:pt x="2510" y="1763"/>
                  </a:lnTo>
                  <a:lnTo>
                    <a:pt x="2504" y="1767"/>
                  </a:lnTo>
                  <a:lnTo>
                    <a:pt x="2498" y="1772"/>
                  </a:lnTo>
                  <a:lnTo>
                    <a:pt x="2492" y="1775"/>
                  </a:lnTo>
                  <a:lnTo>
                    <a:pt x="2485" y="1778"/>
                  </a:lnTo>
                  <a:lnTo>
                    <a:pt x="2477" y="1780"/>
                  </a:lnTo>
                  <a:lnTo>
                    <a:pt x="2461" y="1783"/>
                  </a:lnTo>
                  <a:lnTo>
                    <a:pt x="2444" y="1783"/>
                  </a:lnTo>
                  <a:lnTo>
                    <a:pt x="2438" y="1783"/>
                  </a:lnTo>
                  <a:lnTo>
                    <a:pt x="2430" y="1783"/>
                  </a:lnTo>
                  <a:lnTo>
                    <a:pt x="2423" y="1783"/>
                  </a:lnTo>
                  <a:lnTo>
                    <a:pt x="2417" y="1782"/>
                  </a:lnTo>
                  <a:lnTo>
                    <a:pt x="2417" y="1865"/>
                  </a:lnTo>
                  <a:lnTo>
                    <a:pt x="2417" y="1867"/>
                  </a:lnTo>
                  <a:lnTo>
                    <a:pt x="2416" y="1870"/>
                  </a:lnTo>
                  <a:lnTo>
                    <a:pt x="2414" y="1871"/>
                  </a:lnTo>
                  <a:lnTo>
                    <a:pt x="2412" y="1871"/>
                  </a:lnTo>
                  <a:lnTo>
                    <a:pt x="2382" y="1871"/>
                  </a:lnTo>
                  <a:lnTo>
                    <a:pt x="2380" y="1871"/>
                  </a:lnTo>
                  <a:lnTo>
                    <a:pt x="2378" y="1870"/>
                  </a:lnTo>
                  <a:lnTo>
                    <a:pt x="2376" y="1867"/>
                  </a:lnTo>
                  <a:lnTo>
                    <a:pt x="2375" y="1865"/>
                  </a:lnTo>
                  <a:lnTo>
                    <a:pt x="2375" y="1648"/>
                  </a:lnTo>
                  <a:lnTo>
                    <a:pt x="2376" y="1644"/>
                  </a:lnTo>
                  <a:lnTo>
                    <a:pt x="2379" y="1640"/>
                  </a:lnTo>
                  <a:lnTo>
                    <a:pt x="2381" y="1639"/>
                  </a:lnTo>
                  <a:lnTo>
                    <a:pt x="2386" y="1638"/>
                  </a:lnTo>
                  <a:lnTo>
                    <a:pt x="2398" y="1637"/>
                  </a:lnTo>
                  <a:lnTo>
                    <a:pt x="2413" y="1635"/>
                  </a:lnTo>
                  <a:lnTo>
                    <a:pt x="2428" y="1635"/>
                  </a:lnTo>
                  <a:lnTo>
                    <a:pt x="2444" y="1633"/>
                  </a:lnTo>
                  <a:lnTo>
                    <a:pt x="2461" y="1635"/>
                  </a:lnTo>
                  <a:lnTo>
                    <a:pt x="2477" y="1638"/>
                  </a:lnTo>
                  <a:lnTo>
                    <a:pt x="2485" y="1639"/>
                  </a:lnTo>
                  <a:lnTo>
                    <a:pt x="2492" y="1642"/>
                  </a:lnTo>
                  <a:lnTo>
                    <a:pt x="2498" y="1646"/>
                  </a:lnTo>
                  <a:lnTo>
                    <a:pt x="2504" y="1649"/>
                  </a:lnTo>
                  <a:lnTo>
                    <a:pt x="2510" y="1654"/>
                  </a:lnTo>
                  <a:lnTo>
                    <a:pt x="2516" y="1660"/>
                  </a:lnTo>
                  <a:lnTo>
                    <a:pt x="2519" y="1665"/>
                  </a:lnTo>
                  <a:lnTo>
                    <a:pt x="2523" y="1672"/>
                  </a:lnTo>
                  <a:lnTo>
                    <a:pt x="2526" y="1680"/>
                  </a:lnTo>
                  <a:lnTo>
                    <a:pt x="2528" y="1688"/>
                  </a:lnTo>
                  <a:lnTo>
                    <a:pt x="2530" y="1697"/>
                  </a:lnTo>
                  <a:lnTo>
                    <a:pt x="2530" y="1707"/>
                  </a:lnTo>
                  <a:lnTo>
                    <a:pt x="2530" y="1710"/>
                  </a:lnTo>
                  <a:close/>
                  <a:moveTo>
                    <a:pt x="2489" y="1707"/>
                  </a:moveTo>
                  <a:lnTo>
                    <a:pt x="2489" y="1707"/>
                  </a:lnTo>
                  <a:lnTo>
                    <a:pt x="2488" y="1698"/>
                  </a:lnTo>
                  <a:lnTo>
                    <a:pt x="2486" y="1690"/>
                  </a:lnTo>
                  <a:lnTo>
                    <a:pt x="2482" y="1683"/>
                  </a:lnTo>
                  <a:lnTo>
                    <a:pt x="2478" y="1679"/>
                  </a:lnTo>
                  <a:lnTo>
                    <a:pt x="2471" y="1675"/>
                  </a:lnTo>
                  <a:lnTo>
                    <a:pt x="2463" y="1672"/>
                  </a:lnTo>
                  <a:lnTo>
                    <a:pt x="2454" y="1671"/>
                  </a:lnTo>
                  <a:lnTo>
                    <a:pt x="2444" y="1670"/>
                  </a:lnTo>
                  <a:lnTo>
                    <a:pt x="2441" y="1671"/>
                  </a:lnTo>
                  <a:lnTo>
                    <a:pt x="2438" y="1671"/>
                  </a:lnTo>
                  <a:lnTo>
                    <a:pt x="2435" y="1671"/>
                  </a:lnTo>
                  <a:lnTo>
                    <a:pt x="2430" y="1671"/>
                  </a:lnTo>
                  <a:lnTo>
                    <a:pt x="2427" y="1671"/>
                  </a:lnTo>
                  <a:lnTo>
                    <a:pt x="2423" y="1671"/>
                  </a:lnTo>
                  <a:lnTo>
                    <a:pt x="2420" y="1671"/>
                  </a:lnTo>
                  <a:lnTo>
                    <a:pt x="2417" y="1672"/>
                  </a:lnTo>
                  <a:lnTo>
                    <a:pt x="2417" y="1747"/>
                  </a:lnTo>
                  <a:lnTo>
                    <a:pt x="2420" y="1747"/>
                  </a:lnTo>
                  <a:lnTo>
                    <a:pt x="2423" y="1747"/>
                  </a:lnTo>
                  <a:lnTo>
                    <a:pt x="2427" y="1747"/>
                  </a:lnTo>
                  <a:lnTo>
                    <a:pt x="2431" y="1747"/>
                  </a:lnTo>
                  <a:lnTo>
                    <a:pt x="2435" y="1747"/>
                  </a:lnTo>
                  <a:lnTo>
                    <a:pt x="2438" y="1748"/>
                  </a:lnTo>
                  <a:lnTo>
                    <a:pt x="2441" y="1748"/>
                  </a:lnTo>
                  <a:lnTo>
                    <a:pt x="2444" y="1748"/>
                  </a:lnTo>
                  <a:lnTo>
                    <a:pt x="2455" y="1747"/>
                  </a:lnTo>
                  <a:lnTo>
                    <a:pt x="2464" y="1746"/>
                  </a:lnTo>
                  <a:lnTo>
                    <a:pt x="2472" y="1742"/>
                  </a:lnTo>
                  <a:lnTo>
                    <a:pt x="2478" y="1738"/>
                  </a:lnTo>
                  <a:lnTo>
                    <a:pt x="2482" y="1733"/>
                  </a:lnTo>
                  <a:lnTo>
                    <a:pt x="2486" y="1727"/>
                  </a:lnTo>
                  <a:lnTo>
                    <a:pt x="2488" y="1719"/>
                  </a:lnTo>
                  <a:lnTo>
                    <a:pt x="2489" y="1710"/>
                  </a:lnTo>
                  <a:lnTo>
                    <a:pt x="2489" y="1707"/>
                  </a:lnTo>
                  <a:close/>
                  <a:moveTo>
                    <a:pt x="2334" y="1865"/>
                  </a:moveTo>
                  <a:lnTo>
                    <a:pt x="2334" y="1867"/>
                  </a:lnTo>
                  <a:lnTo>
                    <a:pt x="2332" y="1870"/>
                  </a:lnTo>
                  <a:lnTo>
                    <a:pt x="2331" y="1871"/>
                  </a:lnTo>
                  <a:lnTo>
                    <a:pt x="2329" y="1871"/>
                  </a:lnTo>
                  <a:lnTo>
                    <a:pt x="2299" y="1871"/>
                  </a:lnTo>
                  <a:lnTo>
                    <a:pt x="2297" y="1871"/>
                  </a:lnTo>
                  <a:lnTo>
                    <a:pt x="2294" y="1870"/>
                  </a:lnTo>
                  <a:lnTo>
                    <a:pt x="2293" y="1867"/>
                  </a:lnTo>
                  <a:lnTo>
                    <a:pt x="2293" y="1865"/>
                  </a:lnTo>
                  <a:lnTo>
                    <a:pt x="2293" y="1691"/>
                  </a:lnTo>
                  <a:lnTo>
                    <a:pt x="2292" y="1683"/>
                  </a:lnTo>
                  <a:lnTo>
                    <a:pt x="2290" y="1679"/>
                  </a:lnTo>
                  <a:lnTo>
                    <a:pt x="2286" y="1677"/>
                  </a:lnTo>
                  <a:lnTo>
                    <a:pt x="2281" y="1675"/>
                  </a:lnTo>
                  <a:lnTo>
                    <a:pt x="2220" y="1675"/>
                  </a:lnTo>
                  <a:lnTo>
                    <a:pt x="2215" y="1677"/>
                  </a:lnTo>
                  <a:lnTo>
                    <a:pt x="2211" y="1679"/>
                  </a:lnTo>
                  <a:lnTo>
                    <a:pt x="2209" y="1683"/>
                  </a:lnTo>
                  <a:lnTo>
                    <a:pt x="2208" y="1691"/>
                  </a:lnTo>
                  <a:lnTo>
                    <a:pt x="2208" y="1865"/>
                  </a:lnTo>
                  <a:lnTo>
                    <a:pt x="2208" y="1867"/>
                  </a:lnTo>
                  <a:lnTo>
                    <a:pt x="2207" y="1870"/>
                  </a:lnTo>
                  <a:lnTo>
                    <a:pt x="2204" y="1871"/>
                  </a:lnTo>
                  <a:lnTo>
                    <a:pt x="2202" y="1871"/>
                  </a:lnTo>
                  <a:lnTo>
                    <a:pt x="2172" y="1871"/>
                  </a:lnTo>
                  <a:lnTo>
                    <a:pt x="2170" y="1871"/>
                  </a:lnTo>
                  <a:lnTo>
                    <a:pt x="2168" y="1870"/>
                  </a:lnTo>
                  <a:lnTo>
                    <a:pt x="2167" y="1867"/>
                  </a:lnTo>
                  <a:lnTo>
                    <a:pt x="2167" y="1865"/>
                  </a:lnTo>
                  <a:lnTo>
                    <a:pt x="2167" y="1691"/>
                  </a:lnTo>
                  <a:lnTo>
                    <a:pt x="2168" y="1678"/>
                  </a:lnTo>
                  <a:lnTo>
                    <a:pt x="2170" y="1666"/>
                  </a:lnTo>
                  <a:lnTo>
                    <a:pt x="2171" y="1662"/>
                  </a:lnTo>
                  <a:lnTo>
                    <a:pt x="2173" y="1657"/>
                  </a:lnTo>
                  <a:lnTo>
                    <a:pt x="2176" y="1653"/>
                  </a:lnTo>
                  <a:lnTo>
                    <a:pt x="2179" y="1649"/>
                  </a:lnTo>
                  <a:lnTo>
                    <a:pt x="2183" y="1646"/>
                  </a:lnTo>
                  <a:lnTo>
                    <a:pt x="2186" y="1644"/>
                  </a:lnTo>
                  <a:lnTo>
                    <a:pt x="2191" y="1641"/>
                  </a:lnTo>
                  <a:lnTo>
                    <a:pt x="2195" y="1640"/>
                  </a:lnTo>
                  <a:lnTo>
                    <a:pt x="2207" y="1637"/>
                  </a:lnTo>
                  <a:lnTo>
                    <a:pt x="2220" y="1637"/>
                  </a:lnTo>
                  <a:lnTo>
                    <a:pt x="2281" y="1637"/>
                  </a:lnTo>
                  <a:lnTo>
                    <a:pt x="2293" y="1637"/>
                  </a:lnTo>
                  <a:lnTo>
                    <a:pt x="2305" y="1640"/>
                  </a:lnTo>
                  <a:lnTo>
                    <a:pt x="2310" y="1641"/>
                  </a:lnTo>
                  <a:lnTo>
                    <a:pt x="2315" y="1644"/>
                  </a:lnTo>
                  <a:lnTo>
                    <a:pt x="2318" y="1646"/>
                  </a:lnTo>
                  <a:lnTo>
                    <a:pt x="2322" y="1649"/>
                  </a:lnTo>
                  <a:lnTo>
                    <a:pt x="2325" y="1653"/>
                  </a:lnTo>
                  <a:lnTo>
                    <a:pt x="2327" y="1657"/>
                  </a:lnTo>
                  <a:lnTo>
                    <a:pt x="2330" y="1662"/>
                  </a:lnTo>
                  <a:lnTo>
                    <a:pt x="2331" y="1666"/>
                  </a:lnTo>
                  <a:lnTo>
                    <a:pt x="2333" y="1678"/>
                  </a:lnTo>
                  <a:lnTo>
                    <a:pt x="2334" y="1691"/>
                  </a:lnTo>
                  <a:lnTo>
                    <a:pt x="2334" y="1865"/>
                  </a:lnTo>
                  <a:close/>
                  <a:moveTo>
                    <a:pt x="1894" y="1867"/>
                  </a:moveTo>
                  <a:lnTo>
                    <a:pt x="1894" y="1866"/>
                  </a:lnTo>
                  <a:lnTo>
                    <a:pt x="1895" y="1865"/>
                  </a:lnTo>
                  <a:lnTo>
                    <a:pt x="1942" y="1773"/>
                  </a:lnTo>
                  <a:lnTo>
                    <a:pt x="1933" y="1769"/>
                  </a:lnTo>
                  <a:lnTo>
                    <a:pt x="1925" y="1763"/>
                  </a:lnTo>
                  <a:lnTo>
                    <a:pt x="1918" y="1757"/>
                  </a:lnTo>
                  <a:lnTo>
                    <a:pt x="1912" y="1749"/>
                  </a:lnTo>
                  <a:lnTo>
                    <a:pt x="1908" y="1741"/>
                  </a:lnTo>
                  <a:lnTo>
                    <a:pt x="1904" y="1731"/>
                  </a:lnTo>
                  <a:lnTo>
                    <a:pt x="1902" y="1721"/>
                  </a:lnTo>
                  <a:lnTo>
                    <a:pt x="1901" y="1708"/>
                  </a:lnTo>
                  <a:lnTo>
                    <a:pt x="1901" y="1705"/>
                  </a:lnTo>
                  <a:lnTo>
                    <a:pt x="1902" y="1696"/>
                  </a:lnTo>
                  <a:lnTo>
                    <a:pt x="1903" y="1687"/>
                  </a:lnTo>
                  <a:lnTo>
                    <a:pt x="1906" y="1679"/>
                  </a:lnTo>
                  <a:lnTo>
                    <a:pt x="1908" y="1671"/>
                  </a:lnTo>
                  <a:lnTo>
                    <a:pt x="1912" y="1665"/>
                  </a:lnTo>
                  <a:lnTo>
                    <a:pt x="1917" y="1660"/>
                  </a:lnTo>
                  <a:lnTo>
                    <a:pt x="1922" y="1654"/>
                  </a:lnTo>
                  <a:lnTo>
                    <a:pt x="1927" y="1649"/>
                  </a:lnTo>
                  <a:lnTo>
                    <a:pt x="1933" y="1646"/>
                  </a:lnTo>
                  <a:lnTo>
                    <a:pt x="1940" y="1642"/>
                  </a:lnTo>
                  <a:lnTo>
                    <a:pt x="1947" y="1640"/>
                  </a:lnTo>
                  <a:lnTo>
                    <a:pt x="1955" y="1638"/>
                  </a:lnTo>
                  <a:lnTo>
                    <a:pt x="1971" y="1635"/>
                  </a:lnTo>
                  <a:lnTo>
                    <a:pt x="1988" y="1633"/>
                  </a:lnTo>
                  <a:lnTo>
                    <a:pt x="2004" y="1635"/>
                  </a:lnTo>
                  <a:lnTo>
                    <a:pt x="2018" y="1635"/>
                  </a:lnTo>
                  <a:lnTo>
                    <a:pt x="2033" y="1637"/>
                  </a:lnTo>
                  <a:lnTo>
                    <a:pt x="2046" y="1638"/>
                  </a:lnTo>
                  <a:lnTo>
                    <a:pt x="2050" y="1639"/>
                  </a:lnTo>
                  <a:lnTo>
                    <a:pt x="2053" y="1640"/>
                  </a:lnTo>
                  <a:lnTo>
                    <a:pt x="2055" y="1644"/>
                  </a:lnTo>
                  <a:lnTo>
                    <a:pt x="2055" y="1648"/>
                  </a:lnTo>
                  <a:lnTo>
                    <a:pt x="2055" y="1865"/>
                  </a:lnTo>
                  <a:lnTo>
                    <a:pt x="2055" y="1867"/>
                  </a:lnTo>
                  <a:lnTo>
                    <a:pt x="2054" y="1870"/>
                  </a:lnTo>
                  <a:lnTo>
                    <a:pt x="2051" y="1871"/>
                  </a:lnTo>
                  <a:lnTo>
                    <a:pt x="2049" y="1871"/>
                  </a:lnTo>
                  <a:lnTo>
                    <a:pt x="2020" y="1871"/>
                  </a:lnTo>
                  <a:lnTo>
                    <a:pt x="2017" y="1871"/>
                  </a:lnTo>
                  <a:lnTo>
                    <a:pt x="2015" y="1870"/>
                  </a:lnTo>
                  <a:lnTo>
                    <a:pt x="2014" y="1867"/>
                  </a:lnTo>
                  <a:lnTo>
                    <a:pt x="2014" y="1865"/>
                  </a:lnTo>
                  <a:lnTo>
                    <a:pt x="2014" y="1780"/>
                  </a:lnTo>
                  <a:lnTo>
                    <a:pt x="2008" y="1780"/>
                  </a:lnTo>
                  <a:lnTo>
                    <a:pt x="2001" y="1780"/>
                  </a:lnTo>
                  <a:lnTo>
                    <a:pt x="1993" y="1781"/>
                  </a:lnTo>
                  <a:lnTo>
                    <a:pt x="1988" y="1781"/>
                  </a:lnTo>
                  <a:lnTo>
                    <a:pt x="1983" y="1781"/>
                  </a:lnTo>
                  <a:lnTo>
                    <a:pt x="1941" y="1865"/>
                  </a:lnTo>
                  <a:lnTo>
                    <a:pt x="1940" y="1867"/>
                  </a:lnTo>
                  <a:lnTo>
                    <a:pt x="1937" y="1870"/>
                  </a:lnTo>
                  <a:lnTo>
                    <a:pt x="1936" y="1871"/>
                  </a:lnTo>
                  <a:lnTo>
                    <a:pt x="1934" y="1871"/>
                  </a:lnTo>
                  <a:lnTo>
                    <a:pt x="1898" y="1871"/>
                  </a:lnTo>
                  <a:lnTo>
                    <a:pt x="1896" y="1871"/>
                  </a:lnTo>
                  <a:lnTo>
                    <a:pt x="1895" y="1871"/>
                  </a:lnTo>
                  <a:lnTo>
                    <a:pt x="1894" y="1870"/>
                  </a:lnTo>
                  <a:lnTo>
                    <a:pt x="1894" y="1867"/>
                  </a:lnTo>
                  <a:close/>
                  <a:moveTo>
                    <a:pt x="1943" y="1708"/>
                  </a:moveTo>
                  <a:lnTo>
                    <a:pt x="1943" y="1708"/>
                  </a:lnTo>
                  <a:lnTo>
                    <a:pt x="1943" y="1717"/>
                  </a:lnTo>
                  <a:lnTo>
                    <a:pt x="1945" y="1725"/>
                  </a:lnTo>
                  <a:lnTo>
                    <a:pt x="1949" y="1732"/>
                  </a:lnTo>
                  <a:lnTo>
                    <a:pt x="1953" y="1737"/>
                  </a:lnTo>
                  <a:lnTo>
                    <a:pt x="1959" y="1740"/>
                  </a:lnTo>
                  <a:lnTo>
                    <a:pt x="1967" y="1742"/>
                  </a:lnTo>
                  <a:lnTo>
                    <a:pt x="1976" y="1745"/>
                  </a:lnTo>
                  <a:lnTo>
                    <a:pt x="1988" y="1745"/>
                  </a:lnTo>
                  <a:lnTo>
                    <a:pt x="1990" y="1745"/>
                  </a:lnTo>
                  <a:lnTo>
                    <a:pt x="1993" y="1745"/>
                  </a:lnTo>
                  <a:lnTo>
                    <a:pt x="1997" y="1745"/>
                  </a:lnTo>
                  <a:lnTo>
                    <a:pt x="2000" y="1745"/>
                  </a:lnTo>
                  <a:lnTo>
                    <a:pt x="2005" y="1745"/>
                  </a:lnTo>
                  <a:lnTo>
                    <a:pt x="2008" y="1744"/>
                  </a:lnTo>
                  <a:lnTo>
                    <a:pt x="2012" y="1744"/>
                  </a:lnTo>
                  <a:lnTo>
                    <a:pt x="2014" y="1744"/>
                  </a:lnTo>
                  <a:lnTo>
                    <a:pt x="2014" y="1673"/>
                  </a:lnTo>
                  <a:lnTo>
                    <a:pt x="2012" y="1672"/>
                  </a:lnTo>
                  <a:lnTo>
                    <a:pt x="2008" y="1672"/>
                  </a:lnTo>
                  <a:lnTo>
                    <a:pt x="2005" y="1672"/>
                  </a:lnTo>
                  <a:lnTo>
                    <a:pt x="2001" y="1672"/>
                  </a:lnTo>
                  <a:lnTo>
                    <a:pt x="1997" y="1672"/>
                  </a:lnTo>
                  <a:lnTo>
                    <a:pt x="1993" y="1672"/>
                  </a:lnTo>
                  <a:lnTo>
                    <a:pt x="1990" y="1672"/>
                  </a:lnTo>
                  <a:lnTo>
                    <a:pt x="1988" y="1672"/>
                  </a:lnTo>
                  <a:lnTo>
                    <a:pt x="1977" y="1672"/>
                  </a:lnTo>
                  <a:lnTo>
                    <a:pt x="1968" y="1673"/>
                  </a:lnTo>
                  <a:lnTo>
                    <a:pt x="1960" y="1677"/>
                  </a:lnTo>
                  <a:lnTo>
                    <a:pt x="1955" y="1680"/>
                  </a:lnTo>
                  <a:lnTo>
                    <a:pt x="1949" y="1685"/>
                  </a:lnTo>
                  <a:lnTo>
                    <a:pt x="1945" y="1690"/>
                  </a:lnTo>
                  <a:lnTo>
                    <a:pt x="1943" y="1697"/>
                  </a:lnTo>
                  <a:lnTo>
                    <a:pt x="1943" y="1705"/>
                  </a:lnTo>
                  <a:lnTo>
                    <a:pt x="1943" y="1708"/>
                  </a:lnTo>
                  <a:close/>
                  <a:moveTo>
                    <a:pt x="1872" y="1866"/>
                  </a:moveTo>
                  <a:lnTo>
                    <a:pt x="1871" y="1869"/>
                  </a:lnTo>
                  <a:lnTo>
                    <a:pt x="1870" y="1870"/>
                  </a:lnTo>
                  <a:lnTo>
                    <a:pt x="1869" y="1871"/>
                  </a:lnTo>
                  <a:lnTo>
                    <a:pt x="1867" y="1871"/>
                  </a:lnTo>
                  <a:lnTo>
                    <a:pt x="1835" y="1871"/>
                  </a:lnTo>
                  <a:lnTo>
                    <a:pt x="1833" y="1871"/>
                  </a:lnTo>
                  <a:lnTo>
                    <a:pt x="1831" y="1870"/>
                  </a:lnTo>
                  <a:lnTo>
                    <a:pt x="1830" y="1869"/>
                  </a:lnTo>
                  <a:lnTo>
                    <a:pt x="1829" y="1866"/>
                  </a:lnTo>
                  <a:lnTo>
                    <a:pt x="1815" y="1806"/>
                  </a:lnTo>
                  <a:lnTo>
                    <a:pt x="1747" y="1806"/>
                  </a:lnTo>
                  <a:lnTo>
                    <a:pt x="1733" y="1866"/>
                  </a:lnTo>
                  <a:lnTo>
                    <a:pt x="1732" y="1869"/>
                  </a:lnTo>
                  <a:lnTo>
                    <a:pt x="1731" y="1870"/>
                  </a:lnTo>
                  <a:lnTo>
                    <a:pt x="1729" y="1871"/>
                  </a:lnTo>
                  <a:lnTo>
                    <a:pt x="1728" y="1871"/>
                  </a:lnTo>
                  <a:lnTo>
                    <a:pt x="1696" y="1871"/>
                  </a:lnTo>
                  <a:lnTo>
                    <a:pt x="1693" y="1871"/>
                  </a:lnTo>
                  <a:lnTo>
                    <a:pt x="1692" y="1870"/>
                  </a:lnTo>
                  <a:lnTo>
                    <a:pt x="1691" y="1869"/>
                  </a:lnTo>
                  <a:lnTo>
                    <a:pt x="1690" y="1866"/>
                  </a:lnTo>
                  <a:lnTo>
                    <a:pt x="1690" y="1865"/>
                  </a:lnTo>
                  <a:lnTo>
                    <a:pt x="1690" y="1865"/>
                  </a:lnTo>
                  <a:lnTo>
                    <a:pt x="1691" y="1865"/>
                  </a:lnTo>
                  <a:lnTo>
                    <a:pt x="1691" y="1864"/>
                  </a:lnTo>
                  <a:lnTo>
                    <a:pt x="1740" y="1666"/>
                  </a:lnTo>
                  <a:lnTo>
                    <a:pt x="1743" y="1656"/>
                  </a:lnTo>
                  <a:lnTo>
                    <a:pt x="1747" y="1649"/>
                  </a:lnTo>
                  <a:lnTo>
                    <a:pt x="1753" y="1644"/>
                  </a:lnTo>
                  <a:lnTo>
                    <a:pt x="1758" y="1639"/>
                  </a:lnTo>
                  <a:lnTo>
                    <a:pt x="1764" y="1637"/>
                  </a:lnTo>
                  <a:lnTo>
                    <a:pt x="1770" y="1635"/>
                  </a:lnTo>
                  <a:lnTo>
                    <a:pt x="1776" y="1635"/>
                  </a:lnTo>
                  <a:lnTo>
                    <a:pt x="1781" y="1633"/>
                  </a:lnTo>
                  <a:lnTo>
                    <a:pt x="1786" y="1635"/>
                  </a:lnTo>
                  <a:lnTo>
                    <a:pt x="1792" y="1635"/>
                  </a:lnTo>
                  <a:lnTo>
                    <a:pt x="1798" y="1637"/>
                  </a:lnTo>
                  <a:lnTo>
                    <a:pt x="1804" y="1639"/>
                  </a:lnTo>
                  <a:lnTo>
                    <a:pt x="1810" y="1644"/>
                  </a:lnTo>
                  <a:lnTo>
                    <a:pt x="1814" y="1649"/>
                  </a:lnTo>
                  <a:lnTo>
                    <a:pt x="1819" y="1656"/>
                  </a:lnTo>
                  <a:lnTo>
                    <a:pt x="1822" y="1666"/>
                  </a:lnTo>
                  <a:lnTo>
                    <a:pt x="1871" y="1864"/>
                  </a:lnTo>
                  <a:lnTo>
                    <a:pt x="1871" y="1865"/>
                  </a:lnTo>
                  <a:lnTo>
                    <a:pt x="1871" y="1865"/>
                  </a:lnTo>
                  <a:lnTo>
                    <a:pt x="1871" y="1865"/>
                  </a:lnTo>
                  <a:lnTo>
                    <a:pt x="1872" y="1866"/>
                  </a:lnTo>
                  <a:close/>
                  <a:moveTo>
                    <a:pt x="1786" y="1677"/>
                  </a:moveTo>
                  <a:lnTo>
                    <a:pt x="1786" y="1677"/>
                  </a:lnTo>
                  <a:lnTo>
                    <a:pt x="1786" y="1673"/>
                  </a:lnTo>
                  <a:lnTo>
                    <a:pt x="1785" y="1672"/>
                  </a:lnTo>
                  <a:lnTo>
                    <a:pt x="1784" y="1671"/>
                  </a:lnTo>
                  <a:lnTo>
                    <a:pt x="1781" y="1671"/>
                  </a:lnTo>
                  <a:lnTo>
                    <a:pt x="1779" y="1671"/>
                  </a:lnTo>
                  <a:lnTo>
                    <a:pt x="1778" y="1672"/>
                  </a:lnTo>
                  <a:lnTo>
                    <a:pt x="1777" y="1673"/>
                  </a:lnTo>
                  <a:lnTo>
                    <a:pt x="1777" y="1677"/>
                  </a:lnTo>
                  <a:lnTo>
                    <a:pt x="1755" y="1770"/>
                  </a:lnTo>
                  <a:lnTo>
                    <a:pt x="1807" y="1770"/>
                  </a:lnTo>
                  <a:lnTo>
                    <a:pt x="1786" y="1677"/>
                  </a:lnTo>
                  <a:close/>
                  <a:moveTo>
                    <a:pt x="1670" y="1869"/>
                  </a:moveTo>
                  <a:lnTo>
                    <a:pt x="1670" y="1870"/>
                  </a:lnTo>
                  <a:lnTo>
                    <a:pt x="1668" y="1871"/>
                  </a:lnTo>
                  <a:lnTo>
                    <a:pt x="1667" y="1871"/>
                  </a:lnTo>
                  <a:lnTo>
                    <a:pt x="1665" y="1871"/>
                  </a:lnTo>
                  <a:lnTo>
                    <a:pt x="1625" y="1871"/>
                  </a:lnTo>
                  <a:lnTo>
                    <a:pt x="1621" y="1871"/>
                  </a:lnTo>
                  <a:lnTo>
                    <a:pt x="1618" y="1867"/>
                  </a:lnTo>
                  <a:lnTo>
                    <a:pt x="1550" y="1760"/>
                  </a:lnTo>
                  <a:lnTo>
                    <a:pt x="1550" y="1865"/>
                  </a:lnTo>
                  <a:lnTo>
                    <a:pt x="1550" y="1867"/>
                  </a:lnTo>
                  <a:lnTo>
                    <a:pt x="1549" y="1870"/>
                  </a:lnTo>
                  <a:lnTo>
                    <a:pt x="1546" y="1871"/>
                  </a:lnTo>
                  <a:lnTo>
                    <a:pt x="1544" y="1871"/>
                  </a:lnTo>
                  <a:lnTo>
                    <a:pt x="1514" y="1871"/>
                  </a:lnTo>
                  <a:lnTo>
                    <a:pt x="1512" y="1871"/>
                  </a:lnTo>
                  <a:lnTo>
                    <a:pt x="1510" y="1870"/>
                  </a:lnTo>
                  <a:lnTo>
                    <a:pt x="1509" y="1867"/>
                  </a:lnTo>
                  <a:lnTo>
                    <a:pt x="1509" y="1865"/>
                  </a:lnTo>
                  <a:lnTo>
                    <a:pt x="1509" y="1642"/>
                  </a:lnTo>
                  <a:lnTo>
                    <a:pt x="1509" y="1640"/>
                  </a:lnTo>
                  <a:lnTo>
                    <a:pt x="1510" y="1639"/>
                  </a:lnTo>
                  <a:lnTo>
                    <a:pt x="1512" y="1637"/>
                  </a:lnTo>
                  <a:lnTo>
                    <a:pt x="1514" y="1637"/>
                  </a:lnTo>
                  <a:lnTo>
                    <a:pt x="1544" y="1637"/>
                  </a:lnTo>
                  <a:lnTo>
                    <a:pt x="1546" y="1637"/>
                  </a:lnTo>
                  <a:lnTo>
                    <a:pt x="1549" y="1639"/>
                  </a:lnTo>
                  <a:lnTo>
                    <a:pt x="1550" y="1640"/>
                  </a:lnTo>
                  <a:lnTo>
                    <a:pt x="1550" y="1642"/>
                  </a:lnTo>
                  <a:lnTo>
                    <a:pt x="1550" y="1744"/>
                  </a:lnTo>
                  <a:lnTo>
                    <a:pt x="1623" y="1639"/>
                  </a:lnTo>
                  <a:lnTo>
                    <a:pt x="1624" y="1638"/>
                  </a:lnTo>
                  <a:lnTo>
                    <a:pt x="1626" y="1637"/>
                  </a:lnTo>
                  <a:lnTo>
                    <a:pt x="1627" y="1637"/>
                  </a:lnTo>
                  <a:lnTo>
                    <a:pt x="1630" y="1637"/>
                  </a:lnTo>
                  <a:lnTo>
                    <a:pt x="1664" y="1637"/>
                  </a:lnTo>
                  <a:lnTo>
                    <a:pt x="1666" y="1637"/>
                  </a:lnTo>
                  <a:lnTo>
                    <a:pt x="1668" y="1638"/>
                  </a:lnTo>
                  <a:lnTo>
                    <a:pt x="1670" y="1639"/>
                  </a:lnTo>
                  <a:lnTo>
                    <a:pt x="1670" y="1640"/>
                  </a:lnTo>
                  <a:lnTo>
                    <a:pt x="1670" y="1642"/>
                  </a:lnTo>
                  <a:lnTo>
                    <a:pt x="1667" y="1646"/>
                  </a:lnTo>
                  <a:lnTo>
                    <a:pt x="1591" y="1750"/>
                  </a:lnTo>
                  <a:lnTo>
                    <a:pt x="1668" y="1865"/>
                  </a:lnTo>
                  <a:lnTo>
                    <a:pt x="1670" y="1867"/>
                  </a:lnTo>
                  <a:lnTo>
                    <a:pt x="1670" y="1869"/>
                  </a:lnTo>
                  <a:close/>
                  <a:moveTo>
                    <a:pt x="1475" y="1866"/>
                  </a:moveTo>
                  <a:lnTo>
                    <a:pt x="1472" y="1867"/>
                  </a:lnTo>
                  <a:lnTo>
                    <a:pt x="1470" y="1869"/>
                  </a:lnTo>
                  <a:lnTo>
                    <a:pt x="1468" y="1870"/>
                  </a:lnTo>
                  <a:lnTo>
                    <a:pt x="1464" y="1871"/>
                  </a:lnTo>
                  <a:lnTo>
                    <a:pt x="1459" y="1871"/>
                  </a:lnTo>
                  <a:lnTo>
                    <a:pt x="1453" y="1872"/>
                  </a:lnTo>
                  <a:lnTo>
                    <a:pt x="1446" y="1873"/>
                  </a:lnTo>
                  <a:lnTo>
                    <a:pt x="1439" y="1873"/>
                  </a:lnTo>
                  <a:lnTo>
                    <a:pt x="1431" y="1874"/>
                  </a:lnTo>
                  <a:lnTo>
                    <a:pt x="1423" y="1874"/>
                  </a:lnTo>
                  <a:lnTo>
                    <a:pt x="1408" y="1873"/>
                  </a:lnTo>
                  <a:lnTo>
                    <a:pt x="1395" y="1870"/>
                  </a:lnTo>
                  <a:lnTo>
                    <a:pt x="1387" y="1867"/>
                  </a:lnTo>
                  <a:lnTo>
                    <a:pt x="1380" y="1864"/>
                  </a:lnTo>
                  <a:lnTo>
                    <a:pt x="1373" y="1859"/>
                  </a:lnTo>
                  <a:lnTo>
                    <a:pt x="1367" y="1855"/>
                  </a:lnTo>
                  <a:lnTo>
                    <a:pt x="1362" y="1849"/>
                  </a:lnTo>
                  <a:lnTo>
                    <a:pt x="1356" y="1842"/>
                  </a:lnTo>
                  <a:lnTo>
                    <a:pt x="1351" y="1834"/>
                  </a:lnTo>
                  <a:lnTo>
                    <a:pt x="1347" y="1825"/>
                  </a:lnTo>
                  <a:lnTo>
                    <a:pt x="1343" y="1815"/>
                  </a:lnTo>
                  <a:lnTo>
                    <a:pt x="1340" y="1804"/>
                  </a:lnTo>
                  <a:lnTo>
                    <a:pt x="1339" y="1791"/>
                  </a:lnTo>
                  <a:lnTo>
                    <a:pt x="1339" y="1778"/>
                  </a:lnTo>
                  <a:lnTo>
                    <a:pt x="1339" y="1731"/>
                  </a:lnTo>
                  <a:lnTo>
                    <a:pt x="1339" y="1716"/>
                  </a:lnTo>
                  <a:lnTo>
                    <a:pt x="1340" y="1704"/>
                  </a:lnTo>
                  <a:lnTo>
                    <a:pt x="1343" y="1692"/>
                  </a:lnTo>
                  <a:lnTo>
                    <a:pt x="1347" y="1682"/>
                  </a:lnTo>
                  <a:lnTo>
                    <a:pt x="1351" y="1673"/>
                  </a:lnTo>
                  <a:lnTo>
                    <a:pt x="1356" y="1665"/>
                  </a:lnTo>
                  <a:lnTo>
                    <a:pt x="1362" y="1658"/>
                  </a:lnTo>
                  <a:lnTo>
                    <a:pt x="1367" y="1653"/>
                  </a:lnTo>
                  <a:lnTo>
                    <a:pt x="1373" y="1648"/>
                  </a:lnTo>
                  <a:lnTo>
                    <a:pt x="1380" y="1644"/>
                  </a:lnTo>
                  <a:lnTo>
                    <a:pt x="1387" y="1640"/>
                  </a:lnTo>
                  <a:lnTo>
                    <a:pt x="1395" y="1638"/>
                  </a:lnTo>
                  <a:lnTo>
                    <a:pt x="1408" y="1635"/>
                  </a:lnTo>
                  <a:lnTo>
                    <a:pt x="1423" y="1633"/>
                  </a:lnTo>
                  <a:lnTo>
                    <a:pt x="1431" y="1635"/>
                  </a:lnTo>
                  <a:lnTo>
                    <a:pt x="1439" y="1635"/>
                  </a:lnTo>
                  <a:lnTo>
                    <a:pt x="1446" y="1636"/>
                  </a:lnTo>
                  <a:lnTo>
                    <a:pt x="1453" y="1636"/>
                  </a:lnTo>
                  <a:lnTo>
                    <a:pt x="1459" y="1637"/>
                  </a:lnTo>
                  <a:lnTo>
                    <a:pt x="1464" y="1638"/>
                  </a:lnTo>
                  <a:lnTo>
                    <a:pt x="1468" y="1639"/>
                  </a:lnTo>
                  <a:lnTo>
                    <a:pt x="1470" y="1639"/>
                  </a:lnTo>
                  <a:lnTo>
                    <a:pt x="1472" y="1640"/>
                  </a:lnTo>
                  <a:lnTo>
                    <a:pt x="1475" y="1641"/>
                  </a:lnTo>
                  <a:lnTo>
                    <a:pt x="1476" y="1644"/>
                  </a:lnTo>
                  <a:lnTo>
                    <a:pt x="1477" y="1646"/>
                  </a:lnTo>
                  <a:lnTo>
                    <a:pt x="1477" y="1667"/>
                  </a:lnTo>
                  <a:lnTo>
                    <a:pt x="1476" y="1670"/>
                  </a:lnTo>
                  <a:lnTo>
                    <a:pt x="1476" y="1672"/>
                  </a:lnTo>
                  <a:lnTo>
                    <a:pt x="1473" y="1673"/>
                  </a:lnTo>
                  <a:lnTo>
                    <a:pt x="1470" y="1674"/>
                  </a:lnTo>
                  <a:lnTo>
                    <a:pt x="1470" y="1674"/>
                  </a:lnTo>
                  <a:lnTo>
                    <a:pt x="1465" y="1674"/>
                  </a:lnTo>
                  <a:lnTo>
                    <a:pt x="1461" y="1673"/>
                  </a:lnTo>
                  <a:lnTo>
                    <a:pt x="1455" y="1673"/>
                  </a:lnTo>
                  <a:lnTo>
                    <a:pt x="1448" y="1672"/>
                  </a:lnTo>
                  <a:lnTo>
                    <a:pt x="1443" y="1672"/>
                  </a:lnTo>
                  <a:lnTo>
                    <a:pt x="1436" y="1672"/>
                  </a:lnTo>
                  <a:lnTo>
                    <a:pt x="1429" y="1672"/>
                  </a:lnTo>
                  <a:lnTo>
                    <a:pt x="1423" y="1672"/>
                  </a:lnTo>
                  <a:lnTo>
                    <a:pt x="1414" y="1672"/>
                  </a:lnTo>
                  <a:lnTo>
                    <a:pt x="1406" y="1674"/>
                  </a:lnTo>
                  <a:lnTo>
                    <a:pt x="1398" y="1679"/>
                  </a:lnTo>
                  <a:lnTo>
                    <a:pt x="1392" y="1685"/>
                  </a:lnTo>
                  <a:lnTo>
                    <a:pt x="1387" y="1692"/>
                  </a:lnTo>
                  <a:lnTo>
                    <a:pt x="1383" y="1703"/>
                  </a:lnTo>
                  <a:lnTo>
                    <a:pt x="1381" y="1715"/>
                  </a:lnTo>
                  <a:lnTo>
                    <a:pt x="1380" y="1731"/>
                  </a:lnTo>
                  <a:lnTo>
                    <a:pt x="1380" y="1778"/>
                  </a:lnTo>
                  <a:lnTo>
                    <a:pt x="1381" y="1792"/>
                  </a:lnTo>
                  <a:lnTo>
                    <a:pt x="1383" y="1805"/>
                  </a:lnTo>
                  <a:lnTo>
                    <a:pt x="1387" y="1815"/>
                  </a:lnTo>
                  <a:lnTo>
                    <a:pt x="1392" y="1823"/>
                  </a:lnTo>
                  <a:lnTo>
                    <a:pt x="1395" y="1827"/>
                  </a:lnTo>
                  <a:lnTo>
                    <a:pt x="1398" y="1829"/>
                  </a:lnTo>
                  <a:lnTo>
                    <a:pt x="1402" y="1831"/>
                  </a:lnTo>
                  <a:lnTo>
                    <a:pt x="1406" y="1833"/>
                  </a:lnTo>
                  <a:lnTo>
                    <a:pt x="1414" y="1836"/>
                  </a:lnTo>
                  <a:lnTo>
                    <a:pt x="1423" y="1837"/>
                  </a:lnTo>
                  <a:lnTo>
                    <a:pt x="1429" y="1837"/>
                  </a:lnTo>
                  <a:lnTo>
                    <a:pt x="1436" y="1836"/>
                  </a:lnTo>
                  <a:lnTo>
                    <a:pt x="1443" y="1836"/>
                  </a:lnTo>
                  <a:lnTo>
                    <a:pt x="1448" y="1836"/>
                  </a:lnTo>
                  <a:lnTo>
                    <a:pt x="1455" y="1834"/>
                  </a:lnTo>
                  <a:lnTo>
                    <a:pt x="1461" y="1834"/>
                  </a:lnTo>
                  <a:lnTo>
                    <a:pt x="1465" y="1834"/>
                  </a:lnTo>
                  <a:lnTo>
                    <a:pt x="1470" y="1833"/>
                  </a:lnTo>
                  <a:lnTo>
                    <a:pt x="1470" y="1833"/>
                  </a:lnTo>
                  <a:lnTo>
                    <a:pt x="1473" y="1834"/>
                  </a:lnTo>
                  <a:lnTo>
                    <a:pt x="1476" y="1836"/>
                  </a:lnTo>
                  <a:lnTo>
                    <a:pt x="1476" y="1838"/>
                  </a:lnTo>
                  <a:lnTo>
                    <a:pt x="1477" y="1840"/>
                  </a:lnTo>
                  <a:lnTo>
                    <a:pt x="1477" y="1862"/>
                  </a:lnTo>
                  <a:lnTo>
                    <a:pt x="1476" y="1864"/>
                  </a:lnTo>
                  <a:lnTo>
                    <a:pt x="1475" y="1866"/>
                  </a:lnTo>
                  <a:close/>
                  <a:moveTo>
                    <a:pt x="1308" y="1867"/>
                  </a:moveTo>
                  <a:lnTo>
                    <a:pt x="1306" y="1869"/>
                  </a:lnTo>
                  <a:lnTo>
                    <a:pt x="1304" y="1870"/>
                  </a:lnTo>
                  <a:lnTo>
                    <a:pt x="1300" y="1870"/>
                  </a:lnTo>
                  <a:lnTo>
                    <a:pt x="1296" y="1871"/>
                  </a:lnTo>
                  <a:lnTo>
                    <a:pt x="1291" y="1872"/>
                  </a:lnTo>
                  <a:lnTo>
                    <a:pt x="1285" y="1872"/>
                  </a:lnTo>
                  <a:lnTo>
                    <a:pt x="1277" y="1873"/>
                  </a:lnTo>
                  <a:lnTo>
                    <a:pt x="1269" y="1873"/>
                  </a:lnTo>
                  <a:lnTo>
                    <a:pt x="1259" y="1874"/>
                  </a:lnTo>
                  <a:lnTo>
                    <a:pt x="1247" y="1874"/>
                  </a:lnTo>
                  <a:lnTo>
                    <a:pt x="1233" y="1873"/>
                  </a:lnTo>
                  <a:lnTo>
                    <a:pt x="1219" y="1871"/>
                  </a:lnTo>
                  <a:lnTo>
                    <a:pt x="1213" y="1870"/>
                  </a:lnTo>
                  <a:lnTo>
                    <a:pt x="1208" y="1867"/>
                  </a:lnTo>
                  <a:lnTo>
                    <a:pt x="1202" y="1865"/>
                  </a:lnTo>
                  <a:lnTo>
                    <a:pt x="1198" y="1862"/>
                  </a:lnTo>
                  <a:lnTo>
                    <a:pt x="1193" y="1858"/>
                  </a:lnTo>
                  <a:lnTo>
                    <a:pt x="1190" y="1854"/>
                  </a:lnTo>
                  <a:lnTo>
                    <a:pt x="1186" y="1848"/>
                  </a:lnTo>
                  <a:lnTo>
                    <a:pt x="1183" y="1842"/>
                  </a:lnTo>
                  <a:lnTo>
                    <a:pt x="1180" y="1836"/>
                  </a:lnTo>
                  <a:lnTo>
                    <a:pt x="1179" y="1828"/>
                  </a:lnTo>
                  <a:lnTo>
                    <a:pt x="1178" y="1819"/>
                  </a:lnTo>
                  <a:lnTo>
                    <a:pt x="1177" y="1810"/>
                  </a:lnTo>
                  <a:lnTo>
                    <a:pt x="1177" y="1699"/>
                  </a:lnTo>
                  <a:lnTo>
                    <a:pt x="1178" y="1689"/>
                  </a:lnTo>
                  <a:lnTo>
                    <a:pt x="1179" y="1680"/>
                  </a:lnTo>
                  <a:lnTo>
                    <a:pt x="1180" y="1673"/>
                  </a:lnTo>
                  <a:lnTo>
                    <a:pt x="1183" y="1666"/>
                  </a:lnTo>
                  <a:lnTo>
                    <a:pt x="1186" y="1660"/>
                  </a:lnTo>
                  <a:lnTo>
                    <a:pt x="1190" y="1655"/>
                  </a:lnTo>
                  <a:lnTo>
                    <a:pt x="1193" y="1650"/>
                  </a:lnTo>
                  <a:lnTo>
                    <a:pt x="1198" y="1646"/>
                  </a:lnTo>
                  <a:lnTo>
                    <a:pt x="1202" y="1642"/>
                  </a:lnTo>
                  <a:lnTo>
                    <a:pt x="1208" y="1640"/>
                  </a:lnTo>
                  <a:lnTo>
                    <a:pt x="1213" y="1638"/>
                  </a:lnTo>
                  <a:lnTo>
                    <a:pt x="1219" y="1637"/>
                  </a:lnTo>
                  <a:lnTo>
                    <a:pt x="1233" y="1635"/>
                  </a:lnTo>
                  <a:lnTo>
                    <a:pt x="1247" y="1633"/>
                  </a:lnTo>
                  <a:lnTo>
                    <a:pt x="1259" y="1635"/>
                  </a:lnTo>
                  <a:lnTo>
                    <a:pt x="1269" y="1635"/>
                  </a:lnTo>
                  <a:lnTo>
                    <a:pt x="1277" y="1635"/>
                  </a:lnTo>
                  <a:lnTo>
                    <a:pt x="1285" y="1636"/>
                  </a:lnTo>
                  <a:lnTo>
                    <a:pt x="1291" y="1636"/>
                  </a:lnTo>
                  <a:lnTo>
                    <a:pt x="1296" y="1637"/>
                  </a:lnTo>
                  <a:lnTo>
                    <a:pt x="1300" y="1638"/>
                  </a:lnTo>
                  <a:lnTo>
                    <a:pt x="1304" y="1638"/>
                  </a:lnTo>
                  <a:lnTo>
                    <a:pt x="1306" y="1639"/>
                  </a:lnTo>
                  <a:lnTo>
                    <a:pt x="1308" y="1640"/>
                  </a:lnTo>
                  <a:lnTo>
                    <a:pt x="1309" y="1642"/>
                  </a:lnTo>
                  <a:lnTo>
                    <a:pt x="1309" y="1645"/>
                  </a:lnTo>
                  <a:lnTo>
                    <a:pt x="1309" y="1665"/>
                  </a:lnTo>
                  <a:lnTo>
                    <a:pt x="1309" y="1667"/>
                  </a:lnTo>
                  <a:lnTo>
                    <a:pt x="1308" y="1670"/>
                  </a:lnTo>
                  <a:lnTo>
                    <a:pt x="1306" y="1671"/>
                  </a:lnTo>
                  <a:lnTo>
                    <a:pt x="1304" y="1672"/>
                  </a:lnTo>
                  <a:lnTo>
                    <a:pt x="1243" y="1672"/>
                  </a:lnTo>
                  <a:lnTo>
                    <a:pt x="1236" y="1672"/>
                  </a:lnTo>
                  <a:lnTo>
                    <a:pt x="1232" y="1673"/>
                  </a:lnTo>
                  <a:lnTo>
                    <a:pt x="1227" y="1674"/>
                  </a:lnTo>
                  <a:lnTo>
                    <a:pt x="1224" y="1678"/>
                  </a:lnTo>
                  <a:lnTo>
                    <a:pt x="1221" y="1681"/>
                  </a:lnTo>
                  <a:lnTo>
                    <a:pt x="1220" y="1686"/>
                  </a:lnTo>
                  <a:lnTo>
                    <a:pt x="1219" y="1691"/>
                  </a:lnTo>
                  <a:lnTo>
                    <a:pt x="1219" y="1699"/>
                  </a:lnTo>
                  <a:lnTo>
                    <a:pt x="1219" y="1733"/>
                  </a:lnTo>
                  <a:lnTo>
                    <a:pt x="1300" y="1733"/>
                  </a:lnTo>
                  <a:lnTo>
                    <a:pt x="1302" y="1733"/>
                  </a:lnTo>
                  <a:lnTo>
                    <a:pt x="1304" y="1735"/>
                  </a:lnTo>
                  <a:lnTo>
                    <a:pt x="1306" y="1737"/>
                  </a:lnTo>
                  <a:lnTo>
                    <a:pt x="1306" y="1739"/>
                  </a:lnTo>
                  <a:lnTo>
                    <a:pt x="1306" y="1762"/>
                  </a:lnTo>
                  <a:lnTo>
                    <a:pt x="1306" y="1764"/>
                  </a:lnTo>
                  <a:lnTo>
                    <a:pt x="1304" y="1766"/>
                  </a:lnTo>
                  <a:lnTo>
                    <a:pt x="1302" y="1767"/>
                  </a:lnTo>
                  <a:lnTo>
                    <a:pt x="1300" y="1769"/>
                  </a:lnTo>
                  <a:lnTo>
                    <a:pt x="1219" y="1769"/>
                  </a:lnTo>
                  <a:lnTo>
                    <a:pt x="1219" y="1810"/>
                  </a:lnTo>
                  <a:lnTo>
                    <a:pt x="1219" y="1816"/>
                  </a:lnTo>
                  <a:lnTo>
                    <a:pt x="1220" y="1822"/>
                  </a:lnTo>
                  <a:lnTo>
                    <a:pt x="1221" y="1828"/>
                  </a:lnTo>
                  <a:lnTo>
                    <a:pt x="1224" y="1831"/>
                  </a:lnTo>
                  <a:lnTo>
                    <a:pt x="1227" y="1833"/>
                  </a:lnTo>
                  <a:lnTo>
                    <a:pt x="1232" y="1834"/>
                  </a:lnTo>
                  <a:lnTo>
                    <a:pt x="1236" y="1836"/>
                  </a:lnTo>
                  <a:lnTo>
                    <a:pt x="1243" y="1837"/>
                  </a:lnTo>
                  <a:lnTo>
                    <a:pt x="1304" y="1837"/>
                  </a:lnTo>
                  <a:lnTo>
                    <a:pt x="1306" y="1837"/>
                  </a:lnTo>
                  <a:lnTo>
                    <a:pt x="1308" y="1838"/>
                  </a:lnTo>
                  <a:lnTo>
                    <a:pt x="1309" y="1840"/>
                  </a:lnTo>
                  <a:lnTo>
                    <a:pt x="1309" y="1842"/>
                  </a:lnTo>
                  <a:lnTo>
                    <a:pt x="1309" y="1863"/>
                  </a:lnTo>
                  <a:lnTo>
                    <a:pt x="1309" y="1866"/>
                  </a:lnTo>
                  <a:lnTo>
                    <a:pt x="1308" y="1867"/>
                  </a:lnTo>
                  <a:close/>
                  <a:moveTo>
                    <a:pt x="972" y="1639"/>
                  </a:moveTo>
                  <a:lnTo>
                    <a:pt x="974" y="1637"/>
                  </a:lnTo>
                  <a:lnTo>
                    <a:pt x="976" y="1637"/>
                  </a:lnTo>
                  <a:lnTo>
                    <a:pt x="1005" y="1637"/>
                  </a:lnTo>
                  <a:lnTo>
                    <a:pt x="1007" y="1637"/>
                  </a:lnTo>
                  <a:lnTo>
                    <a:pt x="1009" y="1639"/>
                  </a:lnTo>
                  <a:lnTo>
                    <a:pt x="1011" y="1640"/>
                  </a:lnTo>
                  <a:lnTo>
                    <a:pt x="1012" y="1644"/>
                  </a:lnTo>
                  <a:lnTo>
                    <a:pt x="1012" y="1715"/>
                  </a:lnTo>
                  <a:lnTo>
                    <a:pt x="1012" y="1725"/>
                  </a:lnTo>
                  <a:lnTo>
                    <a:pt x="1014" y="1732"/>
                  </a:lnTo>
                  <a:lnTo>
                    <a:pt x="1016" y="1738"/>
                  </a:lnTo>
                  <a:lnTo>
                    <a:pt x="1021" y="1742"/>
                  </a:lnTo>
                  <a:lnTo>
                    <a:pt x="1027" y="1746"/>
                  </a:lnTo>
                  <a:lnTo>
                    <a:pt x="1032" y="1748"/>
                  </a:lnTo>
                  <a:lnTo>
                    <a:pt x="1040" y="1749"/>
                  </a:lnTo>
                  <a:lnTo>
                    <a:pt x="1049" y="1749"/>
                  </a:lnTo>
                  <a:lnTo>
                    <a:pt x="1062" y="1748"/>
                  </a:lnTo>
                  <a:lnTo>
                    <a:pt x="1074" y="1746"/>
                  </a:lnTo>
                  <a:lnTo>
                    <a:pt x="1086" y="1742"/>
                  </a:lnTo>
                  <a:lnTo>
                    <a:pt x="1096" y="1739"/>
                  </a:lnTo>
                  <a:lnTo>
                    <a:pt x="1096" y="1644"/>
                  </a:lnTo>
                  <a:lnTo>
                    <a:pt x="1097" y="1640"/>
                  </a:lnTo>
                  <a:lnTo>
                    <a:pt x="1098" y="1639"/>
                  </a:lnTo>
                  <a:lnTo>
                    <a:pt x="1099" y="1637"/>
                  </a:lnTo>
                  <a:lnTo>
                    <a:pt x="1102" y="1637"/>
                  </a:lnTo>
                  <a:lnTo>
                    <a:pt x="1131" y="1637"/>
                  </a:lnTo>
                  <a:lnTo>
                    <a:pt x="1134" y="1637"/>
                  </a:lnTo>
                  <a:lnTo>
                    <a:pt x="1136" y="1639"/>
                  </a:lnTo>
                  <a:lnTo>
                    <a:pt x="1137" y="1640"/>
                  </a:lnTo>
                  <a:lnTo>
                    <a:pt x="1138" y="1644"/>
                  </a:lnTo>
                  <a:lnTo>
                    <a:pt x="1138" y="1865"/>
                  </a:lnTo>
                  <a:lnTo>
                    <a:pt x="1137" y="1867"/>
                  </a:lnTo>
                  <a:lnTo>
                    <a:pt x="1136" y="1870"/>
                  </a:lnTo>
                  <a:lnTo>
                    <a:pt x="1134" y="1871"/>
                  </a:lnTo>
                  <a:lnTo>
                    <a:pt x="1131" y="1871"/>
                  </a:lnTo>
                  <a:lnTo>
                    <a:pt x="1102" y="1871"/>
                  </a:lnTo>
                  <a:lnTo>
                    <a:pt x="1099" y="1871"/>
                  </a:lnTo>
                  <a:lnTo>
                    <a:pt x="1098" y="1870"/>
                  </a:lnTo>
                  <a:lnTo>
                    <a:pt x="1097" y="1867"/>
                  </a:lnTo>
                  <a:lnTo>
                    <a:pt x="1096" y="1865"/>
                  </a:lnTo>
                  <a:lnTo>
                    <a:pt x="1096" y="1774"/>
                  </a:lnTo>
                  <a:lnTo>
                    <a:pt x="1086" y="1778"/>
                  </a:lnTo>
                  <a:lnTo>
                    <a:pt x="1072" y="1782"/>
                  </a:lnTo>
                  <a:lnTo>
                    <a:pt x="1056" y="1785"/>
                  </a:lnTo>
                  <a:lnTo>
                    <a:pt x="1038" y="1786"/>
                  </a:lnTo>
                  <a:lnTo>
                    <a:pt x="1029" y="1786"/>
                  </a:lnTo>
                  <a:lnTo>
                    <a:pt x="1021" y="1785"/>
                  </a:lnTo>
                  <a:lnTo>
                    <a:pt x="1014" y="1782"/>
                  </a:lnTo>
                  <a:lnTo>
                    <a:pt x="1007" y="1780"/>
                  </a:lnTo>
                  <a:lnTo>
                    <a:pt x="1000" y="1778"/>
                  </a:lnTo>
                  <a:lnTo>
                    <a:pt x="995" y="1774"/>
                  </a:lnTo>
                  <a:lnTo>
                    <a:pt x="990" y="1770"/>
                  </a:lnTo>
                  <a:lnTo>
                    <a:pt x="985" y="1765"/>
                  </a:lnTo>
                  <a:lnTo>
                    <a:pt x="982" y="1761"/>
                  </a:lnTo>
                  <a:lnTo>
                    <a:pt x="979" y="1755"/>
                  </a:lnTo>
                  <a:lnTo>
                    <a:pt x="976" y="1749"/>
                  </a:lnTo>
                  <a:lnTo>
                    <a:pt x="974" y="1744"/>
                  </a:lnTo>
                  <a:lnTo>
                    <a:pt x="971" y="1730"/>
                  </a:lnTo>
                  <a:lnTo>
                    <a:pt x="970" y="1716"/>
                  </a:lnTo>
                  <a:lnTo>
                    <a:pt x="970" y="1644"/>
                  </a:lnTo>
                  <a:lnTo>
                    <a:pt x="971" y="1640"/>
                  </a:lnTo>
                  <a:lnTo>
                    <a:pt x="972" y="1639"/>
                  </a:lnTo>
                  <a:close/>
                  <a:moveTo>
                    <a:pt x="737" y="1672"/>
                  </a:moveTo>
                  <a:lnTo>
                    <a:pt x="735" y="1673"/>
                  </a:lnTo>
                  <a:lnTo>
                    <a:pt x="732" y="1673"/>
                  </a:lnTo>
                  <a:lnTo>
                    <a:pt x="680" y="1673"/>
                  </a:lnTo>
                  <a:lnTo>
                    <a:pt x="680" y="1865"/>
                  </a:lnTo>
                  <a:lnTo>
                    <a:pt x="680" y="1867"/>
                  </a:lnTo>
                  <a:lnTo>
                    <a:pt x="679" y="1870"/>
                  </a:lnTo>
                  <a:lnTo>
                    <a:pt x="676" y="1871"/>
                  </a:lnTo>
                  <a:lnTo>
                    <a:pt x="674" y="1871"/>
                  </a:lnTo>
                  <a:lnTo>
                    <a:pt x="645" y="1871"/>
                  </a:lnTo>
                  <a:lnTo>
                    <a:pt x="642" y="1871"/>
                  </a:lnTo>
                  <a:lnTo>
                    <a:pt x="641" y="1870"/>
                  </a:lnTo>
                  <a:lnTo>
                    <a:pt x="639" y="1867"/>
                  </a:lnTo>
                  <a:lnTo>
                    <a:pt x="639" y="1865"/>
                  </a:lnTo>
                  <a:lnTo>
                    <a:pt x="639" y="1673"/>
                  </a:lnTo>
                  <a:lnTo>
                    <a:pt x="586" y="1673"/>
                  </a:lnTo>
                  <a:lnTo>
                    <a:pt x="584" y="1673"/>
                  </a:lnTo>
                  <a:lnTo>
                    <a:pt x="582" y="1672"/>
                  </a:lnTo>
                  <a:lnTo>
                    <a:pt x="581" y="1670"/>
                  </a:lnTo>
                  <a:lnTo>
                    <a:pt x="581" y="1667"/>
                  </a:lnTo>
                  <a:lnTo>
                    <a:pt x="581" y="1642"/>
                  </a:lnTo>
                  <a:lnTo>
                    <a:pt x="581" y="1640"/>
                  </a:lnTo>
                  <a:lnTo>
                    <a:pt x="582" y="1638"/>
                  </a:lnTo>
                  <a:lnTo>
                    <a:pt x="584" y="1637"/>
                  </a:lnTo>
                  <a:lnTo>
                    <a:pt x="586" y="1637"/>
                  </a:lnTo>
                  <a:lnTo>
                    <a:pt x="732" y="1637"/>
                  </a:lnTo>
                  <a:lnTo>
                    <a:pt x="735" y="1637"/>
                  </a:lnTo>
                  <a:lnTo>
                    <a:pt x="737" y="1638"/>
                  </a:lnTo>
                  <a:lnTo>
                    <a:pt x="738" y="1640"/>
                  </a:lnTo>
                  <a:lnTo>
                    <a:pt x="738" y="1642"/>
                  </a:lnTo>
                  <a:lnTo>
                    <a:pt x="738" y="1667"/>
                  </a:lnTo>
                  <a:lnTo>
                    <a:pt x="738" y="1670"/>
                  </a:lnTo>
                  <a:lnTo>
                    <a:pt x="737" y="1672"/>
                  </a:lnTo>
                  <a:close/>
                  <a:moveTo>
                    <a:pt x="559" y="1869"/>
                  </a:moveTo>
                  <a:lnTo>
                    <a:pt x="559" y="1870"/>
                  </a:lnTo>
                  <a:lnTo>
                    <a:pt x="558" y="1871"/>
                  </a:lnTo>
                  <a:lnTo>
                    <a:pt x="557" y="1871"/>
                  </a:lnTo>
                  <a:lnTo>
                    <a:pt x="554" y="1871"/>
                  </a:lnTo>
                  <a:lnTo>
                    <a:pt x="515" y="1871"/>
                  </a:lnTo>
                  <a:lnTo>
                    <a:pt x="510" y="1871"/>
                  </a:lnTo>
                  <a:lnTo>
                    <a:pt x="508" y="1867"/>
                  </a:lnTo>
                  <a:lnTo>
                    <a:pt x="439" y="1760"/>
                  </a:lnTo>
                  <a:lnTo>
                    <a:pt x="439" y="1865"/>
                  </a:lnTo>
                  <a:lnTo>
                    <a:pt x="439" y="1867"/>
                  </a:lnTo>
                  <a:lnTo>
                    <a:pt x="437" y="1870"/>
                  </a:lnTo>
                  <a:lnTo>
                    <a:pt x="436" y="1871"/>
                  </a:lnTo>
                  <a:lnTo>
                    <a:pt x="434" y="1871"/>
                  </a:lnTo>
                  <a:lnTo>
                    <a:pt x="404" y="1871"/>
                  </a:lnTo>
                  <a:lnTo>
                    <a:pt x="402" y="1871"/>
                  </a:lnTo>
                  <a:lnTo>
                    <a:pt x="399" y="1870"/>
                  </a:lnTo>
                  <a:lnTo>
                    <a:pt x="398" y="1867"/>
                  </a:lnTo>
                  <a:lnTo>
                    <a:pt x="397" y="1865"/>
                  </a:lnTo>
                  <a:lnTo>
                    <a:pt x="397" y="1642"/>
                  </a:lnTo>
                  <a:lnTo>
                    <a:pt x="398" y="1640"/>
                  </a:lnTo>
                  <a:lnTo>
                    <a:pt x="399" y="1639"/>
                  </a:lnTo>
                  <a:lnTo>
                    <a:pt x="402" y="1637"/>
                  </a:lnTo>
                  <a:lnTo>
                    <a:pt x="404" y="1637"/>
                  </a:lnTo>
                  <a:lnTo>
                    <a:pt x="434" y="1637"/>
                  </a:lnTo>
                  <a:lnTo>
                    <a:pt x="436" y="1637"/>
                  </a:lnTo>
                  <a:lnTo>
                    <a:pt x="437" y="1639"/>
                  </a:lnTo>
                  <a:lnTo>
                    <a:pt x="439" y="1640"/>
                  </a:lnTo>
                  <a:lnTo>
                    <a:pt x="439" y="1642"/>
                  </a:lnTo>
                  <a:lnTo>
                    <a:pt x="439" y="1744"/>
                  </a:lnTo>
                  <a:lnTo>
                    <a:pt x="512" y="1639"/>
                  </a:lnTo>
                  <a:lnTo>
                    <a:pt x="513" y="1638"/>
                  </a:lnTo>
                  <a:lnTo>
                    <a:pt x="516" y="1637"/>
                  </a:lnTo>
                  <a:lnTo>
                    <a:pt x="517" y="1637"/>
                  </a:lnTo>
                  <a:lnTo>
                    <a:pt x="519" y="1637"/>
                  </a:lnTo>
                  <a:lnTo>
                    <a:pt x="553" y="1637"/>
                  </a:lnTo>
                  <a:lnTo>
                    <a:pt x="556" y="1637"/>
                  </a:lnTo>
                  <a:lnTo>
                    <a:pt x="558" y="1638"/>
                  </a:lnTo>
                  <a:lnTo>
                    <a:pt x="559" y="1639"/>
                  </a:lnTo>
                  <a:lnTo>
                    <a:pt x="559" y="1640"/>
                  </a:lnTo>
                  <a:lnTo>
                    <a:pt x="559" y="1642"/>
                  </a:lnTo>
                  <a:lnTo>
                    <a:pt x="557" y="1646"/>
                  </a:lnTo>
                  <a:lnTo>
                    <a:pt x="480" y="1750"/>
                  </a:lnTo>
                  <a:lnTo>
                    <a:pt x="558" y="1865"/>
                  </a:lnTo>
                  <a:lnTo>
                    <a:pt x="559" y="1867"/>
                  </a:lnTo>
                  <a:lnTo>
                    <a:pt x="559" y="1869"/>
                  </a:lnTo>
                  <a:close/>
                  <a:moveTo>
                    <a:pt x="368" y="1710"/>
                  </a:moveTo>
                  <a:lnTo>
                    <a:pt x="368" y="1720"/>
                  </a:lnTo>
                  <a:lnTo>
                    <a:pt x="366" y="1729"/>
                  </a:lnTo>
                  <a:lnTo>
                    <a:pt x="364" y="1738"/>
                  </a:lnTo>
                  <a:lnTo>
                    <a:pt x="361" y="1745"/>
                  </a:lnTo>
                  <a:lnTo>
                    <a:pt x="357" y="1752"/>
                  </a:lnTo>
                  <a:lnTo>
                    <a:pt x="353" y="1757"/>
                  </a:lnTo>
                  <a:lnTo>
                    <a:pt x="347" y="1763"/>
                  </a:lnTo>
                  <a:lnTo>
                    <a:pt x="341" y="1767"/>
                  </a:lnTo>
                  <a:lnTo>
                    <a:pt x="336" y="1772"/>
                  </a:lnTo>
                  <a:lnTo>
                    <a:pt x="329" y="1775"/>
                  </a:lnTo>
                  <a:lnTo>
                    <a:pt x="322" y="1778"/>
                  </a:lnTo>
                  <a:lnTo>
                    <a:pt x="314" y="1780"/>
                  </a:lnTo>
                  <a:lnTo>
                    <a:pt x="298" y="1783"/>
                  </a:lnTo>
                  <a:lnTo>
                    <a:pt x="282" y="1783"/>
                  </a:lnTo>
                  <a:lnTo>
                    <a:pt x="275" y="1783"/>
                  </a:lnTo>
                  <a:lnTo>
                    <a:pt x="267" y="1783"/>
                  </a:lnTo>
                  <a:lnTo>
                    <a:pt x="260" y="1783"/>
                  </a:lnTo>
                  <a:lnTo>
                    <a:pt x="255" y="1782"/>
                  </a:lnTo>
                  <a:lnTo>
                    <a:pt x="255" y="1865"/>
                  </a:lnTo>
                  <a:lnTo>
                    <a:pt x="255" y="1867"/>
                  </a:lnTo>
                  <a:lnTo>
                    <a:pt x="254" y="1870"/>
                  </a:lnTo>
                  <a:lnTo>
                    <a:pt x="251" y="1871"/>
                  </a:lnTo>
                  <a:lnTo>
                    <a:pt x="249" y="1871"/>
                  </a:lnTo>
                  <a:lnTo>
                    <a:pt x="219" y="1871"/>
                  </a:lnTo>
                  <a:lnTo>
                    <a:pt x="217" y="1871"/>
                  </a:lnTo>
                  <a:lnTo>
                    <a:pt x="215" y="1870"/>
                  </a:lnTo>
                  <a:lnTo>
                    <a:pt x="214" y="1867"/>
                  </a:lnTo>
                  <a:lnTo>
                    <a:pt x="214" y="1865"/>
                  </a:lnTo>
                  <a:lnTo>
                    <a:pt x="214" y="1648"/>
                  </a:lnTo>
                  <a:lnTo>
                    <a:pt x="214" y="1644"/>
                  </a:lnTo>
                  <a:lnTo>
                    <a:pt x="216" y="1640"/>
                  </a:lnTo>
                  <a:lnTo>
                    <a:pt x="219" y="1639"/>
                  </a:lnTo>
                  <a:lnTo>
                    <a:pt x="223" y="1638"/>
                  </a:lnTo>
                  <a:lnTo>
                    <a:pt x="235" y="1637"/>
                  </a:lnTo>
                  <a:lnTo>
                    <a:pt x="250" y="1635"/>
                  </a:lnTo>
                  <a:lnTo>
                    <a:pt x="265" y="1635"/>
                  </a:lnTo>
                  <a:lnTo>
                    <a:pt x="282" y="1633"/>
                  </a:lnTo>
                  <a:lnTo>
                    <a:pt x="298" y="1635"/>
                  </a:lnTo>
                  <a:lnTo>
                    <a:pt x="314" y="1638"/>
                  </a:lnTo>
                  <a:lnTo>
                    <a:pt x="322" y="1639"/>
                  </a:lnTo>
                  <a:lnTo>
                    <a:pt x="329" y="1642"/>
                  </a:lnTo>
                  <a:lnTo>
                    <a:pt x="336" y="1646"/>
                  </a:lnTo>
                  <a:lnTo>
                    <a:pt x="341" y="1649"/>
                  </a:lnTo>
                  <a:lnTo>
                    <a:pt x="347" y="1654"/>
                  </a:lnTo>
                  <a:lnTo>
                    <a:pt x="353" y="1660"/>
                  </a:lnTo>
                  <a:lnTo>
                    <a:pt x="357" y="1665"/>
                  </a:lnTo>
                  <a:lnTo>
                    <a:pt x="361" y="1672"/>
                  </a:lnTo>
                  <a:lnTo>
                    <a:pt x="364" y="1680"/>
                  </a:lnTo>
                  <a:lnTo>
                    <a:pt x="366" y="1688"/>
                  </a:lnTo>
                  <a:lnTo>
                    <a:pt x="368" y="1697"/>
                  </a:lnTo>
                  <a:lnTo>
                    <a:pt x="368" y="1707"/>
                  </a:lnTo>
                  <a:lnTo>
                    <a:pt x="368" y="1710"/>
                  </a:lnTo>
                  <a:close/>
                  <a:moveTo>
                    <a:pt x="326" y="1707"/>
                  </a:moveTo>
                  <a:lnTo>
                    <a:pt x="326" y="1707"/>
                  </a:lnTo>
                  <a:lnTo>
                    <a:pt x="325" y="1698"/>
                  </a:lnTo>
                  <a:lnTo>
                    <a:pt x="323" y="1690"/>
                  </a:lnTo>
                  <a:lnTo>
                    <a:pt x="320" y="1683"/>
                  </a:lnTo>
                  <a:lnTo>
                    <a:pt x="315" y="1679"/>
                  </a:lnTo>
                  <a:lnTo>
                    <a:pt x="308" y="1675"/>
                  </a:lnTo>
                  <a:lnTo>
                    <a:pt x="301" y="1672"/>
                  </a:lnTo>
                  <a:lnTo>
                    <a:pt x="292" y="1671"/>
                  </a:lnTo>
                  <a:lnTo>
                    <a:pt x="281" y="1670"/>
                  </a:lnTo>
                  <a:lnTo>
                    <a:pt x="279" y="1671"/>
                  </a:lnTo>
                  <a:lnTo>
                    <a:pt x="275" y="1671"/>
                  </a:lnTo>
                  <a:lnTo>
                    <a:pt x="272" y="1671"/>
                  </a:lnTo>
                  <a:lnTo>
                    <a:pt x="267" y="1671"/>
                  </a:lnTo>
                  <a:lnTo>
                    <a:pt x="264" y="1671"/>
                  </a:lnTo>
                  <a:lnTo>
                    <a:pt x="260" y="1671"/>
                  </a:lnTo>
                  <a:lnTo>
                    <a:pt x="257" y="1671"/>
                  </a:lnTo>
                  <a:lnTo>
                    <a:pt x="255" y="1672"/>
                  </a:lnTo>
                  <a:lnTo>
                    <a:pt x="255" y="1747"/>
                  </a:lnTo>
                  <a:lnTo>
                    <a:pt x="257" y="1747"/>
                  </a:lnTo>
                  <a:lnTo>
                    <a:pt x="260" y="1747"/>
                  </a:lnTo>
                  <a:lnTo>
                    <a:pt x="264" y="1747"/>
                  </a:lnTo>
                  <a:lnTo>
                    <a:pt x="268" y="1747"/>
                  </a:lnTo>
                  <a:lnTo>
                    <a:pt x="272" y="1747"/>
                  </a:lnTo>
                  <a:lnTo>
                    <a:pt x="276" y="1748"/>
                  </a:lnTo>
                  <a:lnTo>
                    <a:pt x="279" y="1748"/>
                  </a:lnTo>
                  <a:lnTo>
                    <a:pt x="281" y="1748"/>
                  </a:lnTo>
                  <a:lnTo>
                    <a:pt x="292" y="1747"/>
                  </a:lnTo>
                  <a:lnTo>
                    <a:pt x="303" y="1746"/>
                  </a:lnTo>
                  <a:lnTo>
                    <a:pt x="309" y="1742"/>
                  </a:lnTo>
                  <a:lnTo>
                    <a:pt x="316" y="1738"/>
                  </a:lnTo>
                  <a:lnTo>
                    <a:pt x="321" y="1733"/>
                  </a:lnTo>
                  <a:lnTo>
                    <a:pt x="323" y="1727"/>
                  </a:lnTo>
                  <a:lnTo>
                    <a:pt x="325" y="1719"/>
                  </a:lnTo>
                  <a:lnTo>
                    <a:pt x="326" y="1710"/>
                  </a:lnTo>
                  <a:lnTo>
                    <a:pt x="326" y="1707"/>
                  </a:lnTo>
                  <a:close/>
                  <a:moveTo>
                    <a:pt x="185" y="1866"/>
                  </a:moveTo>
                  <a:lnTo>
                    <a:pt x="185" y="1869"/>
                  </a:lnTo>
                  <a:lnTo>
                    <a:pt x="184" y="1870"/>
                  </a:lnTo>
                  <a:lnTo>
                    <a:pt x="182" y="1871"/>
                  </a:lnTo>
                  <a:lnTo>
                    <a:pt x="179" y="1871"/>
                  </a:lnTo>
                  <a:lnTo>
                    <a:pt x="149" y="1871"/>
                  </a:lnTo>
                  <a:lnTo>
                    <a:pt x="146" y="1871"/>
                  </a:lnTo>
                  <a:lnTo>
                    <a:pt x="145" y="1870"/>
                  </a:lnTo>
                  <a:lnTo>
                    <a:pt x="143" y="1869"/>
                  </a:lnTo>
                  <a:lnTo>
                    <a:pt x="143" y="1866"/>
                  </a:lnTo>
                  <a:lnTo>
                    <a:pt x="129" y="1806"/>
                  </a:lnTo>
                  <a:lnTo>
                    <a:pt x="60" y="1806"/>
                  </a:lnTo>
                  <a:lnTo>
                    <a:pt x="46" y="1866"/>
                  </a:lnTo>
                  <a:lnTo>
                    <a:pt x="46" y="1869"/>
                  </a:lnTo>
                  <a:lnTo>
                    <a:pt x="45" y="1870"/>
                  </a:lnTo>
                  <a:lnTo>
                    <a:pt x="43" y="1871"/>
                  </a:lnTo>
                  <a:lnTo>
                    <a:pt x="40" y="1871"/>
                  </a:lnTo>
                  <a:lnTo>
                    <a:pt x="10" y="1871"/>
                  </a:lnTo>
                  <a:lnTo>
                    <a:pt x="7" y="1871"/>
                  </a:lnTo>
                  <a:lnTo>
                    <a:pt x="5" y="1870"/>
                  </a:lnTo>
                  <a:lnTo>
                    <a:pt x="4" y="1869"/>
                  </a:lnTo>
                  <a:lnTo>
                    <a:pt x="4" y="1866"/>
                  </a:lnTo>
                  <a:lnTo>
                    <a:pt x="4" y="1865"/>
                  </a:lnTo>
                  <a:lnTo>
                    <a:pt x="4" y="1865"/>
                  </a:lnTo>
                  <a:lnTo>
                    <a:pt x="4" y="1865"/>
                  </a:lnTo>
                  <a:lnTo>
                    <a:pt x="4" y="1864"/>
                  </a:lnTo>
                  <a:lnTo>
                    <a:pt x="53" y="1666"/>
                  </a:lnTo>
                  <a:lnTo>
                    <a:pt x="56" y="1656"/>
                  </a:lnTo>
                  <a:lnTo>
                    <a:pt x="61" y="1649"/>
                  </a:lnTo>
                  <a:lnTo>
                    <a:pt x="67" y="1644"/>
                  </a:lnTo>
                  <a:lnTo>
                    <a:pt x="72" y="1639"/>
                  </a:lnTo>
                  <a:lnTo>
                    <a:pt x="78" y="1637"/>
                  </a:lnTo>
                  <a:lnTo>
                    <a:pt x="84" y="1635"/>
                  </a:lnTo>
                  <a:lnTo>
                    <a:pt x="89" y="1635"/>
                  </a:lnTo>
                  <a:lnTo>
                    <a:pt x="95" y="1633"/>
                  </a:lnTo>
                  <a:lnTo>
                    <a:pt x="100" y="1635"/>
                  </a:lnTo>
                  <a:lnTo>
                    <a:pt x="105" y="1635"/>
                  </a:lnTo>
                  <a:lnTo>
                    <a:pt x="111" y="1637"/>
                  </a:lnTo>
                  <a:lnTo>
                    <a:pt x="118" y="1639"/>
                  </a:lnTo>
                  <a:lnTo>
                    <a:pt x="124" y="1644"/>
                  </a:lnTo>
                  <a:lnTo>
                    <a:pt x="128" y="1649"/>
                  </a:lnTo>
                  <a:lnTo>
                    <a:pt x="133" y="1656"/>
                  </a:lnTo>
                  <a:lnTo>
                    <a:pt x="136" y="1666"/>
                  </a:lnTo>
                  <a:lnTo>
                    <a:pt x="185" y="1864"/>
                  </a:lnTo>
                  <a:lnTo>
                    <a:pt x="185" y="1865"/>
                  </a:lnTo>
                  <a:lnTo>
                    <a:pt x="185" y="1865"/>
                  </a:lnTo>
                  <a:lnTo>
                    <a:pt x="185" y="1865"/>
                  </a:lnTo>
                  <a:lnTo>
                    <a:pt x="185" y="1866"/>
                  </a:lnTo>
                  <a:close/>
                  <a:moveTo>
                    <a:pt x="100" y="1677"/>
                  </a:moveTo>
                  <a:lnTo>
                    <a:pt x="100" y="1677"/>
                  </a:lnTo>
                  <a:lnTo>
                    <a:pt x="98" y="1673"/>
                  </a:lnTo>
                  <a:lnTo>
                    <a:pt x="97" y="1672"/>
                  </a:lnTo>
                  <a:lnTo>
                    <a:pt x="96" y="1671"/>
                  </a:lnTo>
                  <a:lnTo>
                    <a:pt x="95" y="1671"/>
                  </a:lnTo>
                  <a:lnTo>
                    <a:pt x="93" y="1671"/>
                  </a:lnTo>
                  <a:lnTo>
                    <a:pt x="92" y="1672"/>
                  </a:lnTo>
                  <a:lnTo>
                    <a:pt x="90" y="1673"/>
                  </a:lnTo>
                  <a:lnTo>
                    <a:pt x="89" y="1677"/>
                  </a:lnTo>
                  <a:lnTo>
                    <a:pt x="69" y="1770"/>
                  </a:lnTo>
                  <a:lnTo>
                    <a:pt x="121" y="1770"/>
                  </a:lnTo>
                  <a:lnTo>
                    <a:pt x="100" y="1677"/>
                  </a:lnTo>
                  <a:close/>
                  <a:moveTo>
                    <a:pt x="1047" y="103"/>
                  </a:moveTo>
                  <a:lnTo>
                    <a:pt x="1041" y="94"/>
                  </a:lnTo>
                  <a:lnTo>
                    <a:pt x="1036" y="85"/>
                  </a:lnTo>
                  <a:lnTo>
                    <a:pt x="1029" y="76"/>
                  </a:lnTo>
                  <a:lnTo>
                    <a:pt x="1022" y="68"/>
                  </a:lnTo>
                  <a:lnTo>
                    <a:pt x="1015" y="61"/>
                  </a:lnTo>
                  <a:lnTo>
                    <a:pt x="1007" y="54"/>
                  </a:lnTo>
                  <a:lnTo>
                    <a:pt x="999" y="47"/>
                  </a:lnTo>
                  <a:lnTo>
                    <a:pt x="991" y="42"/>
                  </a:lnTo>
                  <a:lnTo>
                    <a:pt x="973" y="30"/>
                  </a:lnTo>
                  <a:lnTo>
                    <a:pt x="954" y="21"/>
                  </a:lnTo>
                  <a:lnTo>
                    <a:pt x="932" y="14"/>
                  </a:lnTo>
                  <a:lnTo>
                    <a:pt x="910" y="9"/>
                  </a:lnTo>
                  <a:lnTo>
                    <a:pt x="886" y="4"/>
                  </a:lnTo>
                  <a:lnTo>
                    <a:pt x="863" y="2"/>
                  </a:lnTo>
                  <a:lnTo>
                    <a:pt x="840" y="0"/>
                  </a:lnTo>
                  <a:lnTo>
                    <a:pt x="814" y="0"/>
                  </a:lnTo>
                  <a:lnTo>
                    <a:pt x="789" y="0"/>
                  </a:lnTo>
                  <a:lnTo>
                    <a:pt x="765" y="0"/>
                  </a:lnTo>
                  <a:lnTo>
                    <a:pt x="744" y="1"/>
                  </a:lnTo>
                  <a:lnTo>
                    <a:pt x="723" y="3"/>
                  </a:lnTo>
                  <a:lnTo>
                    <a:pt x="700" y="4"/>
                  </a:lnTo>
                  <a:lnTo>
                    <a:pt x="680" y="6"/>
                  </a:lnTo>
                  <a:lnTo>
                    <a:pt x="663" y="8"/>
                  </a:lnTo>
                  <a:lnTo>
                    <a:pt x="647" y="10"/>
                  </a:lnTo>
                  <a:lnTo>
                    <a:pt x="639" y="11"/>
                  </a:lnTo>
                  <a:lnTo>
                    <a:pt x="633" y="13"/>
                  </a:lnTo>
                  <a:lnTo>
                    <a:pt x="627" y="16"/>
                  </a:lnTo>
                  <a:lnTo>
                    <a:pt x="623" y="19"/>
                  </a:lnTo>
                  <a:lnTo>
                    <a:pt x="618" y="22"/>
                  </a:lnTo>
                  <a:lnTo>
                    <a:pt x="615" y="28"/>
                  </a:lnTo>
                  <a:lnTo>
                    <a:pt x="614" y="35"/>
                  </a:lnTo>
                  <a:lnTo>
                    <a:pt x="613" y="42"/>
                  </a:lnTo>
                  <a:lnTo>
                    <a:pt x="613" y="581"/>
                  </a:lnTo>
                  <a:lnTo>
                    <a:pt x="613" y="586"/>
                  </a:lnTo>
                  <a:lnTo>
                    <a:pt x="615" y="590"/>
                  </a:lnTo>
                  <a:lnTo>
                    <a:pt x="617" y="595"/>
                  </a:lnTo>
                  <a:lnTo>
                    <a:pt x="619" y="598"/>
                  </a:lnTo>
                  <a:lnTo>
                    <a:pt x="624" y="602"/>
                  </a:lnTo>
                  <a:lnTo>
                    <a:pt x="627" y="604"/>
                  </a:lnTo>
                  <a:lnTo>
                    <a:pt x="632" y="605"/>
                  </a:lnTo>
                  <a:lnTo>
                    <a:pt x="637" y="605"/>
                  </a:lnTo>
                  <a:lnTo>
                    <a:pt x="722" y="605"/>
                  </a:lnTo>
                  <a:lnTo>
                    <a:pt x="728" y="605"/>
                  </a:lnTo>
                  <a:lnTo>
                    <a:pt x="731" y="603"/>
                  </a:lnTo>
                  <a:lnTo>
                    <a:pt x="736" y="602"/>
                  </a:lnTo>
                  <a:lnTo>
                    <a:pt x="739" y="598"/>
                  </a:lnTo>
                  <a:lnTo>
                    <a:pt x="743" y="595"/>
                  </a:lnTo>
                  <a:lnTo>
                    <a:pt x="744" y="590"/>
                  </a:lnTo>
                  <a:lnTo>
                    <a:pt x="746" y="586"/>
                  </a:lnTo>
                  <a:lnTo>
                    <a:pt x="746" y="581"/>
                  </a:lnTo>
                  <a:lnTo>
                    <a:pt x="746" y="403"/>
                  </a:lnTo>
                  <a:lnTo>
                    <a:pt x="756" y="403"/>
                  </a:lnTo>
                  <a:lnTo>
                    <a:pt x="778" y="404"/>
                  </a:lnTo>
                  <a:lnTo>
                    <a:pt x="801" y="405"/>
                  </a:lnTo>
                  <a:lnTo>
                    <a:pt x="814" y="405"/>
                  </a:lnTo>
                  <a:lnTo>
                    <a:pt x="838" y="405"/>
                  </a:lnTo>
                  <a:lnTo>
                    <a:pt x="862" y="403"/>
                  </a:lnTo>
                  <a:lnTo>
                    <a:pt x="886" y="401"/>
                  </a:lnTo>
                  <a:lnTo>
                    <a:pt x="910" y="396"/>
                  </a:lnTo>
                  <a:lnTo>
                    <a:pt x="932" y="391"/>
                  </a:lnTo>
                  <a:lnTo>
                    <a:pt x="952" y="383"/>
                  </a:lnTo>
                  <a:lnTo>
                    <a:pt x="973" y="373"/>
                  </a:lnTo>
                  <a:lnTo>
                    <a:pt x="990" y="362"/>
                  </a:lnTo>
                  <a:lnTo>
                    <a:pt x="999" y="356"/>
                  </a:lnTo>
                  <a:lnTo>
                    <a:pt x="1007" y="350"/>
                  </a:lnTo>
                  <a:lnTo>
                    <a:pt x="1015" y="343"/>
                  </a:lnTo>
                  <a:lnTo>
                    <a:pt x="1022" y="336"/>
                  </a:lnTo>
                  <a:lnTo>
                    <a:pt x="1029" y="328"/>
                  </a:lnTo>
                  <a:lnTo>
                    <a:pt x="1036" y="319"/>
                  </a:lnTo>
                  <a:lnTo>
                    <a:pt x="1041" y="310"/>
                  </a:lnTo>
                  <a:lnTo>
                    <a:pt x="1047" y="301"/>
                  </a:lnTo>
                  <a:lnTo>
                    <a:pt x="1053" y="289"/>
                  </a:lnTo>
                  <a:lnTo>
                    <a:pt x="1057" y="277"/>
                  </a:lnTo>
                  <a:lnTo>
                    <a:pt x="1061" y="266"/>
                  </a:lnTo>
                  <a:lnTo>
                    <a:pt x="1064" y="253"/>
                  </a:lnTo>
                  <a:lnTo>
                    <a:pt x="1066" y="241"/>
                  </a:lnTo>
                  <a:lnTo>
                    <a:pt x="1069" y="227"/>
                  </a:lnTo>
                  <a:lnTo>
                    <a:pt x="1070" y="214"/>
                  </a:lnTo>
                  <a:lnTo>
                    <a:pt x="1070" y="201"/>
                  </a:lnTo>
                  <a:lnTo>
                    <a:pt x="1070" y="188"/>
                  </a:lnTo>
                  <a:lnTo>
                    <a:pt x="1069" y="175"/>
                  </a:lnTo>
                  <a:lnTo>
                    <a:pt x="1066" y="162"/>
                  </a:lnTo>
                  <a:lnTo>
                    <a:pt x="1064" y="150"/>
                  </a:lnTo>
                  <a:lnTo>
                    <a:pt x="1061" y="137"/>
                  </a:lnTo>
                  <a:lnTo>
                    <a:pt x="1057" y="126"/>
                  </a:lnTo>
                  <a:lnTo>
                    <a:pt x="1053" y="114"/>
                  </a:lnTo>
                  <a:lnTo>
                    <a:pt x="1047" y="103"/>
                  </a:lnTo>
                  <a:close/>
                  <a:moveTo>
                    <a:pt x="746" y="112"/>
                  </a:moveTo>
                  <a:lnTo>
                    <a:pt x="746" y="112"/>
                  </a:lnTo>
                  <a:lnTo>
                    <a:pt x="756" y="111"/>
                  </a:lnTo>
                  <a:lnTo>
                    <a:pt x="779" y="111"/>
                  </a:lnTo>
                  <a:lnTo>
                    <a:pt x="802" y="110"/>
                  </a:lnTo>
                  <a:lnTo>
                    <a:pt x="814" y="109"/>
                  </a:lnTo>
                  <a:lnTo>
                    <a:pt x="829" y="110"/>
                  </a:lnTo>
                  <a:lnTo>
                    <a:pt x="843" y="110"/>
                  </a:lnTo>
                  <a:lnTo>
                    <a:pt x="857" y="112"/>
                  </a:lnTo>
                  <a:lnTo>
                    <a:pt x="868" y="114"/>
                  </a:lnTo>
                  <a:lnTo>
                    <a:pt x="879" y="117"/>
                  </a:lnTo>
                  <a:lnTo>
                    <a:pt x="889" y="121"/>
                  </a:lnTo>
                  <a:lnTo>
                    <a:pt x="898" y="125"/>
                  </a:lnTo>
                  <a:lnTo>
                    <a:pt x="906" y="130"/>
                  </a:lnTo>
                  <a:lnTo>
                    <a:pt x="914" y="136"/>
                  </a:lnTo>
                  <a:lnTo>
                    <a:pt x="920" y="144"/>
                  </a:lnTo>
                  <a:lnTo>
                    <a:pt x="926" y="152"/>
                  </a:lnTo>
                  <a:lnTo>
                    <a:pt x="931" y="161"/>
                  </a:lnTo>
                  <a:lnTo>
                    <a:pt x="934" y="170"/>
                  </a:lnTo>
                  <a:lnTo>
                    <a:pt x="936" y="180"/>
                  </a:lnTo>
                  <a:lnTo>
                    <a:pt x="938" y="191"/>
                  </a:lnTo>
                  <a:lnTo>
                    <a:pt x="939" y="201"/>
                  </a:lnTo>
                  <a:lnTo>
                    <a:pt x="938" y="212"/>
                  </a:lnTo>
                  <a:lnTo>
                    <a:pt x="936" y="222"/>
                  </a:lnTo>
                  <a:lnTo>
                    <a:pt x="934" y="233"/>
                  </a:lnTo>
                  <a:lnTo>
                    <a:pt x="931" y="242"/>
                  </a:lnTo>
                  <a:lnTo>
                    <a:pt x="926" y="251"/>
                  </a:lnTo>
                  <a:lnTo>
                    <a:pt x="920" y="260"/>
                  </a:lnTo>
                  <a:lnTo>
                    <a:pt x="915" y="268"/>
                  </a:lnTo>
                  <a:lnTo>
                    <a:pt x="908" y="275"/>
                  </a:lnTo>
                  <a:lnTo>
                    <a:pt x="900" y="279"/>
                  </a:lnTo>
                  <a:lnTo>
                    <a:pt x="892" y="284"/>
                  </a:lnTo>
                  <a:lnTo>
                    <a:pt x="882" y="288"/>
                  </a:lnTo>
                  <a:lnTo>
                    <a:pt x="871" y="292"/>
                  </a:lnTo>
                  <a:lnTo>
                    <a:pt x="859" y="294"/>
                  </a:lnTo>
                  <a:lnTo>
                    <a:pt x="845" y="295"/>
                  </a:lnTo>
                  <a:lnTo>
                    <a:pt x="830" y="296"/>
                  </a:lnTo>
                  <a:lnTo>
                    <a:pt x="814" y="297"/>
                  </a:lnTo>
                  <a:lnTo>
                    <a:pt x="802" y="296"/>
                  </a:lnTo>
                  <a:lnTo>
                    <a:pt x="779" y="296"/>
                  </a:lnTo>
                  <a:lnTo>
                    <a:pt x="756" y="295"/>
                  </a:lnTo>
                  <a:lnTo>
                    <a:pt x="746" y="294"/>
                  </a:lnTo>
                  <a:lnTo>
                    <a:pt x="746" y="112"/>
                  </a:lnTo>
                  <a:close/>
                  <a:moveTo>
                    <a:pt x="2795" y="19"/>
                  </a:moveTo>
                  <a:lnTo>
                    <a:pt x="2789" y="16"/>
                  </a:lnTo>
                  <a:lnTo>
                    <a:pt x="2782" y="12"/>
                  </a:lnTo>
                  <a:lnTo>
                    <a:pt x="2777" y="11"/>
                  </a:lnTo>
                  <a:lnTo>
                    <a:pt x="2771" y="10"/>
                  </a:lnTo>
                  <a:lnTo>
                    <a:pt x="2753" y="8"/>
                  </a:lnTo>
                  <a:lnTo>
                    <a:pt x="2733" y="5"/>
                  </a:lnTo>
                  <a:lnTo>
                    <a:pt x="2714" y="4"/>
                  </a:lnTo>
                  <a:lnTo>
                    <a:pt x="2693" y="3"/>
                  </a:lnTo>
                  <a:lnTo>
                    <a:pt x="2669" y="1"/>
                  </a:lnTo>
                  <a:lnTo>
                    <a:pt x="2645" y="0"/>
                  </a:lnTo>
                  <a:lnTo>
                    <a:pt x="2622" y="0"/>
                  </a:lnTo>
                  <a:lnTo>
                    <a:pt x="2598" y="0"/>
                  </a:lnTo>
                  <a:lnTo>
                    <a:pt x="2575" y="1"/>
                  </a:lnTo>
                  <a:lnTo>
                    <a:pt x="2552" y="2"/>
                  </a:lnTo>
                  <a:lnTo>
                    <a:pt x="2529" y="5"/>
                  </a:lnTo>
                  <a:lnTo>
                    <a:pt x="2508" y="9"/>
                  </a:lnTo>
                  <a:lnTo>
                    <a:pt x="2485" y="14"/>
                  </a:lnTo>
                  <a:lnTo>
                    <a:pt x="2464" y="22"/>
                  </a:lnTo>
                  <a:lnTo>
                    <a:pt x="2445" y="30"/>
                  </a:lnTo>
                  <a:lnTo>
                    <a:pt x="2427" y="41"/>
                  </a:lnTo>
                  <a:lnTo>
                    <a:pt x="2419" y="46"/>
                  </a:lnTo>
                  <a:lnTo>
                    <a:pt x="2411" y="53"/>
                  </a:lnTo>
                  <a:lnTo>
                    <a:pt x="2403" y="60"/>
                  </a:lnTo>
                  <a:lnTo>
                    <a:pt x="2396" y="67"/>
                  </a:lnTo>
                  <a:lnTo>
                    <a:pt x="2389" y="75"/>
                  </a:lnTo>
                  <a:lnTo>
                    <a:pt x="2382" y="84"/>
                  </a:lnTo>
                  <a:lnTo>
                    <a:pt x="2376" y="92"/>
                  </a:lnTo>
                  <a:lnTo>
                    <a:pt x="2371" y="101"/>
                  </a:lnTo>
                  <a:lnTo>
                    <a:pt x="2365" y="112"/>
                  </a:lnTo>
                  <a:lnTo>
                    <a:pt x="2360" y="124"/>
                  </a:lnTo>
                  <a:lnTo>
                    <a:pt x="2356" y="136"/>
                  </a:lnTo>
                  <a:lnTo>
                    <a:pt x="2352" y="150"/>
                  </a:lnTo>
                  <a:lnTo>
                    <a:pt x="2350" y="163"/>
                  </a:lnTo>
                  <a:lnTo>
                    <a:pt x="2348" y="177"/>
                  </a:lnTo>
                  <a:lnTo>
                    <a:pt x="2347" y="191"/>
                  </a:lnTo>
                  <a:lnTo>
                    <a:pt x="2347" y="205"/>
                  </a:lnTo>
                  <a:lnTo>
                    <a:pt x="2348" y="219"/>
                  </a:lnTo>
                  <a:lnTo>
                    <a:pt x="2350" y="234"/>
                  </a:lnTo>
                  <a:lnTo>
                    <a:pt x="2352" y="247"/>
                  </a:lnTo>
                  <a:lnTo>
                    <a:pt x="2357" y="261"/>
                  </a:lnTo>
                  <a:lnTo>
                    <a:pt x="2362" y="275"/>
                  </a:lnTo>
                  <a:lnTo>
                    <a:pt x="2367" y="288"/>
                  </a:lnTo>
                  <a:lnTo>
                    <a:pt x="2374" y="301"/>
                  </a:lnTo>
                  <a:lnTo>
                    <a:pt x="2382" y="313"/>
                  </a:lnTo>
                  <a:lnTo>
                    <a:pt x="2390" y="322"/>
                  </a:lnTo>
                  <a:lnTo>
                    <a:pt x="2399" y="331"/>
                  </a:lnTo>
                  <a:lnTo>
                    <a:pt x="2408" y="339"/>
                  </a:lnTo>
                  <a:lnTo>
                    <a:pt x="2417" y="347"/>
                  </a:lnTo>
                  <a:lnTo>
                    <a:pt x="2428" y="355"/>
                  </a:lnTo>
                  <a:lnTo>
                    <a:pt x="2438" y="361"/>
                  </a:lnTo>
                  <a:lnTo>
                    <a:pt x="2449" y="368"/>
                  </a:lnTo>
                  <a:lnTo>
                    <a:pt x="2462" y="372"/>
                  </a:lnTo>
                  <a:lnTo>
                    <a:pt x="2333" y="577"/>
                  </a:lnTo>
                  <a:lnTo>
                    <a:pt x="2331" y="581"/>
                  </a:lnTo>
                  <a:lnTo>
                    <a:pt x="2330" y="588"/>
                  </a:lnTo>
                  <a:lnTo>
                    <a:pt x="2330" y="592"/>
                  </a:lnTo>
                  <a:lnTo>
                    <a:pt x="2331" y="595"/>
                  </a:lnTo>
                  <a:lnTo>
                    <a:pt x="2333" y="598"/>
                  </a:lnTo>
                  <a:lnTo>
                    <a:pt x="2335" y="601"/>
                  </a:lnTo>
                  <a:lnTo>
                    <a:pt x="2338" y="603"/>
                  </a:lnTo>
                  <a:lnTo>
                    <a:pt x="2341" y="604"/>
                  </a:lnTo>
                  <a:lnTo>
                    <a:pt x="2344" y="605"/>
                  </a:lnTo>
                  <a:lnTo>
                    <a:pt x="2348" y="605"/>
                  </a:lnTo>
                  <a:lnTo>
                    <a:pt x="2452" y="605"/>
                  </a:lnTo>
                  <a:lnTo>
                    <a:pt x="2456" y="605"/>
                  </a:lnTo>
                  <a:lnTo>
                    <a:pt x="2461" y="603"/>
                  </a:lnTo>
                  <a:lnTo>
                    <a:pt x="2465" y="601"/>
                  </a:lnTo>
                  <a:lnTo>
                    <a:pt x="2469" y="597"/>
                  </a:lnTo>
                  <a:lnTo>
                    <a:pt x="2471" y="592"/>
                  </a:lnTo>
                  <a:lnTo>
                    <a:pt x="2474" y="587"/>
                  </a:lnTo>
                  <a:lnTo>
                    <a:pt x="2595" y="397"/>
                  </a:lnTo>
                  <a:lnTo>
                    <a:pt x="2598" y="397"/>
                  </a:lnTo>
                  <a:lnTo>
                    <a:pt x="2606" y="398"/>
                  </a:lnTo>
                  <a:lnTo>
                    <a:pt x="2618" y="398"/>
                  </a:lnTo>
                  <a:lnTo>
                    <a:pt x="2632" y="398"/>
                  </a:lnTo>
                  <a:lnTo>
                    <a:pt x="2647" y="397"/>
                  </a:lnTo>
                  <a:lnTo>
                    <a:pt x="2659" y="396"/>
                  </a:lnTo>
                  <a:lnTo>
                    <a:pt x="2667" y="395"/>
                  </a:lnTo>
                  <a:lnTo>
                    <a:pt x="2671" y="395"/>
                  </a:lnTo>
                  <a:lnTo>
                    <a:pt x="2671" y="581"/>
                  </a:lnTo>
                  <a:lnTo>
                    <a:pt x="2672" y="586"/>
                  </a:lnTo>
                  <a:lnTo>
                    <a:pt x="2673" y="590"/>
                  </a:lnTo>
                  <a:lnTo>
                    <a:pt x="2675" y="594"/>
                  </a:lnTo>
                  <a:lnTo>
                    <a:pt x="2677" y="597"/>
                  </a:lnTo>
                  <a:lnTo>
                    <a:pt x="2681" y="601"/>
                  </a:lnTo>
                  <a:lnTo>
                    <a:pt x="2685" y="603"/>
                  </a:lnTo>
                  <a:lnTo>
                    <a:pt x="2690" y="605"/>
                  </a:lnTo>
                  <a:lnTo>
                    <a:pt x="2695" y="605"/>
                  </a:lnTo>
                  <a:lnTo>
                    <a:pt x="2780" y="605"/>
                  </a:lnTo>
                  <a:lnTo>
                    <a:pt x="2785" y="605"/>
                  </a:lnTo>
                  <a:lnTo>
                    <a:pt x="2789" y="603"/>
                  </a:lnTo>
                  <a:lnTo>
                    <a:pt x="2794" y="601"/>
                  </a:lnTo>
                  <a:lnTo>
                    <a:pt x="2797" y="598"/>
                  </a:lnTo>
                  <a:lnTo>
                    <a:pt x="2801" y="594"/>
                  </a:lnTo>
                  <a:lnTo>
                    <a:pt x="2803" y="590"/>
                  </a:lnTo>
                  <a:lnTo>
                    <a:pt x="2804" y="586"/>
                  </a:lnTo>
                  <a:lnTo>
                    <a:pt x="2805" y="581"/>
                  </a:lnTo>
                  <a:lnTo>
                    <a:pt x="2805" y="43"/>
                  </a:lnTo>
                  <a:lnTo>
                    <a:pt x="2804" y="35"/>
                  </a:lnTo>
                  <a:lnTo>
                    <a:pt x="2802" y="28"/>
                  </a:lnTo>
                  <a:lnTo>
                    <a:pt x="2798" y="22"/>
                  </a:lnTo>
                  <a:lnTo>
                    <a:pt x="2795" y="19"/>
                  </a:lnTo>
                  <a:close/>
                  <a:moveTo>
                    <a:pt x="2671" y="114"/>
                  </a:moveTo>
                  <a:lnTo>
                    <a:pt x="2671" y="114"/>
                  </a:lnTo>
                  <a:lnTo>
                    <a:pt x="2671" y="287"/>
                  </a:lnTo>
                  <a:lnTo>
                    <a:pt x="2665" y="288"/>
                  </a:lnTo>
                  <a:lnTo>
                    <a:pt x="2648" y="289"/>
                  </a:lnTo>
                  <a:lnTo>
                    <a:pt x="2624" y="292"/>
                  </a:lnTo>
                  <a:lnTo>
                    <a:pt x="2594" y="291"/>
                  </a:lnTo>
                  <a:lnTo>
                    <a:pt x="2565" y="288"/>
                  </a:lnTo>
                  <a:lnTo>
                    <a:pt x="2543" y="285"/>
                  </a:lnTo>
                  <a:lnTo>
                    <a:pt x="2534" y="281"/>
                  </a:lnTo>
                  <a:lnTo>
                    <a:pt x="2525" y="278"/>
                  </a:lnTo>
                  <a:lnTo>
                    <a:pt x="2518" y="275"/>
                  </a:lnTo>
                  <a:lnTo>
                    <a:pt x="2511" y="270"/>
                  </a:lnTo>
                  <a:lnTo>
                    <a:pt x="2503" y="264"/>
                  </a:lnTo>
                  <a:lnTo>
                    <a:pt x="2497" y="258"/>
                  </a:lnTo>
                  <a:lnTo>
                    <a:pt x="2493" y="250"/>
                  </a:lnTo>
                  <a:lnTo>
                    <a:pt x="2488" y="241"/>
                  </a:lnTo>
                  <a:lnTo>
                    <a:pt x="2486" y="231"/>
                  </a:lnTo>
                  <a:lnTo>
                    <a:pt x="2484" y="221"/>
                  </a:lnTo>
                  <a:lnTo>
                    <a:pt x="2482" y="211"/>
                  </a:lnTo>
                  <a:lnTo>
                    <a:pt x="2481" y="201"/>
                  </a:lnTo>
                  <a:lnTo>
                    <a:pt x="2482" y="189"/>
                  </a:lnTo>
                  <a:lnTo>
                    <a:pt x="2484" y="179"/>
                  </a:lnTo>
                  <a:lnTo>
                    <a:pt x="2486" y="170"/>
                  </a:lnTo>
                  <a:lnTo>
                    <a:pt x="2489" y="160"/>
                  </a:lnTo>
                  <a:lnTo>
                    <a:pt x="2494" y="152"/>
                  </a:lnTo>
                  <a:lnTo>
                    <a:pt x="2498" y="144"/>
                  </a:lnTo>
                  <a:lnTo>
                    <a:pt x="2504" y="137"/>
                  </a:lnTo>
                  <a:lnTo>
                    <a:pt x="2511" y="131"/>
                  </a:lnTo>
                  <a:lnTo>
                    <a:pt x="2520" y="127"/>
                  </a:lnTo>
                  <a:lnTo>
                    <a:pt x="2528" y="124"/>
                  </a:lnTo>
                  <a:lnTo>
                    <a:pt x="2538" y="120"/>
                  </a:lnTo>
                  <a:lnTo>
                    <a:pt x="2550" y="117"/>
                  </a:lnTo>
                  <a:lnTo>
                    <a:pt x="2561" y="114"/>
                  </a:lnTo>
                  <a:lnTo>
                    <a:pt x="2575" y="113"/>
                  </a:lnTo>
                  <a:lnTo>
                    <a:pt x="2588" y="112"/>
                  </a:lnTo>
                  <a:lnTo>
                    <a:pt x="2603" y="112"/>
                  </a:lnTo>
                  <a:lnTo>
                    <a:pt x="2634" y="112"/>
                  </a:lnTo>
                  <a:lnTo>
                    <a:pt x="2656" y="113"/>
                  </a:lnTo>
                  <a:lnTo>
                    <a:pt x="2667" y="114"/>
                  </a:lnTo>
                  <a:lnTo>
                    <a:pt x="2671" y="114"/>
                  </a:lnTo>
                  <a:close/>
                  <a:moveTo>
                    <a:pt x="2219" y="18"/>
                  </a:moveTo>
                  <a:lnTo>
                    <a:pt x="2213" y="12"/>
                  </a:lnTo>
                  <a:lnTo>
                    <a:pt x="2207" y="9"/>
                  </a:lnTo>
                  <a:lnTo>
                    <a:pt x="2199" y="6"/>
                  </a:lnTo>
                  <a:lnTo>
                    <a:pt x="2189" y="6"/>
                  </a:lnTo>
                  <a:lnTo>
                    <a:pt x="2120" y="6"/>
                  </a:lnTo>
                  <a:lnTo>
                    <a:pt x="2112" y="6"/>
                  </a:lnTo>
                  <a:lnTo>
                    <a:pt x="2104" y="9"/>
                  </a:lnTo>
                  <a:lnTo>
                    <a:pt x="2098" y="12"/>
                  </a:lnTo>
                  <a:lnTo>
                    <a:pt x="2093" y="16"/>
                  </a:lnTo>
                  <a:lnTo>
                    <a:pt x="2086" y="24"/>
                  </a:lnTo>
                  <a:lnTo>
                    <a:pt x="2082" y="29"/>
                  </a:lnTo>
                  <a:lnTo>
                    <a:pt x="2077" y="41"/>
                  </a:lnTo>
                  <a:lnTo>
                    <a:pt x="2062" y="70"/>
                  </a:lnTo>
                  <a:lnTo>
                    <a:pt x="2040" y="111"/>
                  </a:lnTo>
                  <a:lnTo>
                    <a:pt x="2016" y="158"/>
                  </a:lnTo>
                  <a:lnTo>
                    <a:pt x="1992" y="205"/>
                  </a:lnTo>
                  <a:lnTo>
                    <a:pt x="1972" y="246"/>
                  </a:lnTo>
                  <a:lnTo>
                    <a:pt x="1957" y="276"/>
                  </a:lnTo>
                  <a:lnTo>
                    <a:pt x="1950" y="287"/>
                  </a:lnTo>
                  <a:lnTo>
                    <a:pt x="1944" y="276"/>
                  </a:lnTo>
                  <a:lnTo>
                    <a:pt x="1929" y="246"/>
                  </a:lnTo>
                  <a:lnTo>
                    <a:pt x="1909" y="205"/>
                  </a:lnTo>
                  <a:lnTo>
                    <a:pt x="1885" y="159"/>
                  </a:lnTo>
                  <a:lnTo>
                    <a:pt x="1860" y="111"/>
                  </a:lnTo>
                  <a:lnTo>
                    <a:pt x="1839" y="70"/>
                  </a:lnTo>
                  <a:lnTo>
                    <a:pt x="1825" y="41"/>
                  </a:lnTo>
                  <a:lnTo>
                    <a:pt x="1819" y="30"/>
                  </a:lnTo>
                  <a:lnTo>
                    <a:pt x="1815" y="24"/>
                  </a:lnTo>
                  <a:lnTo>
                    <a:pt x="1807" y="16"/>
                  </a:lnTo>
                  <a:lnTo>
                    <a:pt x="1803" y="12"/>
                  </a:lnTo>
                  <a:lnTo>
                    <a:pt x="1796" y="9"/>
                  </a:lnTo>
                  <a:lnTo>
                    <a:pt x="1789" y="6"/>
                  </a:lnTo>
                  <a:lnTo>
                    <a:pt x="1781" y="6"/>
                  </a:lnTo>
                  <a:lnTo>
                    <a:pt x="1711" y="6"/>
                  </a:lnTo>
                  <a:lnTo>
                    <a:pt x="1703" y="6"/>
                  </a:lnTo>
                  <a:lnTo>
                    <a:pt x="1695" y="9"/>
                  </a:lnTo>
                  <a:lnTo>
                    <a:pt x="1688" y="12"/>
                  </a:lnTo>
                  <a:lnTo>
                    <a:pt x="1682" y="18"/>
                  </a:lnTo>
                  <a:lnTo>
                    <a:pt x="1676" y="24"/>
                  </a:lnTo>
                  <a:lnTo>
                    <a:pt x="1673" y="30"/>
                  </a:lnTo>
                  <a:lnTo>
                    <a:pt x="1671" y="38"/>
                  </a:lnTo>
                  <a:lnTo>
                    <a:pt x="1670" y="46"/>
                  </a:lnTo>
                  <a:lnTo>
                    <a:pt x="1670" y="586"/>
                  </a:lnTo>
                  <a:lnTo>
                    <a:pt x="1671" y="592"/>
                  </a:lnTo>
                  <a:lnTo>
                    <a:pt x="1672" y="596"/>
                  </a:lnTo>
                  <a:lnTo>
                    <a:pt x="1675" y="600"/>
                  </a:lnTo>
                  <a:lnTo>
                    <a:pt x="1678" y="601"/>
                  </a:lnTo>
                  <a:lnTo>
                    <a:pt x="1684" y="604"/>
                  </a:lnTo>
                  <a:lnTo>
                    <a:pt x="1691" y="605"/>
                  </a:lnTo>
                  <a:lnTo>
                    <a:pt x="1778" y="605"/>
                  </a:lnTo>
                  <a:lnTo>
                    <a:pt x="1782" y="605"/>
                  </a:lnTo>
                  <a:lnTo>
                    <a:pt x="1786" y="603"/>
                  </a:lnTo>
                  <a:lnTo>
                    <a:pt x="1789" y="601"/>
                  </a:lnTo>
                  <a:lnTo>
                    <a:pt x="1793" y="597"/>
                  </a:lnTo>
                  <a:lnTo>
                    <a:pt x="1795" y="594"/>
                  </a:lnTo>
                  <a:lnTo>
                    <a:pt x="1797" y="590"/>
                  </a:lnTo>
                  <a:lnTo>
                    <a:pt x="1798" y="586"/>
                  </a:lnTo>
                  <a:lnTo>
                    <a:pt x="1798" y="581"/>
                  </a:lnTo>
                  <a:lnTo>
                    <a:pt x="1798" y="247"/>
                  </a:lnTo>
                  <a:lnTo>
                    <a:pt x="1801" y="247"/>
                  </a:lnTo>
                  <a:lnTo>
                    <a:pt x="1875" y="385"/>
                  </a:lnTo>
                  <a:lnTo>
                    <a:pt x="1882" y="393"/>
                  </a:lnTo>
                  <a:lnTo>
                    <a:pt x="1888" y="397"/>
                  </a:lnTo>
                  <a:lnTo>
                    <a:pt x="1893" y="400"/>
                  </a:lnTo>
                  <a:lnTo>
                    <a:pt x="1898" y="402"/>
                  </a:lnTo>
                  <a:lnTo>
                    <a:pt x="1903" y="402"/>
                  </a:lnTo>
                  <a:lnTo>
                    <a:pt x="1908" y="403"/>
                  </a:lnTo>
                  <a:lnTo>
                    <a:pt x="1993" y="403"/>
                  </a:lnTo>
                  <a:lnTo>
                    <a:pt x="1999" y="402"/>
                  </a:lnTo>
                  <a:lnTo>
                    <a:pt x="2005" y="401"/>
                  </a:lnTo>
                  <a:lnTo>
                    <a:pt x="2009" y="400"/>
                  </a:lnTo>
                  <a:lnTo>
                    <a:pt x="2013" y="397"/>
                  </a:lnTo>
                  <a:lnTo>
                    <a:pt x="2017" y="395"/>
                  </a:lnTo>
                  <a:lnTo>
                    <a:pt x="2022" y="392"/>
                  </a:lnTo>
                  <a:lnTo>
                    <a:pt x="2025" y="388"/>
                  </a:lnTo>
                  <a:lnTo>
                    <a:pt x="2028" y="385"/>
                  </a:lnTo>
                  <a:lnTo>
                    <a:pt x="2099" y="247"/>
                  </a:lnTo>
                  <a:lnTo>
                    <a:pt x="2103" y="247"/>
                  </a:lnTo>
                  <a:lnTo>
                    <a:pt x="2103" y="581"/>
                  </a:lnTo>
                  <a:lnTo>
                    <a:pt x="2103" y="586"/>
                  </a:lnTo>
                  <a:lnTo>
                    <a:pt x="2104" y="590"/>
                  </a:lnTo>
                  <a:lnTo>
                    <a:pt x="2105" y="594"/>
                  </a:lnTo>
                  <a:lnTo>
                    <a:pt x="2107" y="597"/>
                  </a:lnTo>
                  <a:lnTo>
                    <a:pt x="2111" y="601"/>
                  </a:lnTo>
                  <a:lnTo>
                    <a:pt x="2115" y="603"/>
                  </a:lnTo>
                  <a:lnTo>
                    <a:pt x="2119" y="605"/>
                  </a:lnTo>
                  <a:lnTo>
                    <a:pt x="2123" y="605"/>
                  </a:lnTo>
                  <a:lnTo>
                    <a:pt x="2210" y="605"/>
                  </a:lnTo>
                  <a:lnTo>
                    <a:pt x="2213" y="605"/>
                  </a:lnTo>
                  <a:lnTo>
                    <a:pt x="2217" y="604"/>
                  </a:lnTo>
                  <a:lnTo>
                    <a:pt x="2220" y="603"/>
                  </a:lnTo>
                  <a:lnTo>
                    <a:pt x="2224" y="601"/>
                  </a:lnTo>
                  <a:lnTo>
                    <a:pt x="2227" y="598"/>
                  </a:lnTo>
                  <a:lnTo>
                    <a:pt x="2229" y="595"/>
                  </a:lnTo>
                  <a:lnTo>
                    <a:pt x="2230" y="590"/>
                  </a:lnTo>
                  <a:lnTo>
                    <a:pt x="2232" y="586"/>
                  </a:lnTo>
                  <a:lnTo>
                    <a:pt x="2232" y="46"/>
                  </a:lnTo>
                  <a:lnTo>
                    <a:pt x="2230" y="38"/>
                  </a:lnTo>
                  <a:lnTo>
                    <a:pt x="2228" y="30"/>
                  </a:lnTo>
                  <a:lnTo>
                    <a:pt x="2225" y="24"/>
                  </a:lnTo>
                  <a:lnTo>
                    <a:pt x="2219" y="18"/>
                  </a:lnTo>
                  <a:close/>
                  <a:moveTo>
                    <a:pt x="1300" y="125"/>
                  </a:moveTo>
                  <a:lnTo>
                    <a:pt x="1304" y="122"/>
                  </a:lnTo>
                  <a:lnTo>
                    <a:pt x="1308" y="119"/>
                  </a:lnTo>
                  <a:lnTo>
                    <a:pt x="1313" y="117"/>
                  </a:lnTo>
                  <a:lnTo>
                    <a:pt x="1318" y="116"/>
                  </a:lnTo>
                  <a:lnTo>
                    <a:pt x="1332" y="113"/>
                  </a:lnTo>
                  <a:lnTo>
                    <a:pt x="1347" y="112"/>
                  </a:lnTo>
                  <a:lnTo>
                    <a:pt x="1521" y="112"/>
                  </a:lnTo>
                  <a:lnTo>
                    <a:pt x="1526" y="112"/>
                  </a:lnTo>
                  <a:lnTo>
                    <a:pt x="1530" y="110"/>
                  </a:lnTo>
                  <a:lnTo>
                    <a:pt x="1535" y="108"/>
                  </a:lnTo>
                  <a:lnTo>
                    <a:pt x="1538" y="105"/>
                  </a:lnTo>
                  <a:lnTo>
                    <a:pt x="1542" y="101"/>
                  </a:lnTo>
                  <a:lnTo>
                    <a:pt x="1544" y="97"/>
                  </a:lnTo>
                  <a:lnTo>
                    <a:pt x="1545" y="93"/>
                  </a:lnTo>
                  <a:lnTo>
                    <a:pt x="1545" y="88"/>
                  </a:lnTo>
                  <a:lnTo>
                    <a:pt x="1545" y="36"/>
                  </a:lnTo>
                  <a:lnTo>
                    <a:pt x="1545" y="30"/>
                  </a:lnTo>
                  <a:lnTo>
                    <a:pt x="1544" y="26"/>
                  </a:lnTo>
                  <a:lnTo>
                    <a:pt x="1543" y="21"/>
                  </a:lnTo>
                  <a:lnTo>
                    <a:pt x="1540" y="18"/>
                  </a:lnTo>
                  <a:lnTo>
                    <a:pt x="1538" y="17"/>
                  </a:lnTo>
                  <a:lnTo>
                    <a:pt x="1532" y="13"/>
                  </a:lnTo>
                  <a:lnTo>
                    <a:pt x="1522" y="11"/>
                  </a:lnTo>
                  <a:lnTo>
                    <a:pt x="1516" y="10"/>
                  </a:lnTo>
                  <a:lnTo>
                    <a:pt x="1508" y="9"/>
                  </a:lnTo>
                  <a:lnTo>
                    <a:pt x="1500" y="8"/>
                  </a:lnTo>
                  <a:lnTo>
                    <a:pt x="1486" y="5"/>
                  </a:lnTo>
                  <a:lnTo>
                    <a:pt x="1468" y="4"/>
                  </a:lnTo>
                  <a:lnTo>
                    <a:pt x="1459" y="3"/>
                  </a:lnTo>
                  <a:lnTo>
                    <a:pt x="1448" y="2"/>
                  </a:lnTo>
                  <a:lnTo>
                    <a:pt x="1437" y="1"/>
                  </a:lnTo>
                  <a:lnTo>
                    <a:pt x="1424" y="1"/>
                  </a:lnTo>
                  <a:lnTo>
                    <a:pt x="1410" y="0"/>
                  </a:lnTo>
                  <a:lnTo>
                    <a:pt x="1394" y="0"/>
                  </a:lnTo>
                  <a:lnTo>
                    <a:pt x="1378" y="0"/>
                  </a:lnTo>
                  <a:lnTo>
                    <a:pt x="1359" y="0"/>
                  </a:lnTo>
                  <a:lnTo>
                    <a:pt x="1339" y="0"/>
                  </a:lnTo>
                  <a:lnTo>
                    <a:pt x="1320" y="1"/>
                  </a:lnTo>
                  <a:lnTo>
                    <a:pt x="1300" y="3"/>
                  </a:lnTo>
                  <a:lnTo>
                    <a:pt x="1281" y="6"/>
                  </a:lnTo>
                  <a:lnTo>
                    <a:pt x="1263" y="10"/>
                  </a:lnTo>
                  <a:lnTo>
                    <a:pt x="1245" y="16"/>
                  </a:lnTo>
                  <a:lnTo>
                    <a:pt x="1229" y="24"/>
                  </a:lnTo>
                  <a:lnTo>
                    <a:pt x="1215" y="33"/>
                  </a:lnTo>
                  <a:lnTo>
                    <a:pt x="1208" y="38"/>
                  </a:lnTo>
                  <a:lnTo>
                    <a:pt x="1201" y="44"/>
                  </a:lnTo>
                  <a:lnTo>
                    <a:pt x="1195" y="50"/>
                  </a:lnTo>
                  <a:lnTo>
                    <a:pt x="1190" y="56"/>
                  </a:lnTo>
                  <a:lnTo>
                    <a:pt x="1184" y="63"/>
                  </a:lnTo>
                  <a:lnTo>
                    <a:pt x="1179" y="71"/>
                  </a:lnTo>
                  <a:lnTo>
                    <a:pt x="1175" y="79"/>
                  </a:lnTo>
                  <a:lnTo>
                    <a:pt x="1171" y="87"/>
                  </a:lnTo>
                  <a:lnTo>
                    <a:pt x="1167" y="96"/>
                  </a:lnTo>
                  <a:lnTo>
                    <a:pt x="1163" y="105"/>
                  </a:lnTo>
                  <a:lnTo>
                    <a:pt x="1161" y="116"/>
                  </a:lnTo>
                  <a:lnTo>
                    <a:pt x="1159" y="126"/>
                  </a:lnTo>
                  <a:lnTo>
                    <a:pt x="1156" y="138"/>
                  </a:lnTo>
                  <a:lnTo>
                    <a:pt x="1155" y="150"/>
                  </a:lnTo>
                  <a:lnTo>
                    <a:pt x="1154" y="162"/>
                  </a:lnTo>
                  <a:lnTo>
                    <a:pt x="1154" y="176"/>
                  </a:lnTo>
                  <a:lnTo>
                    <a:pt x="1154" y="435"/>
                  </a:lnTo>
                  <a:lnTo>
                    <a:pt x="1154" y="448"/>
                  </a:lnTo>
                  <a:lnTo>
                    <a:pt x="1155" y="462"/>
                  </a:lnTo>
                  <a:lnTo>
                    <a:pt x="1156" y="473"/>
                  </a:lnTo>
                  <a:lnTo>
                    <a:pt x="1158" y="485"/>
                  </a:lnTo>
                  <a:lnTo>
                    <a:pt x="1160" y="496"/>
                  </a:lnTo>
                  <a:lnTo>
                    <a:pt x="1163" y="505"/>
                  </a:lnTo>
                  <a:lnTo>
                    <a:pt x="1167" y="515"/>
                  </a:lnTo>
                  <a:lnTo>
                    <a:pt x="1170" y="523"/>
                  </a:lnTo>
                  <a:lnTo>
                    <a:pt x="1175" y="533"/>
                  </a:lnTo>
                  <a:lnTo>
                    <a:pt x="1179" y="540"/>
                  </a:lnTo>
                  <a:lnTo>
                    <a:pt x="1184" y="548"/>
                  </a:lnTo>
                  <a:lnTo>
                    <a:pt x="1190" y="555"/>
                  </a:lnTo>
                  <a:lnTo>
                    <a:pt x="1195" y="562"/>
                  </a:lnTo>
                  <a:lnTo>
                    <a:pt x="1201" y="568"/>
                  </a:lnTo>
                  <a:lnTo>
                    <a:pt x="1208" y="573"/>
                  </a:lnTo>
                  <a:lnTo>
                    <a:pt x="1215" y="578"/>
                  </a:lnTo>
                  <a:lnTo>
                    <a:pt x="1229" y="587"/>
                  </a:lnTo>
                  <a:lnTo>
                    <a:pt x="1244" y="595"/>
                  </a:lnTo>
                  <a:lnTo>
                    <a:pt x="1261" y="601"/>
                  </a:lnTo>
                  <a:lnTo>
                    <a:pt x="1281" y="605"/>
                  </a:lnTo>
                  <a:lnTo>
                    <a:pt x="1299" y="608"/>
                  </a:lnTo>
                  <a:lnTo>
                    <a:pt x="1318" y="610"/>
                  </a:lnTo>
                  <a:lnTo>
                    <a:pt x="1338" y="611"/>
                  </a:lnTo>
                  <a:lnTo>
                    <a:pt x="1359" y="612"/>
                  </a:lnTo>
                  <a:lnTo>
                    <a:pt x="1378" y="611"/>
                  </a:lnTo>
                  <a:lnTo>
                    <a:pt x="1395" y="611"/>
                  </a:lnTo>
                  <a:lnTo>
                    <a:pt x="1410" y="611"/>
                  </a:lnTo>
                  <a:lnTo>
                    <a:pt x="1424" y="611"/>
                  </a:lnTo>
                  <a:lnTo>
                    <a:pt x="1436" y="610"/>
                  </a:lnTo>
                  <a:lnTo>
                    <a:pt x="1447" y="610"/>
                  </a:lnTo>
                  <a:lnTo>
                    <a:pt x="1459" y="609"/>
                  </a:lnTo>
                  <a:lnTo>
                    <a:pt x="1468" y="608"/>
                  </a:lnTo>
                  <a:lnTo>
                    <a:pt x="1486" y="606"/>
                  </a:lnTo>
                  <a:lnTo>
                    <a:pt x="1501" y="604"/>
                  </a:lnTo>
                  <a:lnTo>
                    <a:pt x="1520" y="600"/>
                  </a:lnTo>
                  <a:lnTo>
                    <a:pt x="1532" y="597"/>
                  </a:lnTo>
                  <a:lnTo>
                    <a:pt x="1537" y="595"/>
                  </a:lnTo>
                  <a:lnTo>
                    <a:pt x="1540" y="593"/>
                  </a:lnTo>
                  <a:lnTo>
                    <a:pt x="1542" y="590"/>
                  </a:lnTo>
                  <a:lnTo>
                    <a:pt x="1544" y="586"/>
                  </a:lnTo>
                  <a:lnTo>
                    <a:pt x="1545" y="581"/>
                  </a:lnTo>
                  <a:lnTo>
                    <a:pt x="1545" y="576"/>
                  </a:lnTo>
                  <a:lnTo>
                    <a:pt x="1545" y="522"/>
                  </a:lnTo>
                  <a:lnTo>
                    <a:pt x="1545" y="518"/>
                  </a:lnTo>
                  <a:lnTo>
                    <a:pt x="1544" y="514"/>
                  </a:lnTo>
                  <a:lnTo>
                    <a:pt x="1542" y="510"/>
                  </a:lnTo>
                  <a:lnTo>
                    <a:pt x="1538" y="505"/>
                  </a:lnTo>
                  <a:lnTo>
                    <a:pt x="1534" y="503"/>
                  </a:lnTo>
                  <a:lnTo>
                    <a:pt x="1530" y="501"/>
                  </a:lnTo>
                  <a:lnTo>
                    <a:pt x="1526" y="500"/>
                  </a:lnTo>
                  <a:lnTo>
                    <a:pt x="1521" y="498"/>
                  </a:lnTo>
                  <a:lnTo>
                    <a:pt x="1347" y="498"/>
                  </a:lnTo>
                  <a:lnTo>
                    <a:pt x="1332" y="498"/>
                  </a:lnTo>
                  <a:lnTo>
                    <a:pt x="1318" y="496"/>
                  </a:lnTo>
                  <a:lnTo>
                    <a:pt x="1313" y="494"/>
                  </a:lnTo>
                  <a:lnTo>
                    <a:pt x="1308" y="492"/>
                  </a:lnTo>
                  <a:lnTo>
                    <a:pt x="1304" y="489"/>
                  </a:lnTo>
                  <a:lnTo>
                    <a:pt x="1300" y="486"/>
                  </a:lnTo>
                  <a:lnTo>
                    <a:pt x="1298" y="483"/>
                  </a:lnTo>
                  <a:lnTo>
                    <a:pt x="1294" y="478"/>
                  </a:lnTo>
                  <a:lnTo>
                    <a:pt x="1292" y="472"/>
                  </a:lnTo>
                  <a:lnTo>
                    <a:pt x="1291" y="467"/>
                  </a:lnTo>
                  <a:lnTo>
                    <a:pt x="1289" y="452"/>
                  </a:lnTo>
                  <a:lnTo>
                    <a:pt x="1288" y="435"/>
                  </a:lnTo>
                  <a:lnTo>
                    <a:pt x="1288" y="351"/>
                  </a:lnTo>
                  <a:lnTo>
                    <a:pt x="1511" y="351"/>
                  </a:lnTo>
                  <a:lnTo>
                    <a:pt x="1517" y="350"/>
                  </a:lnTo>
                  <a:lnTo>
                    <a:pt x="1520" y="348"/>
                  </a:lnTo>
                  <a:lnTo>
                    <a:pt x="1525" y="346"/>
                  </a:lnTo>
                  <a:lnTo>
                    <a:pt x="1528" y="344"/>
                  </a:lnTo>
                  <a:lnTo>
                    <a:pt x="1532" y="339"/>
                  </a:lnTo>
                  <a:lnTo>
                    <a:pt x="1534" y="336"/>
                  </a:lnTo>
                  <a:lnTo>
                    <a:pt x="1535" y="331"/>
                  </a:lnTo>
                  <a:lnTo>
                    <a:pt x="1535" y="327"/>
                  </a:lnTo>
                  <a:lnTo>
                    <a:pt x="1535" y="268"/>
                  </a:lnTo>
                  <a:lnTo>
                    <a:pt x="1535" y="262"/>
                  </a:lnTo>
                  <a:lnTo>
                    <a:pt x="1534" y="258"/>
                  </a:lnTo>
                  <a:lnTo>
                    <a:pt x="1532" y="254"/>
                  </a:lnTo>
                  <a:lnTo>
                    <a:pt x="1528" y="251"/>
                  </a:lnTo>
                  <a:lnTo>
                    <a:pt x="1525" y="247"/>
                  </a:lnTo>
                  <a:lnTo>
                    <a:pt x="1520" y="245"/>
                  </a:lnTo>
                  <a:lnTo>
                    <a:pt x="1516" y="244"/>
                  </a:lnTo>
                  <a:lnTo>
                    <a:pt x="1511" y="243"/>
                  </a:lnTo>
                  <a:lnTo>
                    <a:pt x="1288" y="243"/>
                  </a:lnTo>
                  <a:lnTo>
                    <a:pt x="1288" y="176"/>
                  </a:lnTo>
                  <a:lnTo>
                    <a:pt x="1289" y="159"/>
                  </a:lnTo>
                  <a:lnTo>
                    <a:pt x="1291" y="145"/>
                  </a:lnTo>
                  <a:lnTo>
                    <a:pt x="1292" y="138"/>
                  </a:lnTo>
                  <a:lnTo>
                    <a:pt x="1294" y="134"/>
                  </a:lnTo>
                  <a:lnTo>
                    <a:pt x="1297" y="129"/>
                  </a:lnTo>
                  <a:lnTo>
                    <a:pt x="1300" y="125"/>
                  </a:lnTo>
                  <a:close/>
                  <a:moveTo>
                    <a:pt x="425" y="301"/>
                  </a:moveTo>
                  <a:lnTo>
                    <a:pt x="439" y="292"/>
                  </a:lnTo>
                  <a:lnTo>
                    <a:pt x="453" y="281"/>
                  </a:lnTo>
                  <a:lnTo>
                    <a:pt x="463" y="269"/>
                  </a:lnTo>
                  <a:lnTo>
                    <a:pt x="474" y="254"/>
                  </a:lnTo>
                  <a:lnTo>
                    <a:pt x="478" y="245"/>
                  </a:lnTo>
                  <a:lnTo>
                    <a:pt x="483" y="236"/>
                  </a:lnTo>
                  <a:lnTo>
                    <a:pt x="486" y="227"/>
                  </a:lnTo>
                  <a:lnTo>
                    <a:pt x="488" y="218"/>
                  </a:lnTo>
                  <a:lnTo>
                    <a:pt x="491" y="208"/>
                  </a:lnTo>
                  <a:lnTo>
                    <a:pt x="493" y="197"/>
                  </a:lnTo>
                  <a:lnTo>
                    <a:pt x="493" y="187"/>
                  </a:lnTo>
                  <a:lnTo>
                    <a:pt x="494" y="176"/>
                  </a:lnTo>
                  <a:lnTo>
                    <a:pt x="493" y="164"/>
                  </a:lnTo>
                  <a:lnTo>
                    <a:pt x="493" y="152"/>
                  </a:lnTo>
                  <a:lnTo>
                    <a:pt x="491" y="141"/>
                  </a:lnTo>
                  <a:lnTo>
                    <a:pt x="488" y="130"/>
                  </a:lnTo>
                  <a:lnTo>
                    <a:pt x="486" y="119"/>
                  </a:lnTo>
                  <a:lnTo>
                    <a:pt x="483" y="110"/>
                  </a:lnTo>
                  <a:lnTo>
                    <a:pt x="478" y="101"/>
                  </a:lnTo>
                  <a:lnTo>
                    <a:pt x="474" y="92"/>
                  </a:lnTo>
                  <a:lnTo>
                    <a:pt x="469" y="84"/>
                  </a:lnTo>
                  <a:lnTo>
                    <a:pt x="463" y="76"/>
                  </a:lnTo>
                  <a:lnTo>
                    <a:pt x="456" y="69"/>
                  </a:lnTo>
                  <a:lnTo>
                    <a:pt x="450" y="62"/>
                  </a:lnTo>
                  <a:lnTo>
                    <a:pt x="443" y="55"/>
                  </a:lnTo>
                  <a:lnTo>
                    <a:pt x="435" y="50"/>
                  </a:lnTo>
                  <a:lnTo>
                    <a:pt x="426" y="44"/>
                  </a:lnTo>
                  <a:lnTo>
                    <a:pt x="417" y="38"/>
                  </a:lnTo>
                  <a:lnTo>
                    <a:pt x="398" y="28"/>
                  </a:lnTo>
                  <a:lnTo>
                    <a:pt x="378" y="20"/>
                  </a:lnTo>
                  <a:lnTo>
                    <a:pt x="355" y="13"/>
                  </a:lnTo>
                  <a:lnTo>
                    <a:pt x="332" y="8"/>
                  </a:lnTo>
                  <a:lnTo>
                    <a:pt x="306" y="4"/>
                  </a:lnTo>
                  <a:lnTo>
                    <a:pt x="280" y="2"/>
                  </a:lnTo>
                  <a:lnTo>
                    <a:pt x="252" y="0"/>
                  </a:lnTo>
                  <a:lnTo>
                    <a:pt x="225" y="0"/>
                  </a:lnTo>
                  <a:lnTo>
                    <a:pt x="201" y="0"/>
                  </a:lnTo>
                  <a:lnTo>
                    <a:pt x="178" y="0"/>
                  </a:lnTo>
                  <a:lnTo>
                    <a:pt x="157" y="1"/>
                  </a:lnTo>
                  <a:lnTo>
                    <a:pt x="136" y="3"/>
                  </a:lnTo>
                  <a:lnTo>
                    <a:pt x="121" y="3"/>
                  </a:lnTo>
                  <a:lnTo>
                    <a:pt x="108" y="4"/>
                  </a:lnTo>
                  <a:lnTo>
                    <a:pt x="94" y="6"/>
                  </a:lnTo>
                  <a:lnTo>
                    <a:pt x="81" y="8"/>
                  </a:lnTo>
                  <a:lnTo>
                    <a:pt x="71" y="10"/>
                  </a:lnTo>
                  <a:lnTo>
                    <a:pt x="62" y="13"/>
                  </a:lnTo>
                  <a:lnTo>
                    <a:pt x="54" y="18"/>
                  </a:lnTo>
                  <a:lnTo>
                    <a:pt x="47" y="22"/>
                  </a:lnTo>
                  <a:lnTo>
                    <a:pt x="43" y="29"/>
                  </a:lnTo>
                  <a:lnTo>
                    <a:pt x="39" y="38"/>
                  </a:lnTo>
                  <a:lnTo>
                    <a:pt x="38" y="47"/>
                  </a:lnTo>
                  <a:lnTo>
                    <a:pt x="37" y="60"/>
                  </a:lnTo>
                  <a:lnTo>
                    <a:pt x="37" y="551"/>
                  </a:lnTo>
                  <a:lnTo>
                    <a:pt x="38" y="562"/>
                  </a:lnTo>
                  <a:lnTo>
                    <a:pt x="40" y="572"/>
                  </a:lnTo>
                  <a:lnTo>
                    <a:pt x="44" y="581"/>
                  </a:lnTo>
                  <a:lnTo>
                    <a:pt x="48" y="588"/>
                  </a:lnTo>
                  <a:lnTo>
                    <a:pt x="55" y="593"/>
                  </a:lnTo>
                  <a:lnTo>
                    <a:pt x="63" y="596"/>
                  </a:lnTo>
                  <a:lnTo>
                    <a:pt x="72" y="600"/>
                  </a:lnTo>
                  <a:lnTo>
                    <a:pt x="84" y="603"/>
                  </a:lnTo>
                  <a:lnTo>
                    <a:pt x="95" y="604"/>
                  </a:lnTo>
                  <a:lnTo>
                    <a:pt x="109" y="606"/>
                  </a:lnTo>
                  <a:lnTo>
                    <a:pt x="125" y="608"/>
                  </a:lnTo>
                  <a:lnTo>
                    <a:pt x="142" y="609"/>
                  </a:lnTo>
                  <a:lnTo>
                    <a:pt x="163" y="611"/>
                  </a:lnTo>
                  <a:lnTo>
                    <a:pt x="185" y="611"/>
                  </a:lnTo>
                  <a:lnTo>
                    <a:pt x="209" y="611"/>
                  </a:lnTo>
                  <a:lnTo>
                    <a:pt x="232" y="612"/>
                  </a:lnTo>
                  <a:lnTo>
                    <a:pt x="263" y="611"/>
                  </a:lnTo>
                  <a:lnTo>
                    <a:pt x="291" y="609"/>
                  </a:lnTo>
                  <a:lnTo>
                    <a:pt x="317" y="606"/>
                  </a:lnTo>
                  <a:lnTo>
                    <a:pt x="340" y="602"/>
                  </a:lnTo>
                  <a:lnTo>
                    <a:pt x="364" y="596"/>
                  </a:lnTo>
                  <a:lnTo>
                    <a:pt x="386" y="589"/>
                  </a:lnTo>
                  <a:lnTo>
                    <a:pt x="406" y="580"/>
                  </a:lnTo>
                  <a:lnTo>
                    <a:pt x="425" y="570"/>
                  </a:lnTo>
                  <a:lnTo>
                    <a:pt x="434" y="564"/>
                  </a:lnTo>
                  <a:lnTo>
                    <a:pt x="442" y="559"/>
                  </a:lnTo>
                  <a:lnTo>
                    <a:pt x="448" y="552"/>
                  </a:lnTo>
                  <a:lnTo>
                    <a:pt x="456" y="545"/>
                  </a:lnTo>
                  <a:lnTo>
                    <a:pt x="462" y="537"/>
                  </a:lnTo>
                  <a:lnTo>
                    <a:pt x="468" y="529"/>
                  </a:lnTo>
                  <a:lnTo>
                    <a:pt x="474" y="521"/>
                  </a:lnTo>
                  <a:lnTo>
                    <a:pt x="479" y="513"/>
                  </a:lnTo>
                  <a:lnTo>
                    <a:pt x="484" y="503"/>
                  </a:lnTo>
                  <a:lnTo>
                    <a:pt x="488" y="493"/>
                  </a:lnTo>
                  <a:lnTo>
                    <a:pt x="492" y="483"/>
                  </a:lnTo>
                  <a:lnTo>
                    <a:pt x="494" y="471"/>
                  </a:lnTo>
                  <a:lnTo>
                    <a:pt x="496" y="461"/>
                  </a:lnTo>
                  <a:lnTo>
                    <a:pt x="497" y="450"/>
                  </a:lnTo>
                  <a:lnTo>
                    <a:pt x="497" y="437"/>
                  </a:lnTo>
                  <a:lnTo>
                    <a:pt x="497" y="426"/>
                  </a:lnTo>
                  <a:lnTo>
                    <a:pt x="496" y="413"/>
                  </a:lnTo>
                  <a:lnTo>
                    <a:pt x="495" y="402"/>
                  </a:lnTo>
                  <a:lnTo>
                    <a:pt x="492" y="392"/>
                  </a:lnTo>
                  <a:lnTo>
                    <a:pt x="490" y="381"/>
                  </a:lnTo>
                  <a:lnTo>
                    <a:pt x="485" y="371"/>
                  </a:lnTo>
                  <a:lnTo>
                    <a:pt x="482" y="362"/>
                  </a:lnTo>
                  <a:lnTo>
                    <a:pt x="477" y="354"/>
                  </a:lnTo>
                  <a:lnTo>
                    <a:pt x="471" y="346"/>
                  </a:lnTo>
                  <a:lnTo>
                    <a:pt x="460" y="331"/>
                  </a:lnTo>
                  <a:lnTo>
                    <a:pt x="448" y="319"/>
                  </a:lnTo>
                  <a:lnTo>
                    <a:pt x="437" y="309"/>
                  </a:lnTo>
                  <a:lnTo>
                    <a:pt x="425" y="301"/>
                  </a:lnTo>
                  <a:close/>
                  <a:moveTo>
                    <a:pt x="233" y="502"/>
                  </a:moveTo>
                  <a:lnTo>
                    <a:pt x="233" y="502"/>
                  </a:lnTo>
                  <a:lnTo>
                    <a:pt x="217" y="502"/>
                  </a:lnTo>
                  <a:lnTo>
                    <a:pt x="199" y="501"/>
                  </a:lnTo>
                  <a:lnTo>
                    <a:pt x="184" y="501"/>
                  </a:lnTo>
                  <a:lnTo>
                    <a:pt x="170" y="501"/>
                  </a:lnTo>
                  <a:lnTo>
                    <a:pt x="170" y="348"/>
                  </a:lnTo>
                  <a:lnTo>
                    <a:pt x="271" y="348"/>
                  </a:lnTo>
                  <a:lnTo>
                    <a:pt x="284" y="348"/>
                  </a:lnTo>
                  <a:lnTo>
                    <a:pt x="297" y="350"/>
                  </a:lnTo>
                  <a:lnTo>
                    <a:pt x="308" y="352"/>
                  </a:lnTo>
                  <a:lnTo>
                    <a:pt x="317" y="354"/>
                  </a:lnTo>
                  <a:lnTo>
                    <a:pt x="326" y="359"/>
                  </a:lnTo>
                  <a:lnTo>
                    <a:pt x="334" y="363"/>
                  </a:lnTo>
                  <a:lnTo>
                    <a:pt x="341" y="368"/>
                  </a:lnTo>
                  <a:lnTo>
                    <a:pt x="348" y="373"/>
                  </a:lnTo>
                  <a:lnTo>
                    <a:pt x="355" y="381"/>
                  </a:lnTo>
                  <a:lnTo>
                    <a:pt x="361" y="389"/>
                  </a:lnTo>
                  <a:lnTo>
                    <a:pt x="364" y="398"/>
                  </a:lnTo>
                  <a:lnTo>
                    <a:pt x="366" y="406"/>
                  </a:lnTo>
                  <a:lnTo>
                    <a:pt x="369" y="419"/>
                  </a:lnTo>
                  <a:lnTo>
                    <a:pt x="369" y="425"/>
                  </a:lnTo>
                  <a:lnTo>
                    <a:pt x="368" y="435"/>
                  </a:lnTo>
                  <a:lnTo>
                    <a:pt x="366" y="444"/>
                  </a:lnTo>
                  <a:lnTo>
                    <a:pt x="364" y="452"/>
                  </a:lnTo>
                  <a:lnTo>
                    <a:pt x="362" y="459"/>
                  </a:lnTo>
                  <a:lnTo>
                    <a:pt x="358" y="465"/>
                  </a:lnTo>
                  <a:lnTo>
                    <a:pt x="354" y="471"/>
                  </a:lnTo>
                  <a:lnTo>
                    <a:pt x="347" y="477"/>
                  </a:lnTo>
                  <a:lnTo>
                    <a:pt x="340" y="483"/>
                  </a:lnTo>
                  <a:lnTo>
                    <a:pt x="332" y="487"/>
                  </a:lnTo>
                  <a:lnTo>
                    <a:pt x="322" y="492"/>
                  </a:lnTo>
                  <a:lnTo>
                    <a:pt x="311" y="495"/>
                  </a:lnTo>
                  <a:lnTo>
                    <a:pt x="299" y="497"/>
                  </a:lnTo>
                  <a:lnTo>
                    <a:pt x="284" y="500"/>
                  </a:lnTo>
                  <a:lnTo>
                    <a:pt x="268" y="501"/>
                  </a:lnTo>
                  <a:lnTo>
                    <a:pt x="251" y="502"/>
                  </a:lnTo>
                  <a:lnTo>
                    <a:pt x="233" y="502"/>
                  </a:lnTo>
                  <a:close/>
                  <a:moveTo>
                    <a:pt x="360" y="206"/>
                  </a:moveTo>
                  <a:lnTo>
                    <a:pt x="360" y="206"/>
                  </a:lnTo>
                  <a:lnTo>
                    <a:pt x="358" y="212"/>
                  </a:lnTo>
                  <a:lnTo>
                    <a:pt x="355" y="218"/>
                  </a:lnTo>
                  <a:lnTo>
                    <a:pt x="352" y="222"/>
                  </a:lnTo>
                  <a:lnTo>
                    <a:pt x="347" y="228"/>
                  </a:lnTo>
                  <a:lnTo>
                    <a:pt x="340" y="233"/>
                  </a:lnTo>
                  <a:lnTo>
                    <a:pt x="333" y="237"/>
                  </a:lnTo>
                  <a:lnTo>
                    <a:pt x="325" y="241"/>
                  </a:lnTo>
                  <a:lnTo>
                    <a:pt x="317" y="243"/>
                  </a:lnTo>
                  <a:lnTo>
                    <a:pt x="308" y="246"/>
                  </a:lnTo>
                  <a:lnTo>
                    <a:pt x="297" y="247"/>
                  </a:lnTo>
                  <a:lnTo>
                    <a:pt x="285" y="248"/>
                  </a:lnTo>
                  <a:lnTo>
                    <a:pt x="271" y="250"/>
                  </a:lnTo>
                  <a:lnTo>
                    <a:pt x="170" y="250"/>
                  </a:lnTo>
                  <a:lnTo>
                    <a:pt x="170" y="110"/>
                  </a:lnTo>
                  <a:lnTo>
                    <a:pt x="193" y="110"/>
                  </a:lnTo>
                  <a:lnTo>
                    <a:pt x="201" y="110"/>
                  </a:lnTo>
                  <a:lnTo>
                    <a:pt x="209" y="109"/>
                  </a:lnTo>
                  <a:lnTo>
                    <a:pt x="217" y="109"/>
                  </a:lnTo>
                  <a:lnTo>
                    <a:pt x="225" y="109"/>
                  </a:lnTo>
                  <a:lnTo>
                    <a:pt x="244" y="109"/>
                  </a:lnTo>
                  <a:lnTo>
                    <a:pt x="261" y="110"/>
                  </a:lnTo>
                  <a:lnTo>
                    <a:pt x="277" y="111"/>
                  </a:lnTo>
                  <a:lnTo>
                    <a:pt x="292" y="113"/>
                  </a:lnTo>
                  <a:lnTo>
                    <a:pt x="306" y="116"/>
                  </a:lnTo>
                  <a:lnTo>
                    <a:pt x="317" y="119"/>
                  </a:lnTo>
                  <a:lnTo>
                    <a:pt x="328" y="122"/>
                  </a:lnTo>
                  <a:lnTo>
                    <a:pt x="336" y="127"/>
                  </a:lnTo>
                  <a:lnTo>
                    <a:pt x="342" y="131"/>
                  </a:lnTo>
                  <a:lnTo>
                    <a:pt x="348" y="136"/>
                  </a:lnTo>
                  <a:lnTo>
                    <a:pt x="354" y="143"/>
                  </a:lnTo>
                  <a:lnTo>
                    <a:pt x="357" y="150"/>
                  </a:lnTo>
                  <a:lnTo>
                    <a:pt x="361" y="156"/>
                  </a:lnTo>
                  <a:lnTo>
                    <a:pt x="363" y="164"/>
                  </a:lnTo>
                  <a:lnTo>
                    <a:pt x="364" y="171"/>
                  </a:lnTo>
                  <a:lnTo>
                    <a:pt x="364" y="178"/>
                  </a:lnTo>
                  <a:lnTo>
                    <a:pt x="364" y="186"/>
                  </a:lnTo>
                  <a:lnTo>
                    <a:pt x="363" y="193"/>
                  </a:lnTo>
                  <a:lnTo>
                    <a:pt x="362" y="200"/>
                  </a:lnTo>
                  <a:lnTo>
                    <a:pt x="360" y="206"/>
                  </a:lnTo>
                  <a:close/>
                  <a:moveTo>
                    <a:pt x="1406" y="1096"/>
                  </a:moveTo>
                  <a:lnTo>
                    <a:pt x="1622" y="840"/>
                  </a:lnTo>
                  <a:lnTo>
                    <a:pt x="1625" y="836"/>
                  </a:lnTo>
                  <a:lnTo>
                    <a:pt x="1627" y="831"/>
                  </a:lnTo>
                  <a:lnTo>
                    <a:pt x="1628" y="827"/>
                  </a:lnTo>
                  <a:lnTo>
                    <a:pt x="1628" y="823"/>
                  </a:lnTo>
                  <a:lnTo>
                    <a:pt x="1628" y="819"/>
                  </a:lnTo>
                  <a:lnTo>
                    <a:pt x="1625" y="813"/>
                  </a:lnTo>
                  <a:lnTo>
                    <a:pt x="1623" y="810"/>
                  </a:lnTo>
                  <a:lnTo>
                    <a:pt x="1618" y="807"/>
                  </a:lnTo>
                  <a:lnTo>
                    <a:pt x="1613" y="806"/>
                  </a:lnTo>
                  <a:lnTo>
                    <a:pt x="1606" y="806"/>
                  </a:lnTo>
                  <a:lnTo>
                    <a:pt x="1509" y="806"/>
                  </a:lnTo>
                  <a:lnTo>
                    <a:pt x="1501" y="806"/>
                  </a:lnTo>
                  <a:lnTo>
                    <a:pt x="1495" y="807"/>
                  </a:lnTo>
                  <a:lnTo>
                    <a:pt x="1492" y="809"/>
                  </a:lnTo>
                  <a:lnTo>
                    <a:pt x="1488" y="810"/>
                  </a:lnTo>
                  <a:lnTo>
                    <a:pt x="1486" y="812"/>
                  </a:lnTo>
                  <a:lnTo>
                    <a:pt x="1483" y="815"/>
                  </a:lnTo>
                  <a:lnTo>
                    <a:pt x="1289" y="1056"/>
                  </a:lnTo>
                  <a:lnTo>
                    <a:pt x="1288" y="1056"/>
                  </a:lnTo>
                  <a:lnTo>
                    <a:pt x="1288" y="829"/>
                  </a:lnTo>
                  <a:lnTo>
                    <a:pt x="1286" y="824"/>
                  </a:lnTo>
                  <a:lnTo>
                    <a:pt x="1285" y="820"/>
                  </a:lnTo>
                  <a:lnTo>
                    <a:pt x="1283" y="815"/>
                  </a:lnTo>
                  <a:lnTo>
                    <a:pt x="1280" y="813"/>
                  </a:lnTo>
                  <a:lnTo>
                    <a:pt x="1276" y="810"/>
                  </a:lnTo>
                  <a:lnTo>
                    <a:pt x="1272" y="807"/>
                  </a:lnTo>
                  <a:lnTo>
                    <a:pt x="1267" y="806"/>
                  </a:lnTo>
                  <a:lnTo>
                    <a:pt x="1263" y="806"/>
                  </a:lnTo>
                  <a:lnTo>
                    <a:pt x="1178" y="806"/>
                  </a:lnTo>
                  <a:lnTo>
                    <a:pt x="1174" y="806"/>
                  </a:lnTo>
                  <a:lnTo>
                    <a:pt x="1169" y="807"/>
                  </a:lnTo>
                  <a:lnTo>
                    <a:pt x="1166" y="810"/>
                  </a:lnTo>
                  <a:lnTo>
                    <a:pt x="1162" y="812"/>
                  </a:lnTo>
                  <a:lnTo>
                    <a:pt x="1159" y="814"/>
                  </a:lnTo>
                  <a:lnTo>
                    <a:pt x="1156" y="818"/>
                  </a:lnTo>
                  <a:lnTo>
                    <a:pt x="1154" y="823"/>
                  </a:lnTo>
                  <a:lnTo>
                    <a:pt x="1154" y="829"/>
                  </a:lnTo>
                  <a:lnTo>
                    <a:pt x="1154" y="1380"/>
                  </a:lnTo>
                  <a:lnTo>
                    <a:pt x="1154" y="1386"/>
                  </a:lnTo>
                  <a:lnTo>
                    <a:pt x="1155" y="1390"/>
                  </a:lnTo>
                  <a:lnTo>
                    <a:pt x="1158" y="1394"/>
                  </a:lnTo>
                  <a:lnTo>
                    <a:pt x="1161" y="1397"/>
                  </a:lnTo>
                  <a:lnTo>
                    <a:pt x="1164" y="1401"/>
                  </a:lnTo>
                  <a:lnTo>
                    <a:pt x="1169" y="1403"/>
                  </a:lnTo>
                  <a:lnTo>
                    <a:pt x="1174" y="1404"/>
                  </a:lnTo>
                  <a:lnTo>
                    <a:pt x="1178" y="1404"/>
                  </a:lnTo>
                  <a:lnTo>
                    <a:pt x="1263" y="1404"/>
                  </a:lnTo>
                  <a:lnTo>
                    <a:pt x="1268" y="1404"/>
                  </a:lnTo>
                  <a:lnTo>
                    <a:pt x="1273" y="1403"/>
                  </a:lnTo>
                  <a:lnTo>
                    <a:pt x="1276" y="1401"/>
                  </a:lnTo>
                  <a:lnTo>
                    <a:pt x="1280" y="1397"/>
                  </a:lnTo>
                  <a:lnTo>
                    <a:pt x="1283" y="1394"/>
                  </a:lnTo>
                  <a:lnTo>
                    <a:pt x="1285" y="1390"/>
                  </a:lnTo>
                  <a:lnTo>
                    <a:pt x="1286" y="1386"/>
                  </a:lnTo>
                  <a:lnTo>
                    <a:pt x="1288" y="1380"/>
                  </a:lnTo>
                  <a:lnTo>
                    <a:pt x="1288" y="1146"/>
                  </a:lnTo>
                  <a:lnTo>
                    <a:pt x="1290" y="1146"/>
                  </a:lnTo>
                  <a:lnTo>
                    <a:pt x="1469" y="1393"/>
                  </a:lnTo>
                  <a:lnTo>
                    <a:pt x="1473" y="1398"/>
                  </a:lnTo>
                  <a:lnTo>
                    <a:pt x="1480" y="1402"/>
                  </a:lnTo>
                  <a:lnTo>
                    <a:pt x="1487" y="1404"/>
                  </a:lnTo>
                  <a:lnTo>
                    <a:pt x="1494" y="1404"/>
                  </a:lnTo>
                  <a:lnTo>
                    <a:pt x="1609" y="1404"/>
                  </a:lnTo>
                  <a:lnTo>
                    <a:pt x="1615" y="1404"/>
                  </a:lnTo>
                  <a:lnTo>
                    <a:pt x="1619" y="1403"/>
                  </a:lnTo>
                  <a:lnTo>
                    <a:pt x="1623" y="1401"/>
                  </a:lnTo>
                  <a:lnTo>
                    <a:pt x="1626" y="1398"/>
                  </a:lnTo>
                  <a:lnTo>
                    <a:pt x="1628" y="1394"/>
                  </a:lnTo>
                  <a:lnTo>
                    <a:pt x="1628" y="1390"/>
                  </a:lnTo>
                  <a:lnTo>
                    <a:pt x="1628" y="1387"/>
                  </a:lnTo>
                  <a:lnTo>
                    <a:pt x="1627" y="1383"/>
                  </a:lnTo>
                  <a:lnTo>
                    <a:pt x="1626" y="1380"/>
                  </a:lnTo>
                  <a:lnTo>
                    <a:pt x="1623" y="1376"/>
                  </a:lnTo>
                  <a:lnTo>
                    <a:pt x="1406" y="1096"/>
                  </a:lnTo>
                  <a:close/>
                  <a:moveTo>
                    <a:pt x="2714" y="817"/>
                  </a:moveTo>
                  <a:lnTo>
                    <a:pt x="2707" y="812"/>
                  </a:lnTo>
                  <a:lnTo>
                    <a:pt x="2700" y="807"/>
                  </a:lnTo>
                  <a:lnTo>
                    <a:pt x="2692" y="806"/>
                  </a:lnTo>
                  <a:lnTo>
                    <a:pt x="2684" y="805"/>
                  </a:lnTo>
                  <a:lnTo>
                    <a:pt x="2592" y="805"/>
                  </a:lnTo>
                  <a:lnTo>
                    <a:pt x="2585" y="805"/>
                  </a:lnTo>
                  <a:lnTo>
                    <a:pt x="2578" y="806"/>
                  </a:lnTo>
                  <a:lnTo>
                    <a:pt x="2571" y="809"/>
                  </a:lnTo>
                  <a:lnTo>
                    <a:pt x="2567" y="811"/>
                  </a:lnTo>
                  <a:lnTo>
                    <a:pt x="2562" y="814"/>
                  </a:lnTo>
                  <a:lnTo>
                    <a:pt x="2557" y="820"/>
                  </a:lnTo>
                  <a:lnTo>
                    <a:pt x="2553" y="827"/>
                  </a:lnTo>
                  <a:lnTo>
                    <a:pt x="2549" y="836"/>
                  </a:lnTo>
                  <a:lnTo>
                    <a:pt x="2371" y="1221"/>
                  </a:lnTo>
                  <a:lnTo>
                    <a:pt x="2370" y="1221"/>
                  </a:lnTo>
                  <a:lnTo>
                    <a:pt x="2370" y="828"/>
                  </a:lnTo>
                  <a:lnTo>
                    <a:pt x="2368" y="823"/>
                  </a:lnTo>
                  <a:lnTo>
                    <a:pt x="2367" y="819"/>
                  </a:lnTo>
                  <a:lnTo>
                    <a:pt x="2366" y="814"/>
                  </a:lnTo>
                  <a:lnTo>
                    <a:pt x="2363" y="811"/>
                  </a:lnTo>
                  <a:lnTo>
                    <a:pt x="2360" y="809"/>
                  </a:lnTo>
                  <a:lnTo>
                    <a:pt x="2356" y="806"/>
                  </a:lnTo>
                  <a:lnTo>
                    <a:pt x="2351" y="805"/>
                  </a:lnTo>
                  <a:lnTo>
                    <a:pt x="2346" y="805"/>
                  </a:lnTo>
                  <a:lnTo>
                    <a:pt x="2256" y="805"/>
                  </a:lnTo>
                  <a:lnTo>
                    <a:pt x="2250" y="805"/>
                  </a:lnTo>
                  <a:lnTo>
                    <a:pt x="2245" y="806"/>
                  </a:lnTo>
                  <a:lnTo>
                    <a:pt x="2242" y="809"/>
                  </a:lnTo>
                  <a:lnTo>
                    <a:pt x="2238" y="811"/>
                  </a:lnTo>
                  <a:lnTo>
                    <a:pt x="2236" y="814"/>
                  </a:lnTo>
                  <a:lnTo>
                    <a:pt x="2234" y="819"/>
                  </a:lnTo>
                  <a:lnTo>
                    <a:pt x="2233" y="823"/>
                  </a:lnTo>
                  <a:lnTo>
                    <a:pt x="2233" y="828"/>
                  </a:lnTo>
                  <a:lnTo>
                    <a:pt x="2233" y="1364"/>
                  </a:lnTo>
                  <a:lnTo>
                    <a:pt x="2233" y="1372"/>
                  </a:lnTo>
                  <a:lnTo>
                    <a:pt x="2235" y="1380"/>
                  </a:lnTo>
                  <a:lnTo>
                    <a:pt x="2238" y="1387"/>
                  </a:lnTo>
                  <a:lnTo>
                    <a:pt x="2244" y="1393"/>
                  </a:lnTo>
                  <a:lnTo>
                    <a:pt x="2251" y="1398"/>
                  </a:lnTo>
                  <a:lnTo>
                    <a:pt x="2258" y="1402"/>
                  </a:lnTo>
                  <a:lnTo>
                    <a:pt x="2265" y="1404"/>
                  </a:lnTo>
                  <a:lnTo>
                    <a:pt x="2274" y="1404"/>
                  </a:lnTo>
                  <a:lnTo>
                    <a:pt x="2359" y="1404"/>
                  </a:lnTo>
                  <a:lnTo>
                    <a:pt x="2375" y="1404"/>
                  </a:lnTo>
                  <a:lnTo>
                    <a:pt x="2390" y="1401"/>
                  </a:lnTo>
                  <a:lnTo>
                    <a:pt x="2395" y="1399"/>
                  </a:lnTo>
                  <a:lnTo>
                    <a:pt x="2398" y="1397"/>
                  </a:lnTo>
                  <a:lnTo>
                    <a:pt x="2402" y="1395"/>
                  </a:lnTo>
                  <a:lnTo>
                    <a:pt x="2405" y="1391"/>
                  </a:lnTo>
                  <a:lnTo>
                    <a:pt x="2412" y="1382"/>
                  </a:lnTo>
                  <a:lnTo>
                    <a:pt x="2419" y="1371"/>
                  </a:lnTo>
                  <a:lnTo>
                    <a:pt x="2586" y="1007"/>
                  </a:lnTo>
                  <a:lnTo>
                    <a:pt x="2588" y="1007"/>
                  </a:lnTo>
                  <a:lnTo>
                    <a:pt x="2588" y="1380"/>
                  </a:lnTo>
                  <a:lnTo>
                    <a:pt x="2588" y="1386"/>
                  </a:lnTo>
                  <a:lnTo>
                    <a:pt x="2591" y="1389"/>
                  </a:lnTo>
                  <a:lnTo>
                    <a:pt x="2592" y="1394"/>
                  </a:lnTo>
                  <a:lnTo>
                    <a:pt x="2595" y="1397"/>
                  </a:lnTo>
                  <a:lnTo>
                    <a:pt x="2599" y="1401"/>
                  </a:lnTo>
                  <a:lnTo>
                    <a:pt x="2603" y="1403"/>
                  </a:lnTo>
                  <a:lnTo>
                    <a:pt x="2608" y="1404"/>
                  </a:lnTo>
                  <a:lnTo>
                    <a:pt x="2612" y="1404"/>
                  </a:lnTo>
                  <a:lnTo>
                    <a:pt x="2701" y="1404"/>
                  </a:lnTo>
                  <a:lnTo>
                    <a:pt x="2706" y="1404"/>
                  </a:lnTo>
                  <a:lnTo>
                    <a:pt x="2710" y="1403"/>
                  </a:lnTo>
                  <a:lnTo>
                    <a:pt x="2715" y="1401"/>
                  </a:lnTo>
                  <a:lnTo>
                    <a:pt x="2718" y="1397"/>
                  </a:lnTo>
                  <a:lnTo>
                    <a:pt x="2722" y="1394"/>
                  </a:lnTo>
                  <a:lnTo>
                    <a:pt x="2724" y="1389"/>
                  </a:lnTo>
                  <a:lnTo>
                    <a:pt x="2725" y="1385"/>
                  </a:lnTo>
                  <a:lnTo>
                    <a:pt x="2726" y="1380"/>
                  </a:lnTo>
                  <a:lnTo>
                    <a:pt x="2726" y="845"/>
                  </a:lnTo>
                  <a:lnTo>
                    <a:pt x="2725" y="837"/>
                  </a:lnTo>
                  <a:lnTo>
                    <a:pt x="2723" y="829"/>
                  </a:lnTo>
                  <a:lnTo>
                    <a:pt x="2720" y="822"/>
                  </a:lnTo>
                  <a:lnTo>
                    <a:pt x="2714" y="817"/>
                  </a:lnTo>
                  <a:close/>
                  <a:moveTo>
                    <a:pt x="3916" y="817"/>
                  </a:moveTo>
                  <a:lnTo>
                    <a:pt x="3909" y="812"/>
                  </a:lnTo>
                  <a:lnTo>
                    <a:pt x="3902" y="807"/>
                  </a:lnTo>
                  <a:lnTo>
                    <a:pt x="3894" y="806"/>
                  </a:lnTo>
                  <a:lnTo>
                    <a:pt x="3886" y="805"/>
                  </a:lnTo>
                  <a:lnTo>
                    <a:pt x="3794" y="805"/>
                  </a:lnTo>
                  <a:lnTo>
                    <a:pt x="3787" y="805"/>
                  </a:lnTo>
                  <a:lnTo>
                    <a:pt x="3780" y="806"/>
                  </a:lnTo>
                  <a:lnTo>
                    <a:pt x="3774" y="809"/>
                  </a:lnTo>
                  <a:lnTo>
                    <a:pt x="3769" y="811"/>
                  </a:lnTo>
                  <a:lnTo>
                    <a:pt x="3764" y="814"/>
                  </a:lnTo>
                  <a:lnTo>
                    <a:pt x="3758" y="820"/>
                  </a:lnTo>
                  <a:lnTo>
                    <a:pt x="3755" y="827"/>
                  </a:lnTo>
                  <a:lnTo>
                    <a:pt x="3750" y="836"/>
                  </a:lnTo>
                  <a:lnTo>
                    <a:pt x="3572" y="1221"/>
                  </a:lnTo>
                  <a:lnTo>
                    <a:pt x="3571" y="1221"/>
                  </a:lnTo>
                  <a:lnTo>
                    <a:pt x="3571" y="828"/>
                  </a:lnTo>
                  <a:lnTo>
                    <a:pt x="3570" y="823"/>
                  </a:lnTo>
                  <a:lnTo>
                    <a:pt x="3569" y="819"/>
                  </a:lnTo>
                  <a:lnTo>
                    <a:pt x="3568" y="814"/>
                  </a:lnTo>
                  <a:lnTo>
                    <a:pt x="3564" y="811"/>
                  </a:lnTo>
                  <a:lnTo>
                    <a:pt x="3562" y="809"/>
                  </a:lnTo>
                  <a:lnTo>
                    <a:pt x="3558" y="806"/>
                  </a:lnTo>
                  <a:lnTo>
                    <a:pt x="3553" y="805"/>
                  </a:lnTo>
                  <a:lnTo>
                    <a:pt x="3547" y="805"/>
                  </a:lnTo>
                  <a:lnTo>
                    <a:pt x="3457" y="805"/>
                  </a:lnTo>
                  <a:lnTo>
                    <a:pt x="3452" y="805"/>
                  </a:lnTo>
                  <a:lnTo>
                    <a:pt x="3447" y="806"/>
                  </a:lnTo>
                  <a:lnTo>
                    <a:pt x="3444" y="809"/>
                  </a:lnTo>
                  <a:lnTo>
                    <a:pt x="3440" y="811"/>
                  </a:lnTo>
                  <a:lnTo>
                    <a:pt x="3438" y="814"/>
                  </a:lnTo>
                  <a:lnTo>
                    <a:pt x="3436" y="819"/>
                  </a:lnTo>
                  <a:lnTo>
                    <a:pt x="3434" y="823"/>
                  </a:lnTo>
                  <a:lnTo>
                    <a:pt x="3434" y="828"/>
                  </a:lnTo>
                  <a:lnTo>
                    <a:pt x="3434" y="1364"/>
                  </a:lnTo>
                  <a:lnTo>
                    <a:pt x="3434" y="1372"/>
                  </a:lnTo>
                  <a:lnTo>
                    <a:pt x="3437" y="1380"/>
                  </a:lnTo>
                  <a:lnTo>
                    <a:pt x="3441" y="1387"/>
                  </a:lnTo>
                  <a:lnTo>
                    <a:pt x="3446" y="1393"/>
                  </a:lnTo>
                  <a:lnTo>
                    <a:pt x="3453" y="1398"/>
                  </a:lnTo>
                  <a:lnTo>
                    <a:pt x="3460" y="1402"/>
                  </a:lnTo>
                  <a:lnTo>
                    <a:pt x="3466" y="1404"/>
                  </a:lnTo>
                  <a:lnTo>
                    <a:pt x="3475" y="1404"/>
                  </a:lnTo>
                  <a:lnTo>
                    <a:pt x="3561" y="1404"/>
                  </a:lnTo>
                  <a:lnTo>
                    <a:pt x="3577" y="1404"/>
                  </a:lnTo>
                  <a:lnTo>
                    <a:pt x="3592" y="1401"/>
                  </a:lnTo>
                  <a:lnTo>
                    <a:pt x="3596" y="1399"/>
                  </a:lnTo>
                  <a:lnTo>
                    <a:pt x="3600" y="1397"/>
                  </a:lnTo>
                  <a:lnTo>
                    <a:pt x="3603" y="1395"/>
                  </a:lnTo>
                  <a:lnTo>
                    <a:pt x="3607" y="1391"/>
                  </a:lnTo>
                  <a:lnTo>
                    <a:pt x="3613" y="1382"/>
                  </a:lnTo>
                  <a:lnTo>
                    <a:pt x="3620" y="1371"/>
                  </a:lnTo>
                  <a:lnTo>
                    <a:pt x="3788" y="1007"/>
                  </a:lnTo>
                  <a:lnTo>
                    <a:pt x="3790" y="1007"/>
                  </a:lnTo>
                  <a:lnTo>
                    <a:pt x="3790" y="1380"/>
                  </a:lnTo>
                  <a:lnTo>
                    <a:pt x="3790" y="1386"/>
                  </a:lnTo>
                  <a:lnTo>
                    <a:pt x="3792" y="1389"/>
                  </a:lnTo>
                  <a:lnTo>
                    <a:pt x="3794" y="1394"/>
                  </a:lnTo>
                  <a:lnTo>
                    <a:pt x="3797" y="1397"/>
                  </a:lnTo>
                  <a:lnTo>
                    <a:pt x="3800" y="1401"/>
                  </a:lnTo>
                  <a:lnTo>
                    <a:pt x="3805" y="1403"/>
                  </a:lnTo>
                  <a:lnTo>
                    <a:pt x="3810" y="1404"/>
                  </a:lnTo>
                  <a:lnTo>
                    <a:pt x="3814" y="1404"/>
                  </a:lnTo>
                  <a:lnTo>
                    <a:pt x="3903" y="1404"/>
                  </a:lnTo>
                  <a:lnTo>
                    <a:pt x="3908" y="1404"/>
                  </a:lnTo>
                  <a:lnTo>
                    <a:pt x="3912" y="1403"/>
                  </a:lnTo>
                  <a:lnTo>
                    <a:pt x="3917" y="1401"/>
                  </a:lnTo>
                  <a:lnTo>
                    <a:pt x="3920" y="1397"/>
                  </a:lnTo>
                  <a:lnTo>
                    <a:pt x="3924" y="1394"/>
                  </a:lnTo>
                  <a:lnTo>
                    <a:pt x="3926" y="1389"/>
                  </a:lnTo>
                  <a:lnTo>
                    <a:pt x="3927" y="1385"/>
                  </a:lnTo>
                  <a:lnTo>
                    <a:pt x="3928" y="1380"/>
                  </a:lnTo>
                  <a:lnTo>
                    <a:pt x="3928" y="845"/>
                  </a:lnTo>
                  <a:lnTo>
                    <a:pt x="3927" y="837"/>
                  </a:lnTo>
                  <a:lnTo>
                    <a:pt x="3925" y="829"/>
                  </a:lnTo>
                  <a:lnTo>
                    <a:pt x="3920" y="822"/>
                  </a:lnTo>
                  <a:lnTo>
                    <a:pt x="3916" y="817"/>
                  </a:lnTo>
                  <a:close/>
                  <a:moveTo>
                    <a:pt x="3112" y="1096"/>
                  </a:moveTo>
                  <a:lnTo>
                    <a:pt x="3327" y="840"/>
                  </a:lnTo>
                  <a:lnTo>
                    <a:pt x="3331" y="836"/>
                  </a:lnTo>
                  <a:lnTo>
                    <a:pt x="3333" y="831"/>
                  </a:lnTo>
                  <a:lnTo>
                    <a:pt x="3334" y="827"/>
                  </a:lnTo>
                  <a:lnTo>
                    <a:pt x="3334" y="823"/>
                  </a:lnTo>
                  <a:lnTo>
                    <a:pt x="3334" y="819"/>
                  </a:lnTo>
                  <a:lnTo>
                    <a:pt x="3331" y="813"/>
                  </a:lnTo>
                  <a:lnTo>
                    <a:pt x="3327" y="810"/>
                  </a:lnTo>
                  <a:lnTo>
                    <a:pt x="3324" y="807"/>
                  </a:lnTo>
                  <a:lnTo>
                    <a:pt x="3318" y="806"/>
                  </a:lnTo>
                  <a:lnTo>
                    <a:pt x="3311" y="806"/>
                  </a:lnTo>
                  <a:lnTo>
                    <a:pt x="3213" y="806"/>
                  </a:lnTo>
                  <a:lnTo>
                    <a:pt x="3206" y="806"/>
                  </a:lnTo>
                  <a:lnTo>
                    <a:pt x="3201" y="807"/>
                  </a:lnTo>
                  <a:lnTo>
                    <a:pt x="3197" y="809"/>
                  </a:lnTo>
                  <a:lnTo>
                    <a:pt x="3194" y="810"/>
                  </a:lnTo>
                  <a:lnTo>
                    <a:pt x="3190" y="812"/>
                  </a:lnTo>
                  <a:lnTo>
                    <a:pt x="3188" y="815"/>
                  </a:lnTo>
                  <a:lnTo>
                    <a:pt x="2994" y="1056"/>
                  </a:lnTo>
                  <a:lnTo>
                    <a:pt x="2993" y="1056"/>
                  </a:lnTo>
                  <a:lnTo>
                    <a:pt x="2993" y="829"/>
                  </a:lnTo>
                  <a:lnTo>
                    <a:pt x="2992" y="824"/>
                  </a:lnTo>
                  <a:lnTo>
                    <a:pt x="2991" y="820"/>
                  </a:lnTo>
                  <a:lnTo>
                    <a:pt x="2989" y="815"/>
                  </a:lnTo>
                  <a:lnTo>
                    <a:pt x="2985" y="813"/>
                  </a:lnTo>
                  <a:lnTo>
                    <a:pt x="2982" y="810"/>
                  </a:lnTo>
                  <a:lnTo>
                    <a:pt x="2977" y="807"/>
                  </a:lnTo>
                  <a:lnTo>
                    <a:pt x="2973" y="806"/>
                  </a:lnTo>
                  <a:lnTo>
                    <a:pt x="2968" y="806"/>
                  </a:lnTo>
                  <a:lnTo>
                    <a:pt x="2884" y="806"/>
                  </a:lnTo>
                  <a:lnTo>
                    <a:pt x="2879" y="806"/>
                  </a:lnTo>
                  <a:lnTo>
                    <a:pt x="2875" y="807"/>
                  </a:lnTo>
                  <a:lnTo>
                    <a:pt x="2871" y="810"/>
                  </a:lnTo>
                  <a:lnTo>
                    <a:pt x="2868" y="812"/>
                  </a:lnTo>
                  <a:lnTo>
                    <a:pt x="2864" y="814"/>
                  </a:lnTo>
                  <a:lnTo>
                    <a:pt x="2862" y="818"/>
                  </a:lnTo>
                  <a:lnTo>
                    <a:pt x="2860" y="823"/>
                  </a:lnTo>
                  <a:lnTo>
                    <a:pt x="2860" y="829"/>
                  </a:lnTo>
                  <a:lnTo>
                    <a:pt x="2860" y="1380"/>
                  </a:lnTo>
                  <a:lnTo>
                    <a:pt x="2860" y="1386"/>
                  </a:lnTo>
                  <a:lnTo>
                    <a:pt x="2861" y="1390"/>
                  </a:lnTo>
                  <a:lnTo>
                    <a:pt x="2863" y="1394"/>
                  </a:lnTo>
                  <a:lnTo>
                    <a:pt x="2867" y="1397"/>
                  </a:lnTo>
                  <a:lnTo>
                    <a:pt x="2870" y="1401"/>
                  </a:lnTo>
                  <a:lnTo>
                    <a:pt x="2875" y="1403"/>
                  </a:lnTo>
                  <a:lnTo>
                    <a:pt x="2879" y="1404"/>
                  </a:lnTo>
                  <a:lnTo>
                    <a:pt x="2884" y="1404"/>
                  </a:lnTo>
                  <a:lnTo>
                    <a:pt x="2968" y="1404"/>
                  </a:lnTo>
                  <a:lnTo>
                    <a:pt x="2974" y="1404"/>
                  </a:lnTo>
                  <a:lnTo>
                    <a:pt x="2977" y="1403"/>
                  </a:lnTo>
                  <a:lnTo>
                    <a:pt x="2982" y="1401"/>
                  </a:lnTo>
                  <a:lnTo>
                    <a:pt x="2985" y="1397"/>
                  </a:lnTo>
                  <a:lnTo>
                    <a:pt x="2989" y="1394"/>
                  </a:lnTo>
                  <a:lnTo>
                    <a:pt x="2991" y="1390"/>
                  </a:lnTo>
                  <a:lnTo>
                    <a:pt x="2992" y="1386"/>
                  </a:lnTo>
                  <a:lnTo>
                    <a:pt x="2993" y="1380"/>
                  </a:lnTo>
                  <a:lnTo>
                    <a:pt x="2993" y="1146"/>
                  </a:lnTo>
                  <a:lnTo>
                    <a:pt x="2996" y="1146"/>
                  </a:lnTo>
                  <a:lnTo>
                    <a:pt x="3175" y="1393"/>
                  </a:lnTo>
                  <a:lnTo>
                    <a:pt x="3179" y="1398"/>
                  </a:lnTo>
                  <a:lnTo>
                    <a:pt x="3185" y="1402"/>
                  </a:lnTo>
                  <a:lnTo>
                    <a:pt x="3192" y="1404"/>
                  </a:lnTo>
                  <a:lnTo>
                    <a:pt x="3200" y="1404"/>
                  </a:lnTo>
                  <a:lnTo>
                    <a:pt x="3315" y="1404"/>
                  </a:lnTo>
                  <a:lnTo>
                    <a:pt x="3320" y="1404"/>
                  </a:lnTo>
                  <a:lnTo>
                    <a:pt x="3325" y="1403"/>
                  </a:lnTo>
                  <a:lnTo>
                    <a:pt x="3328" y="1401"/>
                  </a:lnTo>
                  <a:lnTo>
                    <a:pt x="3331" y="1398"/>
                  </a:lnTo>
                  <a:lnTo>
                    <a:pt x="3334" y="1394"/>
                  </a:lnTo>
                  <a:lnTo>
                    <a:pt x="3334" y="1390"/>
                  </a:lnTo>
                  <a:lnTo>
                    <a:pt x="3334" y="1387"/>
                  </a:lnTo>
                  <a:lnTo>
                    <a:pt x="3333" y="1383"/>
                  </a:lnTo>
                  <a:lnTo>
                    <a:pt x="3331" y="1380"/>
                  </a:lnTo>
                  <a:lnTo>
                    <a:pt x="3328" y="1376"/>
                  </a:lnTo>
                  <a:lnTo>
                    <a:pt x="3112" y="1096"/>
                  </a:lnTo>
                  <a:close/>
                  <a:moveTo>
                    <a:pt x="2146" y="812"/>
                  </a:moveTo>
                  <a:lnTo>
                    <a:pt x="2143" y="809"/>
                  </a:lnTo>
                  <a:lnTo>
                    <a:pt x="2138" y="807"/>
                  </a:lnTo>
                  <a:lnTo>
                    <a:pt x="2134" y="805"/>
                  </a:lnTo>
                  <a:lnTo>
                    <a:pt x="2129" y="805"/>
                  </a:lnTo>
                  <a:lnTo>
                    <a:pt x="1712" y="805"/>
                  </a:lnTo>
                  <a:lnTo>
                    <a:pt x="1707" y="805"/>
                  </a:lnTo>
                  <a:lnTo>
                    <a:pt x="1703" y="806"/>
                  </a:lnTo>
                  <a:lnTo>
                    <a:pt x="1698" y="809"/>
                  </a:lnTo>
                  <a:lnTo>
                    <a:pt x="1696" y="812"/>
                  </a:lnTo>
                  <a:lnTo>
                    <a:pt x="1692" y="815"/>
                  </a:lnTo>
                  <a:lnTo>
                    <a:pt x="1690" y="819"/>
                  </a:lnTo>
                  <a:lnTo>
                    <a:pt x="1688" y="823"/>
                  </a:lnTo>
                  <a:lnTo>
                    <a:pt x="1688" y="828"/>
                  </a:lnTo>
                  <a:lnTo>
                    <a:pt x="1688" y="894"/>
                  </a:lnTo>
                  <a:lnTo>
                    <a:pt x="1688" y="898"/>
                  </a:lnTo>
                  <a:lnTo>
                    <a:pt x="1690" y="903"/>
                  </a:lnTo>
                  <a:lnTo>
                    <a:pt x="1692" y="906"/>
                  </a:lnTo>
                  <a:lnTo>
                    <a:pt x="1696" y="910"/>
                  </a:lnTo>
                  <a:lnTo>
                    <a:pt x="1699" y="913"/>
                  </a:lnTo>
                  <a:lnTo>
                    <a:pt x="1704" y="914"/>
                  </a:lnTo>
                  <a:lnTo>
                    <a:pt x="1708" y="915"/>
                  </a:lnTo>
                  <a:lnTo>
                    <a:pt x="1712" y="917"/>
                  </a:lnTo>
                  <a:lnTo>
                    <a:pt x="1854" y="917"/>
                  </a:lnTo>
                  <a:lnTo>
                    <a:pt x="1854" y="1380"/>
                  </a:lnTo>
                  <a:lnTo>
                    <a:pt x="1854" y="1386"/>
                  </a:lnTo>
                  <a:lnTo>
                    <a:pt x="1855" y="1390"/>
                  </a:lnTo>
                  <a:lnTo>
                    <a:pt x="1858" y="1394"/>
                  </a:lnTo>
                  <a:lnTo>
                    <a:pt x="1861" y="1397"/>
                  </a:lnTo>
                  <a:lnTo>
                    <a:pt x="1865" y="1401"/>
                  </a:lnTo>
                  <a:lnTo>
                    <a:pt x="1869" y="1403"/>
                  </a:lnTo>
                  <a:lnTo>
                    <a:pt x="1874" y="1404"/>
                  </a:lnTo>
                  <a:lnTo>
                    <a:pt x="1878" y="1404"/>
                  </a:lnTo>
                  <a:lnTo>
                    <a:pt x="1963" y="1404"/>
                  </a:lnTo>
                  <a:lnTo>
                    <a:pt x="1968" y="1404"/>
                  </a:lnTo>
                  <a:lnTo>
                    <a:pt x="1973" y="1403"/>
                  </a:lnTo>
                  <a:lnTo>
                    <a:pt x="1976" y="1401"/>
                  </a:lnTo>
                  <a:lnTo>
                    <a:pt x="1980" y="1397"/>
                  </a:lnTo>
                  <a:lnTo>
                    <a:pt x="1983" y="1394"/>
                  </a:lnTo>
                  <a:lnTo>
                    <a:pt x="1985" y="1390"/>
                  </a:lnTo>
                  <a:lnTo>
                    <a:pt x="1986" y="1386"/>
                  </a:lnTo>
                  <a:lnTo>
                    <a:pt x="1988" y="1380"/>
                  </a:lnTo>
                  <a:lnTo>
                    <a:pt x="1988" y="917"/>
                  </a:lnTo>
                  <a:lnTo>
                    <a:pt x="2129" y="917"/>
                  </a:lnTo>
                  <a:lnTo>
                    <a:pt x="2132" y="915"/>
                  </a:lnTo>
                  <a:lnTo>
                    <a:pt x="2137" y="914"/>
                  </a:lnTo>
                  <a:lnTo>
                    <a:pt x="2140" y="913"/>
                  </a:lnTo>
                  <a:lnTo>
                    <a:pt x="2145" y="911"/>
                  </a:lnTo>
                  <a:lnTo>
                    <a:pt x="2148" y="907"/>
                  </a:lnTo>
                  <a:lnTo>
                    <a:pt x="2151" y="903"/>
                  </a:lnTo>
                  <a:lnTo>
                    <a:pt x="2153" y="898"/>
                  </a:lnTo>
                  <a:lnTo>
                    <a:pt x="2153" y="894"/>
                  </a:lnTo>
                  <a:lnTo>
                    <a:pt x="2153" y="828"/>
                  </a:lnTo>
                  <a:lnTo>
                    <a:pt x="2153" y="823"/>
                  </a:lnTo>
                  <a:lnTo>
                    <a:pt x="2152" y="819"/>
                  </a:lnTo>
                  <a:lnTo>
                    <a:pt x="2148" y="815"/>
                  </a:lnTo>
                  <a:lnTo>
                    <a:pt x="2146" y="812"/>
                  </a:lnTo>
                  <a:close/>
                  <a:moveTo>
                    <a:pt x="1047" y="902"/>
                  </a:moveTo>
                  <a:lnTo>
                    <a:pt x="1041" y="893"/>
                  </a:lnTo>
                  <a:lnTo>
                    <a:pt x="1036" y="884"/>
                  </a:lnTo>
                  <a:lnTo>
                    <a:pt x="1029" y="876"/>
                  </a:lnTo>
                  <a:lnTo>
                    <a:pt x="1022" y="868"/>
                  </a:lnTo>
                  <a:lnTo>
                    <a:pt x="1015" y="860"/>
                  </a:lnTo>
                  <a:lnTo>
                    <a:pt x="1007" y="853"/>
                  </a:lnTo>
                  <a:lnTo>
                    <a:pt x="999" y="846"/>
                  </a:lnTo>
                  <a:lnTo>
                    <a:pt x="991" y="840"/>
                  </a:lnTo>
                  <a:lnTo>
                    <a:pt x="973" y="830"/>
                  </a:lnTo>
                  <a:lnTo>
                    <a:pt x="954" y="821"/>
                  </a:lnTo>
                  <a:lnTo>
                    <a:pt x="932" y="813"/>
                  </a:lnTo>
                  <a:lnTo>
                    <a:pt x="910" y="807"/>
                  </a:lnTo>
                  <a:lnTo>
                    <a:pt x="886" y="804"/>
                  </a:lnTo>
                  <a:lnTo>
                    <a:pt x="863" y="801"/>
                  </a:lnTo>
                  <a:lnTo>
                    <a:pt x="840" y="800"/>
                  </a:lnTo>
                  <a:lnTo>
                    <a:pt x="814" y="798"/>
                  </a:lnTo>
                  <a:lnTo>
                    <a:pt x="789" y="798"/>
                  </a:lnTo>
                  <a:lnTo>
                    <a:pt x="765" y="800"/>
                  </a:lnTo>
                  <a:lnTo>
                    <a:pt x="744" y="801"/>
                  </a:lnTo>
                  <a:lnTo>
                    <a:pt x="723" y="802"/>
                  </a:lnTo>
                  <a:lnTo>
                    <a:pt x="700" y="803"/>
                  </a:lnTo>
                  <a:lnTo>
                    <a:pt x="680" y="805"/>
                  </a:lnTo>
                  <a:lnTo>
                    <a:pt x="663" y="807"/>
                  </a:lnTo>
                  <a:lnTo>
                    <a:pt x="647" y="809"/>
                  </a:lnTo>
                  <a:lnTo>
                    <a:pt x="639" y="811"/>
                  </a:lnTo>
                  <a:lnTo>
                    <a:pt x="633" y="812"/>
                  </a:lnTo>
                  <a:lnTo>
                    <a:pt x="627" y="814"/>
                  </a:lnTo>
                  <a:lnTo>
                    <a:pt x="623" y="818"/>
                  </a:lnTo>
                  <a:lnTo>
                    <a:pt x="618" y="822"/>
                  </a:lnTo>
                  <a:lnTo>
                    <a:pt x="615" y="827"/>
                  </a:lnTo>
                  <a:lnTo>
                    <a:pt x="614" y="834"/>
                  </a:lnTo>
                  <a:lnTo>
                    <a:pt x="613" y="842"/>
                  </a:lnTo>
                  <a:lnTo>
                    <a:pt x="613" y="1380"/>
                  </a:lnTo>
                  <a:lnTo>
                    <a:pt x="613" y="1386"/>
                  </a:lnTo>
                  <a:lnTo>
                    <a:pt x="615" y="1389"/>
                  </a:lnTo>
                  <a:lnTo>
                    <a:pt x="617" y="1394"/>
                  </a:lnTo>
                  <a:lnTo>
                    <a:pt x="619" y="1397"/>
                  </a:lnTo>
                  <a:lnTo>
                    <a:pt x="624" y="1401"/>
                  </a:lnTo>
                  <a:lnTo>
                    <a:pt x="627" y="1403"/>
                  </a:lnTo>
                  <a:lnTo>
                    <a:pt x="632" y="1404"/>
                  </a:lnTo>
                  <a:lnTo>
                    <a:pt x="637" y="1404"/>
                  </a:lnTo>
                  <a:lnTo>
                    <a:pt x="722" y="1404"/>
                  </a:lnTo>
                  <a:lnTo>
                    <a:pt x="728" y="1404"/>
                  </a:lnTo>
                  <a:lnTo>
                    <a:pt x="731" y="1403"/>
                  </a:lnTo>
                  <a:lnTo>
                    <a:pt x="736" y="1401"/>
                  </a:lnTo>
                  <a:lnTo>
                    <a:pt x="739" y="1397"/>
                  </a:lnTo>
                  <a:lnTo>
                    <a:pt x="743" y="1394"/>
                  </a:lnTo>
                  <a:lnTo>
                    <a:pt x="744" y="1390"/>
                  </a:lnTo>
                  <a:lnTo>
                    <a:pt x="746" y="1386"/>
                  </a:lnTo>
                  <a:lnTo>
                    <a:pt x="746" y="1380"/>
                  </a:lnTo>
                  <a:lnTo>
                    <a:pt x="746" y="1202"/>
                  </a:lnTo>
                  <a:lnTo>
                    <a:pt x="756" y="1203"/>
                  </a:lnTo>
                  <a:lnTo>
                    <a:pt x="778" y="1203"/>
                  </a:lnTo>
                  <a:lnTo>
                    <a:pt x="801" y="1204"/>
                  </a:lnTo>
                  <a:lnTo>
                    <a:pt x="814" y="1205"/>
                  </a:lnTo>
                  <a:lnTo>
                    <a:pt x="838" y="1204"/>
                  </a:lnTo>
                  <a:lnTo>
                    <a:pt x="862" y="1203"/>
                  </a:lnTo>
                  <a:lnTo>
                    <a:pt x="886" y="1199"/>
                  </a:lnTo>
                  <a:lnTo>
                    <a:pt x="910" y="1195"/>
                  </a:lnTo>
                  <a:lnTo>
                    <a:pt x="932" y="1189"/>
                  </a:lnTo>
                  <a:lnTo>
                    <a:pt x="952" y="1182"/>
                  </a:lnTo>
                  <a:lnTo>
                    <a:pt x="973" y="1173"/>
                  </a:lnTo>
                  <a:lnTo>
                    <a:pt x="990" y="1162"/>
                  </a:lnTo>
                  <a:lnTo>
                    <a:pt x="999" y="1156"/>
                  </a:lnTo>
                  <a:lnTo>
                    <a:pt x="1007" y="1149"/>
                  </a:lnTo>
                  <a:lnTo>
                    <a:pt x="1015" y="1143"/>
                  </a:lnTo>
                  <a:lnTo>
                    <a:pt x="1022" y="1135"/>
                  </a:lnTo>
                  <a:lnTo>
                    <a:pt x="1029" y="1127"/>
                  </a:lnTo>
                  <a:lnTo>
                    <a:pt x="1036" y="1118"/>
                  </a:lnTo>
                  <a:lnTo>
                    <a:pt x="1041" y="1109"/>
                  </a:lnTo>
                  <a:lnTo>
                    <a:pt x="1047" y="1099"/>
                  </a:lnTo>
                  <a:lnTo>
                    <a:pt x="1053" y="1088"/>
                  </a:lnTo>
                  <a:lnTo>
                    <a:pt x="1057" y="1077"/>
                  </a:lnTo>
                  <a:lnTo>
                    <a:pt x="1061" y="1064"/>
                  </a:lnTo>
                  <a:lnTo>
                    <a:pt x="1064" y="1052"/>
                  </a:lnTo>
                  <a:lnTo>
                    <a:pt x="1066" y="1039"/>
                  </a:lnTo>
                  <a:lnTo>
                    <a:pt x="1069" y="1027"/>
                  </a:lnTo>
                  <a:lnTo>
                    <a:pt x="1070" y="1013"/>
                  </a:lnTo>
                  <a:lnTo>
                    <a:pt x="1070" y="1001"/>
                  </a:lnTo>
                  <a:lnTo>
                    <a:pt x="1070" y="987"/>
                  </a:lnTo>
                  <a:lnTo>
                    <a:pt x="1069" y="974"/>
                  </a:lnTo>
                  <a:lnTo>
                    <a:pt x="1066" y="961"/>
                  </a:lnTo>
                  <a:lnTo>
                    <a:pt x="1064" y="948"/>
                  </a:lnTo>
                  <a:lnTo>
                    <a:pt x="1061" y="937"/>
                  </a:lnTo>
                  <a:lnTo>
                    <a:pt x="1057" y="924"/>
                  </a:lnTo>
                  <a:lnTo>
                    <a:pt x="1053" y="913"/>
                  </a:lnTo>
                  <a:lnTo>
                    <a:pt x="1047" y="902"/>
                  </a:lnTo>
                  <a:close/>
                  <a:moveTo>
                    <a:pt x="746" y="911"/>
                  </a:moveTo>
                  <a:lnTo>
                    <a:pt x="746" y="911"/>
                  </a:lnTo>
                  <a:lnTo>
                    <a:pt x="756" y="911"/>
                  </a:lnTo>
                  <a:lnTo>
                    <a:pt x="779" y="910"/>
                  </a:lnTo>
                  <a:lnTo>
                    <a:pt x="802" y="909"/>
                  </a:lnTo>
                  <a:lnTo>
                    <a:pt x="814" y="909"/>
                  </a:lnTo>
                  <a:lnTo>
                    <a:pt x="829" y="909"/>
                  </a:lnTo>
                  <a:lnTo>
                    <a:pt x="843" y="910"/>
                  </a:lnTo>
                  <a:lnTo>
                    <a:pt x="857" y="911"/>
                  </a:lnTo>
                  <a:lnTo>
                    <a:pt x="868" y="913"/>
                  </a:lnTo>
                  <a:lnTo>
                    <a:pt x="879" y="917"/>
                  </a:lnTo>
                  <a:lnTo>
                    <a:pt x="889" y="920"/>
                  </a:lnTo>
                  <a:lnTo>
                    <a:pt x="898" y="924"/>
                  </a:lnTo>
                  <a:lnTo>
                    <a:pt x="906" y="929"/>
                  </a:lnTo>
                  <a:lnTo>
                    <a:pt x="914" y="936"/>
                  </a:lnTo>
                  <a:lnTo>
                    <a:pt x="920" y="943"/>
                  </a:lnTo>
                  <a:lnTo>
                    <a:pt x="926" y="951"/>
                  </a:lnTo>
                  <a:lnTo>
                    <a:pt x="931" y="960"/>
                  </a:lnTo>
                  <a:lnTo>
                    <a:pt x="934" y="970"/>
                  </a:lnTo>
                  <a:lnTo>
                    <a:pt x="936" y="979"/>
                  </a:lnTo>
                  <a:lnTo>
                    <a:pt x="938" y="989"/>
                  </a:lnTo>
                  <a:lnTo>
                    <a:pt x="939" y="1001"/>
                  </a:lnTo>
                  <a:lnTo>
                    <a:pt x="938" y="1011"/>
                  </a:lnTo>
                  <a:lnTo>
                    <a:pt x="936" y="1021"/>
                  </a:lnTo>
                  <a:lnTo>
                    <a:pt x="934" y="1031"/>
                  </a:lnTo>
                  <a:lnTo>
                    <a:pt x="931" y="1041"/>
                  </a:lnTo>
                  <a:lnTo>
                    <a:pt x="926" y="1051"/>
                  </a:lnTo>
                  <a:lnTo>
                    <a:pt x="920" y="1059"/>
                  </a:lnTo>
                  <a:lnTo>
                    <a:pt x="915" y="1066"/>
                  </a:lnTo>
                  <a:lnTo>
                    <a:pt x="908" y="1073"/>
                  </a:lnTo>
                  <a:lnTo>
                    <a:pt x="900" y="1079"/>
                  </a:lnTo>
                  <a:lnTo>
                    <a:pt x="892" y="1084"/>
                  </a:lnTo>
                  <a:lnTo>
                    <a:pt x="882" y="1087"/>
                  </a:lnTo>
                  <a:lnTo>
                    <a:pt x="871" y="1090"/>
                  </a:lnTo>
                  <a:lnTo>
                    <a:pt x="859" y="1093"/>
                  </a:lnTo>
                  <a:lnTo>
                    <a:pt x="845" y="1095"/>
                  </a:lnTo>
                  <a:lnTo>
                    <a:pt x="830" y="1096"/>
                  </a:lnTo>
                  <a:lnTo>
                    <a:pt x="814" y="1096"/>
                  </a:lnTo>
                  <a:lnTo>
                    <a:pt x="802" y="1096"/>
                  </a:lnTo>
                  <a:lnTo>
                    <a:pt x="779" y="1095"/>
                  </a:lnTo>
                  <a:lnTo>
                    <a:pt x="756" y="1094"/>
                  </a:lnTo>
                  <a:lnTo>
                    <a:pt x="746" y="1094"/>
                  </a:lnTo>
                  <a:lnTo>
                    <a:pt x="746" y="911"/>
                  </a:lnTo>
                  <a:close/>
                  <a:moveTo>
                    <a:pt x="333" y="1154"/>
                  </a:moveTo>
                  <a:lnTo>
                    <a:pt x="333" y="1154"/>
                  </a:lnTo>
                  <a:lnTo>
                    <a:pt x="202" y="1154"/>
                  </a:lnTo>
                  <a:lnTo>
                    <a:pt x="261" y="918"/>
                  </a:lnTo>
                  <a:lnTo>
                    <a:pt x="261" y="915"/>
                  </a:lnTo>
                  <a:lnTo>
                    <a:pt x="263" y="913"/>
                  </a:lnTo>
                  <a:lnTo>
                    <a:pt x="264" y="911"/>
                  </a:lnTo>
                  <a:lnTo>
                    <a:pt x="267" y="910"/>
                  </a:lnTo>
                  <a:lnTo>
                    <a:pt x="271" y="911"/>
                  </a:lnTo>
                  <a:lnTo>
                    <a:pt x="272" y="912"/>
                  </a:lnTo>
                  <a:lnTo>
                    <a:pt x="273" y="914"/>
                  </a:lnTo>
                  <a:lnTo>
                    <a:pt x="274" y="918"/>
                  </a:lnTo>
                  <a:lnTo>
                    <a:pt x="333" y="1154"/>
                  </a:lnTo>
                  <a:close/>
                </a:path>
              </a:pathLst>
            </a:custGeom>
            <a:solidFill>
              <a:srgbClr val="162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</p:spTree>
    <p:extLst>
      <p:ext uri="{BB962C8B-B14F-4D97-AF65-F5344CB8AC3E}">
        <p14:creationId xmlns:p14="http://schemas.microsoft.com/office/powerpoint/2010/main" val="4194239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5"/>
            <a:ext cx="5568948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6239938" y="1268413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6239938" y="3897311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771429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383119" y="188643"/>
            <a:ext cx="11413757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383119" y="1268413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383119" y="3897311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6227927" y="1268415"/>
            <a:ext cx="5568948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83686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383119" y="188643"/>
            <a:ext cx="11413757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8208436" y="1268415"/>
            <a:ext cx="358844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383120" y="1268415"/>
            <a:ext cx="358844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295777" y="1268415"/>
            <a:ext cx="358844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34042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383119" y="188643"/>
            <a:ext cx="11413757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383119" y="1268413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6227927" y="1268413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383119" y="3897311"/>
            <a:ext cx="11425767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842650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383119" y="1268412"/>
            <a:ext cx="11425767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383119" y="3904796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6227927" y="3904796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02209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19" y="3933828"/>
            <a:ext cx="5568951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6239935" y="3933828"/>
            <a:ext cx="5568951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83119" y="1268413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6227927" y="1268413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57571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83120" y="3934473"/>
            <a:ext cx="556683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83120" y="4371456"/>
            <a:ext cx="556683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239935" y="3934473"/>
            <a:ext cx="55689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239935" y="4371456"/>
            <a:ext cx="55689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83120" y="1241223"/>
            <a:ext cx="556683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83120" y="1679949"/>
            <a:ext cx="556683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239935" y="1241223"/>
            <a:ext cx="55689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239935" y="1679949"/>
            <a:ext cx="55689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83120" y="1776416"/>
            <a:ext cx="5566833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239935" y="1776416"/>
            <a:ext cx="5568951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83120" y="4467953"/>
            <a:ext cx="5566833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239935" y="4467953"/>
            <a:ext cx="5568951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763530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83120" y="5978234"/>
            <a:ext cx="5566833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239935" y="5978234"/>
            <a:ext cx="5568948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83120" y="3284984"/>
            <a:ext cx="5566833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239935" y="3284984"/>
            <a:ext cx="5568948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83120" y="1254295"/>
            <a:ext cx="5566833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239935" y="1254295"/>
            <a:ext cx="5568951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83120" y="3945802"/>
            <a:ext cx="5566833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239935" y="3945802"/>
            <a:ext cx="5568951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173140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383119" y="1268760"/>
            <a:ext cx="11413757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27194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6239935" y="1268759"/>
            <a:ext cx="5568949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83119" y="1268415"/>
            <a:ext cx="556895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24385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92621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383119" y="1268759"/>
            <a:ext cx="5548157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383119" y="188643"/>
            <a:ext cx="11413757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6227926" y="1268415"/>
            <a:ext cx="556895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790317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383118" y="3926849"/>
            <a:ext cx="1142576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83120" y="1268416"/>
            <a:ext cx="11413757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683692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39544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" name="think-cell Slide" r:id="rId4" imgW="366" imgH="369" progId="TCLayout.ActiveDocument.1">
                  <p:embed/>
                </p:oleObj>
              </mc:Choice>
              <mc:Fallback>
                <p:oleObj name="think-cell Slide" r:id="rId4" imgW="366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383119" y="3926849"/>
            <a:ext cx="356575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4320875" y="3926849"/>
            <a:ext cx="3552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8244876" y="3926849"/>
            <a:ext cx="3564009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20" y="1268416"/>
            <a:ext cx="11413757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635498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6239935" y="1268759"/>
            <a:ext cx="5568949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83119" y="1268413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383119" y="3897311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212177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6" y="1268762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6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383119" y="1268413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383119" y="3897311"/>
            <a:ext cx="5568948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59907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6" y="1268762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6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19" y="1268415"/>
            <a:ext cx="5568949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557053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6" y="1268762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6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383119" y="1268762"/>
            <a:ext cx="554815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383119" y="3923099"/>
            <a:ext cx="554815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492078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383118" y="1268414"/>
            <a:ext cx="7537449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8208436" y="1272660"/>
            <a:ext cx="3600451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8208436" y="4809671"/>
            <a:ext cx="3600451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8208436" y="3041166"/>
            <a:ext cx="3600451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4295776" y="4809671"/>
            <a:ext cx="3600451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383117" y="4809671"/>
            <a:ext cx="3600451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564197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8" y="188643"/>
            <a:ext cx="11425767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6" y="1241223"/>
            <a:ext cx="36004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308828" y="1241223"/>
            <a:ext cx="36004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8208437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15" y="1679949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308827" y="1679949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6" y="1679949"/>
            <a:ext cx="360020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383119" y="3933825"/>
            <a:ext cx="11425767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383116" y="1726558"/>
            <a:ext cx="3600448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4308830" y="1726555"/>
            <a:ext cx="3600449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8208433" y="1726555"/>
            <a:ext cx="36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814194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20" y="1241226"/>
            <a:ext cx="3600449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4294717" y="1739255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8208433" y="1739255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4294717" y="4407372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8208433" y="4407372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4296000" y="1253923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294720" y="16926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8208433" y="1253923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8207153" y="16926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4294717" y="3922040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4293437" y="436076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8208884" y="3922040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8207604" y="436076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651076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 расширенно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24" name="line5"/>
          <p:cNvCxnSpPr/>
          <p:nvPr/>
        </p:nvCxnSpPr>
        <p:spPr>
          <a:xfrm>
            <a:off x="396877" y="2891978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383367" y="2587554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5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16" name="line3"/>
          <p:cNvCxnSpPr/>
          <p:nvPr/>
        </p:nvCxnSpPr>
        <p:spPr>
          <a:xfrm>
            <a:off x="396877" y="220136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383367" y="1910953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3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20" name="line4"/>
          <p:cNvCxnSpPr/>
          <p:nvPr/>
        </p:nvCxnSpPr>
        <p:spPr>
          <a:xfrm>
            <a:off x="396877" y="254667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383367" y="2250841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4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8" name="line1"/>
          <p:cNvCxnSpPr/>
          <p:nvPr/>
        </p:nvCxnSpPr>
        <p:spPr>
          <a:xfrm>
            <a:off x="396877" y="151075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383367" y="1212130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396877" y="323728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383367" y="2926865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6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12" name="line2"/>
          <p:cNvCxnSpPr/>
          <p:nvPr/>
        </p:nvCxnSpPr>
        <p:spPr>
          <a:xfrm>
            <a:off x="396877" y="185606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383367" y="1564716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2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sp>
        <p:nvSpPr>
          <p:cNvPr id="31" name="ContentsNumber7"/>
          <p:cNvSpPr txBox="1"/>
          <p:nvPr/>
        </p:nvSpPr>
        <p:spPr>
          <a:xfrm>
            <a:off x="383367" y="3256653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7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32" name="line7"/>
          <p:cNvCxnSpPr/>
          <p:nvPr/>
        </p:nvCxnSpPr>
        <p:spPr>
          <a:xfrm>
            <a:off x="396877" y="358259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line8"/>
          <p:cNvCxnSpPr/>
          <p:nvPr/>
        </p:nvCxnSpPr>
        <p:spPr>
          <a:xfrm>
            <a:off x="396877" y="392789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383367" y="359653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8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396877" y="565442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383367" y="5359475"/>
            <a:ext cx="192360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3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396877" y="496381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383367" y="4660648"/>
            <a:ext cx="179536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1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396877" y="6345037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383367" y="6032900"/>
            <a:ext cx="192360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5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396877" y="530912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383367" y="5013236"/>
            <a:ext cx="192360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2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396877" y="427320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383367" y="3936425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9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396877" y="599973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383367" y="5699365"/>
            <a:ext cx="192360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21" name="ContentsTitle5"/>
          <p:cNvSpPr txBox="1"/>
          <p:nvPr/>
        </p:nvSpPr>
        <p:spPr>
          <a:xfrm>
            <a:off x="855035" y="2690266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855035" y="2026363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855035" y="2359902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855035" y="1340238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 smtClean="0"/>
              <a:t>Название раздела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855035" y="3023228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855035" y="1686475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</a:t>
            </a:r>
            <a:r>
              <a:rPr lang="ru-RU" sz="1200" dirty="0" smtClean="0"/>
              <a:t>раздела</a:t>
            </a:r>
            <a:endParaRPr lang="ru-RU" sz="1200" dirty="0"/>
          </a:p>
        </p:txBody>
      </p:sp>
      <p:sp>
        <p:nvSpPr>
          <p:cNvPr id="29" name="ContentsTitle7"/>
          <p:cNvSpPr txBox="1"/>
          <p:nvPr/>
        </p:nvSpPr>
        <p:spPr>
          <a:xfrm>
            <a:off x="855035" y="3372061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49" name="ContentsTitle8"/>
          <p:cNvSpPr txBox="1"/>
          <p:nvPr/>
        </p:nvSpPr>
        <p:spPr>
          <a:xfrm>
            <a:off x="855035" y="3711947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865617" y="5474887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865617" y="4788758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865617" y="6161008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865617" y="5134997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865617" y="4077233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 smtClean="0"/>
              <a:t>Название раздела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865617" y="5808428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865617" y="4436170"/>
            <a:ext cx="10558976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</a:t>
            </a:r>
            <a:r>
              <a:rPr lang="ru-RU" sz="1200" dirty="0" smtClean="0"/>
              <a:t>раздела</a:t>
            </a:r>
            <a:endParaRPr lang="ru-RU" sz="1200" dirty="0"/>
          </a:p>
        </p:txBody>
      </p:sp>
      <p:cxnSp>
        <p:nvCxnSpPr>
          <p:cNvPr id="87" name="line10"/>
          <p:cNvCxnSpPr/>
          <p:nvPr/>
        </p:nvCxnSpPr>
        <p:spPr>
          <a:xfrm>
            <a:off x="396877" y="4618508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383367" y="4301711"/>
            <a:ext cx="192360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11280576" y="125116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11280576" y="1595831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11280576" y="1940494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11280576" y="2629820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11280576" y="2974483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11280576" y="3319146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11280576" y="366380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11280576" y="2285157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11280576" y="4008472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11280576" y="4353134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11280576" y="4697796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11280576" y="5042458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11280576" y="5387120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11280576" y="5731782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11280576" y="6076444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9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</a:t>
            </a:r>
            <a:r>
              <a:rPr kumimoji="0" lang="ru-R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ru-R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Neft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 убедитесь, что выбран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  <p:sp>
        <p:nvSpPr>
          <p:cNvPr id="65" name="Rectangle 6"/>
          <p:cNvSpPr/>
          <p:nvPr/>
        </p:nvSpPr>
        <p:spPr>
          <a:xfrm>
            <a:off x="12192000" y="3741128"/>
            <a:ext cx="2977008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длинных названий разделов с возможностью набора в 2 строки 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берите в команде «Структура» слайд «Содержание». 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аксимум 7 разделов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70836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20" y="1268412"/>
            <a:ext cx="3600449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294720" y="1268412"/>
            <a:ext cx="3600449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8208433" y="1268412"/>
            <a:ext cx="3600451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4177" y="3068960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4294720" y="3068960"/>
            <a:ext cx="360150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8209492" y="3068960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83117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4294717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8208433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383118" y="3554292"/>
            <a:ext cx="3600449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4294721" y="3554292"/>
            <a:ext cx="3600449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8209492" y="3554292"/>
            <a:ext cx="3600451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723561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7" y="1268413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312583" y="1268415"/>
            <a:ext cx="84963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383119" y="3068639"/>
            <a:ext cx="2688167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290850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20" y="1268413"/>
            <a:ext cx="3600449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4320119" y="1268413"/>
            <a:ext cx="748876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4320119" y="3055146"/>
            <a:ext cx="748876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4320119" y="4841879"/>
            <a:ext cx="748876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1058709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8208433" y="1268413"/>
            <a:ext cx="3600451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383118" y="1268413"/>
            <a:ext cx="7537449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83116" y="4797427"/>
            <a:ext cx="11425768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357051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20" y="3879772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294720" y="3879772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3879772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20" y="4318498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294720" y="4318498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3" y="4318498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383117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4294717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8208433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383116" y="1262018"/>
            <a:ext cx="11425768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752840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20" y="1241223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294720" y="1241223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1241223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20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294720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383120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4294720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8208436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383116" y="3890918"/>
            <a:ext cx="11425768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948620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383120" y="4421682"/>
            <a:ext cx="3600449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8208433" y="1726555"/>
            <a:ext cx="3600451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83117" y="3933825"/>
            <a:ext cx="36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83120" y="437507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8213371" y="1248594"/>
            <a:ext cx="36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8213373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4320118" y="3890918"/>
            <a:ext cx="7488767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383119" y="1262018"/>
            <a:ext cx="7488767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5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271437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7" y="1262018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294717" y="3933825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8208433" y="1262018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4296000" y="1262018"/>
            <a:ext cx="36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383117" y="3933825"/>
            <a:ext cx="36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8208433" y="3933825"/>
            <a:ext cx="36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18460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383117" y="1268413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83117" y="3032919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83117" y="4797428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3312586" y="1262018"/>
            <a:ext cx="8496300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3312586" y="3055223"/>
            <a:ext cx="8496300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3312586" y="4825956"/>
            <a:ext cx="8496300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40425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311693" y="3032956"/>
            <a:ext cx="849719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383120" y="1241223"/>
            <a:ext cx="849719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83117" y="1679949"/>
            <a:ext cx="849719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3311692" y="3471682"/>
            <a:ext cx="849719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383119" y="3068638"/>
            <a:ext cx="2688167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9169402" y="1243088"/>
            <a:ext cx="2639484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383119" y="1736728"/>
            <a:ext cx="8544983" cy="1044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3312586" y="3536950"/>
            <a:ext cx="8496300" cy="2808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534004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8" y="2611515"/>
            <a:ext cx="11425767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396875" y="3429000"/>
            <a:ext cx="1140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11517813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11629697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750" b="1" smtClean="0">
                <a:solidFill>
                  <a:schemeClr val="tx1"/>
                </a:solidFill>
              </a:rPr>
              <a:pPr algn="l"/>
              <a:t>‹#›</a:t>
            </a:fld>
            <a:endParaRPr lang="ru-RU" sz="75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3118" y="3644903"/>
            <a:ext cx="11425767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675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750" noProof="0" dirty="0" smtClean="0">
                <a:solidFill>
                  <a:schemeClr val="bg2"/>
                </a:solidFill>
              </a:rPr>
              <a:t>Газпром нефть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750" noProof="0" dirty="0" smtClean="0">
                <a:solidFill>
                  <a:schemeClr val="bg2"/>
                </a:solidFill>
              </a:rPr>
              <a:t>Gazprom</a:t>
            </a:r>
            <a:r>
              <a:rPr lang="en-US" sz="75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750" baseline="0" noProof="0" dirty="0" err="1" smtClean="0">
                <a:solidFill>
                  <a:schemeClr val="bg2"/>
                </a:solidFill>
              </a:rPr>
              <a:t>neft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750" dirty="0" smtClean="0">
              <a:solidFill>
                <a:schemeClr val="bg2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909154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7" y="1241223"/>
            <a:ext cx="552026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83117" y="1726555"/>
            <a:ext cx="5520267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6239156" y="1241223"/>
            <a:ext cx="5520267" cy="360000"/>
          </a:xfrm>
        </p:spPr>
        <p:txBody>
          <a:bodyPr anchor="b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6244169" y="1726555"/>
            <a:ext cx="5520267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83117" y="1679949"/>
            <a:ext cx="552026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6239156" y="1679949"/>
            <a:ext cx="552026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497683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20" y="1268413"/>
            <a:ext cx="7512049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8208433" y="1726557"/>
            <a:ext cx="3600451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8208433" y="1241223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1348643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383118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83118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4294720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4294720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8208436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8208436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383118" y="1726555"/>
            <a:ext cx="3600449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383118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383118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4294720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4294720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8208436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8208436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4294720" y="1726555"/>
            <a:ext cx="3600449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8208433" y="1726555"/>
            <a:ext cx="3600451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383120" y="4418062"/>
            <a:ext cx="3600449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4294720" y="4418062"/>
            <a:ext cx="3600449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8208433" y="4418062"/>
            <a:ext cx="3600451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7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047671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4319805" y="1726558"/>
            <a:ext cx="3600449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8208433" y="1726558"/>
            <a:ext cx="3600451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4319805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4319805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383120" y="1268415"/>
            <a:ext cx="364913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4319804" y="4797425"/>
            <a:ext cx="748908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8208433" y="1241223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  <p:sp>
        <p:nvSpPr>
          <p:cNvPr id="14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312211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268412"/>
            <a:ext cx="11425767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5645363"/>
            <a:ext cx="11425767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383119" y="2204865"/>
            <a:ext cx="5568948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6231467" y="2204865"/>
            <a:ext cx="5568948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996792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1268413"/>
            <a:ext cx="11425767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9" y="5645363"/>
            <a:ext cx="11425767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9" y="2204865"/>
            <a:ext cx="11425767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472847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8208433" y="1726556"/>
            <a:ext cx="3600451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1241223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383120" y="1268415"/>
            <a:ext cx="364913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4271435" y="1268415"/>
            <a:ext cx="364913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897550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83120" y="3033713"/>
            <a:ext cx="3600449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4294720" y="3033713"/>
            <a:ext cx="3600449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8208433" y="3033713"/>
            <a:ext cx="3600451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383120" y="4797425"/>
            <a:ext cx="3600449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4294720" y="4797425"/>
            <a:ext cx="3600449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8208433" y="4797425"/>
            <a:ext cx="3600451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383119" y="1268413"/>
            <a:ext cx="11425767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325181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22550" y="4797427"/>
            <a:ext cx="5280836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825856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9" y="5645363"/>
            <a:ext cx="11425767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9" y="1268413"/>
            <a:ext cx="11425767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91195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8" y="1268414"/>
            <a:ext cx="11425767" cy="1584507"/>
          </a:xfrm>
        </p:spPr>
        <p:txBody>
          <a:bodyPr>
            <a:noAutofit/>
          </a:bodyPr>
          <a:lstStyle>
            <a:lvl1pPr>
              <a:defRPr sz="15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11517813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11629697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750" b="1" smtClean="0">
                <a:solidFill>
                  <a:schemeClr val="tx1"/>
                </a:solidFill>
              </a:rPr>
              <a:pPr algn="l"/>
              <a:t>‹#›</a:t>
            </a:fld>
            <a:endParaRPr lang="ru-RU" sz="75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3119" y="2924933"/>
            <a:ext cx="11425767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750" noProof="0" dirty="0" smtClean="0">
                <a:solidFill>
                  <a:schemeClr val="bg2"/>
                </a:solidFill>
              </a:rPr>
              <a:t>Газпром нефть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750" noProof="0" dirty="0" smtClean="0">
                <a:solidFill>
                  <a:schemeClr val="bg2"/>
                </a:solidFill>
              </a:rPr>
              <a:t>Gazprom</a:t>
            </a:r>
            <a:r>
              <a:rPr lang="en-US" sz="75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750" baseline="0" noProof="0" dirty="0" err="1" smtClean="0">
                <a:solidFill>
                  <a:schemeClr val="bg2"/>
                </a:solidFill>
              </a:rPr>
              <a:t>neft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750" dirty="0" smtClean="0">
              <a:solidFill>
                <a:schemeClr val="bg2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071706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394739" y="3933825"/>
            <a:ext cx="3551767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4320119" y="3933825"/>
            <a:ext cx="3551767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8244875" y="3933825"/>
            <a:ext cx="3552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9" y="1268416"/>
            <a:ext cx="11425767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183808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383119" y="1268413"/>
            <a:ext cx="11425767" cy="1944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383119" y="3861048"/>
            <a:ext cx="11425767" cy="1944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119" y="3293454"/>
            <a:ext cx="11425767" cy="426911"/>
          </a:xfrm>
        </p:spPr>
        <p:txBody>
          <a:bodyPr>
            <a:noAutofit/>
          </a:bodyPr>
          <a:lstStyle>
            <a:lvl1pPr>
              <a:defRPr sz="105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383119" y="5901467"/>
            <a:ext cx="11425767" cy="427896"/>
          </a:xfrm>
        </p:spPr>
        <p:txBody>
          <a:bodyPr>
            <a:noAutofit/>
          </a:bodyPr>
          <a:lstStyle>
            <a:lvl1pPr>
              <a:defRPr sz="105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331919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8208433" y="3068638"/>
            <a:ext cx="3600448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8208433" y="1268413"/>
            <a:ext cx="3600448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383118" y="1268412"/>
            <a:ext cx="7537449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124394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383119" y="1268413"/>
            <a:ext cx="11425767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buFont typeface="Wingdings" pitchFamily="2" charset="2"/>
              <a:buNone/>
              <a:defRPr lang="ru-RU" sz="105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1"/>
            </a:lvl2pPr>
            <a:lvl3pPr marL="0" indent="0">
              <a:spcBef>
                <a:spcPts val="0"/>
              </a:spcBef>
              <a:spcAft>
                <a:spcPts val="900"/>
              </a:spcAft>
              <a:buFontTx/>
              <a:buNone/>
              <a:defRPr sz="9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и 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900" b="0" i="0" u="none" strike="noStrike" kern="1200" cap="none" spc="0" normalizeH="0" baseline="0" noProof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Первый 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уровень</a:t>
            </a:r>
          </a:p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0" marR="0" lvl="2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370629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76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8" name="line1"/>
          <p:cNvCxnSpPr/>
          <p:nvPr/>
        </p:nvCxnSpPr>
        <p:spPr>
          <a:xfrm>
            <a:off x="396877" y="175997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383367" y="143181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11280576" y="143181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1" name="ContentsNumber2"/>
          <p:cNvSpPr txBox="1"/>
          <p:nvPr/>
        </p:nvSpPr>
        <p:spPr>
          <a:xfrm>
            <a:off x="383367" y="212124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2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12" name="line2"/>
          <p:cNvCxnSpPr/>
          <p:nvPr/>
        </p:nvCxnSpPr>
        <p:spPr>
          <a:xfrm>
            <a:off x="396877" y="2447815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Number2"/>
          <p:cNvSpPr txBox="1"/>
          <p:nvPr/>
        </p:nvSpPr>
        <p:spPr>
          <a:xfrm>
            <a:off x="11280576" y="212124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396877" y="3135658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383367" y="281067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3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sp>
        <p:nvSpPr>
          <p:cNvPr id="90" name="Number3"/>
          <p:cNvSpPr txBox="1"/>
          <p:nvPr/>
        </p:nvSpPr>
        <p:spPr>
          <a:xfrm>
            <a:off x="11280576" y="281067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396877" y="451134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383367" y="418953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5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sp>
        <p:nvSpPr>
          <p:cNvPr id="91" name="Number5"/>
          <p:cNvSpPr txBox="1"/>
          <p:nvPr/>
        </p:nvSpPr>
        <p:spPr>
          <a:xfrm>
            <a:off x="11280576" y="418953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7" name="ContentsNumber6"/>
          <p:cNvSpPr txBox="1"/>
          <p:nvPr/>
        </p:nvSpPr>
        <p:spPr>
          <a:xfrm>
            <a:off x="383367" y="487896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6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28" name="line6"/>
          <p:cNvCxnSpPr/>
          <p:nvPr/>
        </p:nvCxnSpPr>
        <p:spPr>
          <a:xfrm>
            <a:off x="396877" y="5199187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Number6"/>
          <p:cNvSpPr txBox="1"/>
          <p:nvPr/>
        </p:nvSpPr>
        <p:spPr>
          <a:xfrm>
            <a:off x="11280576" y="487896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383367" y="5568400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7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32" name="line7"/>
          <p:cNvCxnSpPr/>
          <p:nvPr/>
        </p:nvCxnSpPr>
        <p:spPr>
          <a:xfrm>
            <a:off x="396877" y="5887029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Number7"/>
          <p:cNvSpPr txBox="1"/>
          <p:nvPr/>
        </p:nvSpPr>
        <p:spPr>
          <a:xfrm>
            <a:off x="11280576" y="5568400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855036" y="1574216"/>
            <a:ext cx="1056955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 smtClean="0"/>
              <a:t>Название раздела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855036" y="2252881"/>
            <a:ext cx="1056955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</a:t>
            </a:r>
            <a:r>
              <a:rPr lang="ru-RU" sz="1200" dirty="0" smtClean="0"/>
              <a:t>раздела</a:t>
            </a:r>
            <a:endParaRPr lang="ru-RU" sz="1200" dirty="0"/>
          </a:p>
        </p:txBody>
      </p:sp>
      <p:sp>
        <p:nvSpPr>
          <p:cNvPr id="13" name="ContentsTitle3"/>
          <p:cNvSpPr txBox="1"/>
          <p:nvPr/>
        </p:nvSpPr>
        <p:spPr>
          <a:xfrm>
            <a:off x="855036" y="2954102"/>
            <a:ext cx="1056955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21" name="ContentsTitle5"/>
          <p:cNvSpPr txBox="1"/>
          <p:nvPr/>
        </p:nvSpPr>
        <p:spPr>
          <a:xfrm>
            <a:off x="855036" y="4327691"/>
            <a:ext cx="1056955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855036" y="5009583"/>
            <a:ext cx="1056955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855036" y="5701900"/>
            <a:ext cx="1056955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855036" y="3638509"/>
            <a:ext cx="1056955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396877" y="3823501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383367" y="350010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4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sp>
        <p:nvSpPr>
          <p:cNvPr id="95" name="Number4"/>
          <p:cNvSpPr txBox="1"/>
          <p:nvPr/>
        </p:nvSpPr>
        <p:spPr>
          <a:xfrm>
            <a:off x="11280576" y="3500109"/>
            <a:ext cx="511373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9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</a:t>
            </a:r>
            <a:r>
              <a:rPr kumimoji="0" lang="ru-R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ru-R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Neft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 убедитесь, что выбран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  <p:sp>
        <p:nvSpPr>
          <p:cNvPr id="33" name="Rectangle 6"/>
          <p:cNvSpPr/>
          <p:nvPr/>
        </p:nvSpPr>
        <p:spPr>
          <a:xfrm>
            <a:off x="12192001" y="3410491"/>
            <a:ext cx="3073019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добавления 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более 7 разделов 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 содержание выберите 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 команде «Структура» слайд «Расширенное содержание».</a:t>
            </a:r>
          </a:p>
        </p:txBody>
      </p:sp>
    </p:spTree>
    <p:extLst>
      <p:ext uri="{BB962C8B-B14F-4D97-AF65-F5344CB8AC3E}">
        <p14:creationId xmlns:p14="http://schemas.microsoft.com/office/powerpoint/2010/main" val="30558541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22" userDrawn="1">
          <p15:clr>
            <a:srgbClr val="FBAE40"/>
          </p15:clr>
        </p15:guide>
        <p15:guide id="2" orient="horz" pos="3984" userDrawn="1">
          <p15:clr>
            <a:srgbClr val="FBAE40"/>
          </p15:clr>
        </p15:guide>
        <p15:guide id="3" pos="5592" userDrawn="1">
          <p15:clr>
            <a:srgbClr val="FBAE40"/>
          </p15:clr>
        </p15:guide>
        <p15:guide id="4" pos="176" userDrawn="1">
          <p15:clr>
            <a:srgbClr val="FBAE40"/>
          </p15:clr>
        </p15:guide>
        <p15:guide id="5" orient="horz" pos="3652" userDrawn="1">
          <p15:clr>
            <a:srgbClr val="FBAE40"/>
          </p15:clr>
        </p15:guide>
        <p15:guide id="6" orient="horz" pos="1053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096002" y="3644900"/>
            <a:ext cx="5712884" cy="1801900"/>
          </a:xfrm>
        </p:spPr>
        <p:txBody>
          <a:bodyPr anchor="t">
            <a:noAutofit/>
          </a:bodyPr>
          <a:lstStyle>
            <a:lvl1pPr>
              <a:defRPr sz="12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Введите название презентации</a:t>
            </a:r>
            <a:br>
              <a:rPr lang="ru-RU" dirty="0"/>
            </a:br>
            <a:r>
              <a:rPr lang="en-US" dirty="0"/>
              <a:t>(</a:t>
            </a:r>
            <a:r>
              <a:rPr lang="ru-RU" dirty="0"/>
              <a:t>оставайтесь в пределах области)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3117" y="6129705"/>
            <a:ext cx="5232816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675" b="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Введите дату</a:t>
            </a:r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10527817" y="5860723"/>
            <a:ext cx="1277243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3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35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83119" y="5940871"/>
            <a:ext cx="5232829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имя автора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9" y="5752038"/>
            <a:ext cx="5232829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название подразделения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9" y="5563205"/>
            <a:ext cx="5232829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название предприятия</a:t>
            </a:r>
          </a:p>
        </p:txBody>
      </p:sp>
      <p:sp>
        <p:nvSpPr>
          <p:cNvPr id="26" name="TradeSecret" hidden="1"/>
          <p:cNvSpPr txBox="1"/>
          <p:nvPr/>
        </p:nvSpPr>
        <p:spPr>
          <a:xfrm>
            <a:off x="9657282" y="175973"/>
            <a:ext cx="1186222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ru-RU" sz="900" b="1" dirty="0">
                <a:solidFill>
                  <a:schemeClr val="bg2"/>
                </a:solidFill>
              </a:rPr>
              <a:t>Коммерческая</a:t>
            </a:r>
            <a:r>
              <a:rPr lang="ru-RU" sz="900" b="1" baseline="0" dirty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9711784" y="175973"/>
            <a:ext cx="1077218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ru-RU" sz="900" b="1" dirty="0">
                <a:solidFill>
                  <a:schemeClr val="bg2"/>
                </a:solidFill>
              </a:rPr>
              <a:t>Конфиденциально</a:t>
            </a:r>
            <a:endParaRPr lang="ru-RU" sz="825" b="1" baseline="0" dirty="0">
              <a:solidFill>
                <a:schemeClr val="bg2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8653804" y="404665"/>
            <a:ext cx="3193181" cy="3727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675" baseline="0">
                <a:solidFill>
                  <a:schemeClr val="bg2"/>
                </a:solidFill>
              </a:rPr>
              <a:t>Публичное акционерное </a:t>
            </a:r>
            <a:r>
              <a:rPr lang="ru-RU" sz="675" baseline="0" dirty="0">
                <a:solidFill>
                  <a:schemeClr val="bg2"/>
                </a:solidFill>
              </a:rPr>
              <a:t>общество</a:t>
            </a:r>
            <a:br>
              <a:rPr lang="ru-RU" sz="675" baseline="0" dirty="0">
                <a:solidFill>
                  <a:schemeClr val="bg2"/>
                </a:solidFill>
              </a:rPr>
            </a:br>
            <a:r>
              <a:rPr lang="ru-RU" sz="675" baseline="0" dirty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675" baseline="0" dirty="0">
                <a:solidFill>
                  <a:schemeClr val="bg2"/>
                </a:solidFill>
              </a:rPr>
            </a:br>
            <a:r>
              <a:rPr lang="ru-RU" sz="675" baseline="0" dirty="0">
                <a:solidFill>
                  <a:schemeClr val="bg2"/>
                </a:solidFill>
              </a:rPr>
              <a:t>г. Санкт-Петербург, 190000</a:t>
            </a:r>
            <a:endParaRPr lang="ru-RU" sz="675" dirty="0">
              <a:solidFill>
                <a:schemeClr val="bg2"/>
              </a:solidFill>
            </a:endParaRPr>
          </a:p>
        </p:txBody>
      </p:sp>
      <p:cxnSp>
        <p:nvCxnSpPr>
          <p:cNvPr id="32" name="Straight Connector 11">
            <a:extLst>
              <a:ext uri="{FF2B5EF4-FFF2-40B4-BE49-F238E27FC236}">
                <a16:creationId xmlns:a16="http://schemas.microsoft.com/office/drawing/2014/main" id="{1B4E319F-4174-E04D-A39B-4A9B1392CF81}"/>
              </a:ext>
            </a:extLst>
          </p:cNvPr>
          <p:cNvCxnSpPr>
            <a:cxnSpLocks/>
          </p:cNvCxnSpPr>
          <p:nvPr/>
        </p:nvCxnSpPr>
        <p:spPr>
          <a:xfrm>
            <a:off x="8592277" y="6309320"/>
            <a:ext cx="1536171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NotMove">
            <a:extLst>
              <a:ext uri="{FF2B5EF4-FFF2-40B4-BE49-F238E27FC236}">
                <a16:creationId xmlns:a16="http://schemas.microsoft.com/office/drawing/2014/main" id="{14733AB4-AD74-0E45-85F1-217B9E9F9C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5903465"/>
            <a:ext cx="4032000" cy="188833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600" b="0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>
              <a:spcBef>
                <a:spcPts val="450"/>
              </a:spcBef>
            </a:pPr>
            <a:r>
              <a:rPr lang="ru-RU" dirty="0" smtClean="0"/>
              <a:t>Введите должность</a:t>
            </a:r>
            <a:endParaRPr lang="ru-RU" dirty="0"/>
          </a:p>
        </p:txBody>
      </p:sp>
      <p:sp>
        <p:nvSpPr>
          <p:cNvPr id="36" name="Date">
            <a:extLst>
              <a:ext uri="{FF2B5EF4-FFF2-40B4-BE49-F238E27FC236}">
                <a16:creationId xmlns:a16="http://schemas.microsoft.com/office/drawing/2014/main" id="{5C4342CA-93EB-304B-B167-A5A433039E6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096000" y="5609541"/>
            <a:ext cx="3024336" cy="181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600"/>
              </a:spcBef>
              <a:buClr>
                <a:schemeClr val="accent3"/>
              </a:buClr>
              <a:buFont typeface="Wingdings" pitchFamily="2" charset="2"/>
              <a:buNone/>
              <a:tabLst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600" b="1" dirty="0"/>
              <a:t>УТВЕРЖДАЮ</a:t>
            </a:r>
            <a:r>
              <a:rPr lang="ru-RU" sz="675" dirty="0"/>
              <a:t>:</a:t>
            </a:r>
          </a:p>
        </p:txBody>
      </p:sp>
      <p:sp>
        <p:nvSpPr>
          <p:cNvPr id="35" name="NotMove">
            <a:extLst>
              <a:ext uri="{FF2B5EF4-FFF2-40B4-BE49-F238E27FC236}">
                <a16:creationId xmlns:a16="http://schemas.microsoft.com/office/drawing/2014/main" id="{EFA3BBA6-6C32-4A41-99FA-8B38A4EB8F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7512" y="6126204"/>
            <a:ext cx="2350749" cy="183116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600" b="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</a:pPr>
            <a:r>
              <a:rPr lang="ru-RU" dirty="0" smtClean="0"/>
              <a:t>Введите имя</a:t>
            </a:r>
            <a:endParaRPr lang="ru-RU" dirty="0"/>
          </a:p>
        </p:txBody>
      </p:sp>
      <p:grpSp>
        <p:nvGrpSpPr>
          <p:cNvPr id="34" name="Logo_GPN_arctic_rus" hidden="1"/>
          <p:cNvGrpSpPr>
            <a:grpSpLocks noChangeAspect="1"/>
          </p:cNvGrpSpPr>
          <p:nvPr/>
        </p:nvGrpSpPr>
        <p:grpSpPr bwMode="auto">
          <a:xfrm>
            <a:off x="10527817" y="5860723"/>
            <a:ext cx="1277243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7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8" name="Freeform 9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9" name="Freeform 10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2" name="Freeform 13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4" name="Freeform 15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5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6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7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8" name="Freeform 28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9" name="Freeform 29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</p:grpSp>
      <p:sp>
        <p:nvSpPr>
          <p:cNvPr id="52" name="Logo_GPN_arctic_eng" hidden="1"/>
          <p:cNvSpPr>
            <a:spLocks noEditPoints="1"/>
          </p:cNvSpPr>
          <p:nvPr/>
        </p:nvSpPr>
        <p:spPr bwMode="auto">
          <a:xfrm>
            <a:off x="10512047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2227109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7E8C5-4EA9-4390-993E-7974453B224B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9663B-8CEB-46F8-9F02-48079F7A5E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80052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04593-3DBA-4D13-84DE-8A088047A452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3A069B-6A15-497B-8AC8-0CA26EAED6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63668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04593-3DBA-4D13-84DE-8A088047A452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3A069B-6A15-497B-8AC8-0CA26EAED6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457901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04593-3DBA-4D13-84DE-8A088047A452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3A069B-6A15-497B-8AC8-0CA26EAED6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2907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20" y="1268415"/>
            <a:ext cx="1142576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198630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04593-3DBA-4D13-84DE-8A088047A452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3A069B-6A15-497B-8AC8-0CA26EAED6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42094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04593-3DBA-4D13-84DE-8A088047A452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3A069B-6A15-497B-8AC8-0CA26EAED6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48076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04593-3DBA-4D13-84DE-8A088047A452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3A069B-6A15-497B-8AC8-0CA26EAED6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006197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04593-3DBA-4D13-84DE-8A088047A452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3A069B-6A15-497B-8AC8-0CA26EAED6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36061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04593-3DBA-4D13-84DE-8A088047A452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3A069B-6A15-497B-8AC8-0CA26EAED6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936980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04593-3DBA-4D13-84DE-8A088047A452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3A069B-6A15-497B-8AC8-0CA26EAED6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45690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04593-3DBA-4D13-84DE-8A088047A452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3A069B-6A15-497B-8AC8-0CA26EAED6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46381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04593-3DBA-4D13-84DE-8A088047A452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3A069B-6A15-497B-8AC8-0CA26EAED6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5781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308354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Slide" r:id="rId4" imgW="366" imgH="369" progId="TCLayout.ActiveDocument.1">
                  <p:embed/>
                </p:oleObj>
              </mc:Choice>
              <mc:Fallback>
                <p:oleObj name="think-cell Slide" r:id="rId4" imgW="366" imgH="369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1D30D5B-33D0-4DE4-9D6D-A4DE3800F3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1" y="587396"/>
            <a:ext cx="4356015" cy="454172"/>
          </a:xfrm>
        </p:spPr>
        <p:txBody>
          <a:bodyPr anchor="b">
            <a:normAutofit/>
          </a:bodyPr>
          <a:lstStyle>
            <a:lvl1pPr algn="l">
              <a:defRPr sz="2250">
                <a:solidFill>
                  <a:srgbClr val="003D7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Основные проблемы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C785BF7-6433-4999-A6CC-F5688FF1EA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3221892" cy="365125"/>
          </a:xfrm>
        </p:spPr>
        <p:txBody>
          <a:bodyPr/>
          <a:lstStyle>
            <a:lvl1pPr>
              <a:defRPr sz="1050">
                <a:solidFill>
                  <a:srgbClr val="003D7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1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963A35D-5D12-4A8D-9565-E42996263A8D}"/>
              </a:ext>
            </a:extLst>
          </p:cNvPr>
          <p:cNvSpPr/>
          <p:nvPr userDrawn="1"/>
        </p:nvSpPr>
        <p:spPr>
          <a:xfrm>
            <a:off x="436006" y="454174"/>
            <a:ext cx="45719" cy="672175"/>
          </a:xfrm>
          <a:prstGeom prst="rect">
            <a:avLst/>
          </a:prstGeom>
          <a:solidFill>
            <a:srgbClr val="003D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n>
                <a:noFill/>
              </a:ln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E5E500D-3252-46FF-BBCE-D0A81E82AB5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2854" y="-920241"/>
            <a:ext cx="9763853" cy="6121379"/>
          </a:xfrm>
          <a:prstGeom prst="rect">
            <a:avLst/>
          </a:prstGeom>
        </p:spPr>
      </p:pic>
      <p:sp>
        <p:nvSpPr>
          <p:cNvPr id="12" name="Объект 3">
            <a:extLst>
              <a:ext uri="{FF2B5EF4-FFF2-40B4-BE49-F238E27FC236}">
                <a16:creationId xmlns:a16="http://schemas.microsoft.com/office/drawing/2014/main" id="{6C33F0F4-D0EE-4063-9A61-29B2862CE9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>
            <a:normAutofit/>
          </a:bodyPr>
          <a:lstStyle>
            <a:lvl1pPr marL="0" indent="0">
              <a:buNone/>
              <a:defRPr sz="1125">
                <a:solidFill>
                  <a:srgbClr val="5D607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7679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8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33B86E4-BF56-4D9E-B0F9-E2F906D5E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878" y="348438"/>
            <a:ext cx="1666415" cy="928613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B9DD8A5-25F6-464B-86A4-B3C0D162FB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2588" y="310028"/>
            <a:ext cx="8239197" cy="5369575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941FB50-0FCE-46F9-8F30-B4ACE268D949}"/>
              </a:ext>
            </a:extLst>
          </p:cNvPr>
          <p:cNvSpPr/>
          <p:nvPr userDrawn="1"/>
        </p:nvSpPr>
        <p:spPr>
          <a:xfrm>
            <a:off x="451638" y="2610338"/>
            <a:ext cx="45719" cy="1250462"/>
          </a:xfrm>
          <a:prstGeom prst="rect">
            <a:avLst/>
          </a:prstGeom>
          <a:solidFill>
            <a:srgbClr val="003D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n>
                <a:noFill/>
              </a:ln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C9DD57C0-712B-409A-A31F-CF0379ACD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145" y="1701925"/>
            <a:ext cx="10515600" cy="2065093"/>
          </a:xfrm>
        </p:spPr>
        <p:txBody>
          <a:bodyPr anchor="b">
            <a:normAutofit/>
          </a:bodyPr>
          <a:lstStyle>
            <a:lvl1pPr>
              <a:spcBef>
                <a:spcPts val="23"/>
              </a:spcBef>
              <a:defRPr sz="3000" b="1">
                <a:solidFill>
                  <a:srgbClr val="003D7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 smtClean="0"/>
              <a:t>Материалы ИК БЛПС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Проект «Нефтеконтроль-БЛПС» 2.0</a:t>
            </a:r>
            <a:endParaRPr lang="ru-RU" dirty="0"/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FD9EA35C-2031-4864-884F-2F468DB634F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355" y="6196943"/>
            <a:ext cx="4287231" cy="328246"/>
          </a:xfrm>
        </p:spPr>
        <p:txBody>
          <a:bodyPr>
            <a:noAutofit/>
          </a:bodyPr>
          <a:lstStyle>
            <a:lvl1pPr marL="0" indent="0">
              <a:buNone/>
              <a:defRPr sz="975" b="0">
                <a:solidFill>
                  <a:srgbClr val="5D607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Июнь 2019</a:t>
            </a:r>
            <a:endParaRPr lang="ru-RU" dirty="0"/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D0CA3D50-9D32-4AEF-A250-0DE98297487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355" y="5869898"/>
            <a:ext cx="4287231" cy="328246"/>
          </a:xfrm>
        </p:spPr>
        <p:txBody>
          <a:bodyPr>
            <a:noAutofit/>
          </a:bodyPr>
          <a:lstStyle>
            <a:lvl1pPr marL="0" indent="0">
              <a:buNone/>
              <a:defRPr sz="975" b="0">
                <a:solidFill>
                  <a:srgbClr val="5D607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Центр </a:t>
            </a:r>
            <a:r>
              <a:rPr lang="ru-RU" dirty="0" smtClean="0"/>
              <a:t>управления эффективностью БЛПС</a:t>
            </a:r>
            <a:endParaRPr lang="ru-RU" dirty="0"/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8A01CD6F-D1C0-4BEA-A9B9-0531902C0038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497355" y="5087116"/>
            <a:ext cx="4287231" cy="328246"/>
          </a:xfrm>
        </p:spPr>
        <p:txBody>
          <a:bodyPr>
            <a:noAutofit/>
          </a:bodyPr>
          <a:lstStyle>
            <a:lvl1pPr marL="0" indent="0">
              <a:buNone/>
              <a:defRPr sz="1350" b="1">
                <a:solidFill>
                  <a:srgbClr val="003D7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Мартынова И.В., Кузнецов А.М.</a:t>
            </a:r>
            <a:endParaRPr lang="ru-RU" dirty="0"/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0CA3D50-9D32-4AEF-A250-0DE982974875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97355" y="5541052"/>
            <a:ext cx="4287231" cy="328246"/>
          </a:xfrm>
        </p:spPr>
        <p:txBody>
          <a:bodyPr>
            <a:noAutofit/>
          </a:bodyPr>
          <a:lstStyle>
            <a:lvl1pPr marL="0" indent="0">
              <a:buNone/>
              <a:defRPr sz="975" b="0" baseline="0">
                <a:solidFill>
                  <a:srgbClr val="5D607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Блок логистики, переработки  и сбы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49754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39017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" name="think-cell Slide" r:id="rId4" imgW="366" imgH="369" progId="TCLayout.ActiveDocument.1">
                  <p:embed/>
                </p:oleObj>
              </mc:Choice>
              <mc:Fallback>
                <p:oleObj name="think-cell Slide" r:id="rId4" imgW="366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383119" y="1268415"/>
            <a:ext cx="5568948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6239938" y="1268415"/>
            <a:ext cx="5568948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26260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383120" y="1268416"/>
            <a:ext cx="1142576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383120" y="3894140"/>
            <a:ext cx="1142576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14279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3119" y="4797425"/>
            <a:ext cx="11425767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383120" y="1268413"/>
            <a:ext cx="11425765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1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12192001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349898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61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58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vmlDrawing" Target="../drawings/vmlDrawing5.v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255041949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60" imgW="366" imgH="369" progId="TCLayout.ActiveDocument.1">
                  <p:embed/>
                </p:oleObj>
              </mc:Choice>
              <mc:Fallback>
                <p:oleObj name="think-cell Slide" r:id="rId60" imgW="366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3119" y="188643"/>
            <a:ext cx="11413757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3120" y="1268413"/>
            <a:ext cx="11425765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3119" y="1011208"/>
            <a:ext cx="1141375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11517813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11629697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750" b="1" smtClean="0">
                <a:solidFill>
                  <a:schemeClr val="tx1"/>
                </a:solidFill>
              </a:rPr>
              <a:pPr algn="l"/>
              <a:t>‹#›</a:t>
            </a:fld>
            <a:endParaRPr lang="ru-RU" sz="75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750" noProof="0" dirty="0" smtClean="0">
                <a:solidFill>
                  <a:schemeClr val="bg2"/>
                </a:solidFill>
              </a:rPr>
              <a:t>Газпром нефть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750" noProof="0" dirty="0" smtClean="0">
                <a:solidFill>
                  <a:schemeClr val="bg2"/>
                </a:solidFill>
              </a:rPr>
              <a:t>Gazprom</a:t>
            </a:r>
            <a:r>
              <a:rPr lang="en-US" sz="75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750" baseline="0" noProof="0" dirty="0" err="1" smtClean="0">
                <a:solidFill>
                  <a:schemeClr val="bg2"/>
                </a:solidFill>
              </a:rPr>
              <a:t>Neft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75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293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spcBef>
          <a:spcPct val="0"/>
        </a:spcBef>
        <a:buNone/>
        <a:defRPr sz="15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05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35731" marR="0" indent="-135731" algn="l" defTabSz="6858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263129" indent="-127397" algn="l" defTabSz="685800" rtl="0" eaLnBrk="1" latinLnBrk="0" hangingPunct="1">
        <a:spcBef>
          <a:spcPts val="450"/>
        </a:spcBef>
        <a:buClr>
          <a:schemeClr val="accent3"/>
        </a:buClr>
        <a:buFont typeface="Wingdings" pitchFamily="2" charset="2"/>
        <a:buChar char="§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0/1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2764648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Slide" r:id="rId17" imgW="366" imgH="369" progId="TCLayout.ActiveDocument.1">
                  <p:embed/>
                </p:oleObj>
              </mc:Choice>
              <mc:Fallback>
                <p:oleObj name="think-cell Slide" r:id="rId17" imgW="366" imgH="369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26366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7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9.bin"/><Relationship Id="rId12" Type="http://schemas.openxmlformats.org/officeDocument/2006/relationships/image" Target="../media/image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png"/><Relationship Id="rId11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10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9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tags" Target="../tags/tag12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image" Target="file:///C:\Users\Kuznetsov.ALM\AppData\Local\Temp\1_ustanovka_krekinga.png" TargetMode="External"/><Relationship Id="rId3" Type="http://schemas.openxmlformats.org/officeDocument/2006/relationships/tags" Target="../tags/tag16.xml"/><Relationship Id="rId21" Type="http://schemas.openxmlformats.org/officeDocument/2006/relationships/image" Target="../media/image16.png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14.png"/><Relationship Id="rId2" Type="http://schemas.openxmlformats.org/officeDocument/2006/relationships/tags" Target="../tags/tag15.xml"/><Relationship Id="rId16" Type="http://schemas.openxmlformats.org/officeDocument/2006/relationships/image" Target="../media/image1.emf"/><Relationship Id="rId20" Type="http://schemas.openxmlformats.org/officeDocument/2006/relationships/image" Target="file:///C:\Users\Kuznetsov.ALM\AppData\Local\Temp\1_rezervuar-hranilische.png" TargetMode="External"/><Relationship Id="rId1" Type="http://schemas.openxmlformats.org/officeDocument/2006/relationships/vmlDrawing" Target="../drawings/vmlDrawing12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oleObject" Target="../embeddings/oleObject15.bin"/><Relationship Id="rId23" Type="http://schemas.openxmlformats.org/officeDocument/2006/relationships/image" Target="../media/image17.png"/><Relationship Id="rId10" Type="http://schemas.openxmlformats.org/officeDocument/2006/relationships/tags" Target="../tags/tag23.xml"/><Relationship Id="rId19" Type="http://schemas.openxmlformats.org/officeDocument/2006/relationships/image" Target="../media/image15.png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slideLayout" Target="../slideLayouts/slideLayout68.xml"/><Relationship Id="rId22" Type="http://schemas.openxmlformats.org/officeDocument/2006/relationships/image" Target="file:///C:\Users\Kuznetsov.ALM\AppData\Local\Temp\layner.png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536847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7" name="think-cell Slide" r:id="rId4" imgW="366" imgH="369" progId="TCLayout.ActiveDocument.1">
                  <p:embed/>
                </p:oleObj>
              </mc:Choice>
              <mc:Fallback>
                <p:oleObj name="think-cell Slide" r:id="rId4" imgW="366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Взаимодействия </a:t>
            </a:r>
            <a:r>
              <a:rPr lang="ru-RU" dirty="0"/>
              <a:t>ПАО «Газпром нефть» в сфере технического регулирования, стандартизации и аккредитации с  </a:t>
            </a:r>
            <a:r>
              <a:rPr lang="ru-RU" dirty="0" err="1" smtClean="0"/>
              <a:t>Гос.органами</a:t>
            </a:r>
            <a:r>
              <a:rPr lang="ru-RU" dirty="0"/>
              <a:t>.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15  октября 2019г.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Моисеева Т.Н., Масленников А.Г.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Дирекция нефтепереработки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ПАО «Газпром нефть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6676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6591131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6" name="think-cell Slide" r:id="rId4" imgW="366" imgH="369" progId="TCLayout.ActiveDocument.1">
                  <p:embed/>
                </p:oleObj>
              </mc:Choice>
              <mc:Fallback>
                <p:oleObj name="think-cell Slide" r:id="rId4" imgW="366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</a:t>
            </a:r>
            <a:r>
              <a:rPr lang="ru-RU" dirty="0" smtClean="0"/>
              <a:t>ведение </a:t>
            </a:r>
            <a:r>
              <a:rPr lang="ru-RU" dirty="0"/>
              <a:t>в действие ТР ЕАЭС 036/2016 "Требования к сжиженным углеводородным газам для использования их в качестве топлива"</a:t>
            </a:r>
          </a:p>
        </p:txBody>
      </p:sp>
      <p:sp>
        <p:nvSpPr>
          <p:cNvPr id="9" name="Шеврон 8"/>
          <p:cNvSpPr/>
          <p:nvPr/>
        </p:nvSpPr>
        <p:spPr>
          <a:xfrm>
            <a:off x="1653635" y="1794484"/>
            <a:ext cx="3068305" cy="678054"/>
          </a:xfrm>
          <a:prstGeom prst="chevron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ГОСТ 20448-2018, ГОСТ 27578-2018, ГОСТ Р 52087-2018</a:t>
            </a:r>
          </a:p>
        </p:txBody>
      </p:sp>
      <p:sp>
        <p:nvSpPr>
          <p:cNvPr id="12" name="Шеврон 11"/>
          <p:cNvSpPr/>
          <p:nvPr/>
        </p:nvSpPr>
        <p:spPr>
          <a:xfrm>
            <a:off x="5423633" y="1869039"/>
            <a:ext cx="4232718" cy="968711"/>
          </a:xfrm>
          <a:prstGeom prst="chevron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Для выпуска в обращение СУГ по новым ГОСТ требуется оформление и регистрация деклараций соответствия ТР ЕАЭС, что невозможно осуществить за 1 один день. </a:t>
            </a:r>
          </a:p>
          <a:p>
            <a:pPr algn="ctr">
              <a:spcBef>
                <a:spcPts val="600"/>
              </a:spcBef>
            </a:pPr>
            <a:r>
              <a:rPr lang="ru-RU" sz="1000" b="1" dirty="0">
                <a:solidFill>
                  <a:srgbClr val="FF0000"/>
                </a:solidFill>
              </a:rPr>
              <a:t>РИСК дефицита СУГ на топливном рынке </a:t>
            </a:r>
          </a:p>
        </p:txBody>
      </p:sp>
      <p:sp>
        <p:nvSpPr>
          <p:cNvPr id="15" name="TextBox 14"/>
          <p:cNvSpPr txBox="1"/>
          <p:nvPr/>
        </p:nvSpPr>
        <p:spPr>
          <a:xfrm flipH="1">
            <a:off x="1269696" y="1192297"/>
            <a:ext cx="8042746" cy="41549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</a:pPr>
            <a:r>
              <a:rPr lang="ru-RU" sz="1050" b="1" dirty="0">
                <a:solidFill>
                  <a:srgbClr val="3C3C3C"/>
                </a:solidFill>
              </a:rPr>
              <a:t>Согласно Решению №160 от 06.12.2016г. до 01.07.2019г. допускалось выпуск в обращение СУГ при наличии документов о соответствии выданных до вступления в силу технического регламента.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653635" y="2472538"/>
            <a:ext cx="2715213" cy="573874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spcBef>
                <a:spcPts val="600"/>
              </a:spcBef>
            </a:pPr>
            <a:r>
              <a:rPr lang="ru-RU" sz="800" dirty="0">
                <a:solidFill>
                  <a:srgbClr val="FF0000"/>
                </a:solidFill>
              </a:rPr>
              <a:t>01.07.2019г</a:t>
            </a:r>
            <a:r>
              <a:rPr lang="ru-RU" sz="800" dirty="0">
                <a:solidFill>
                  <a:schemeClr val="tx1"/>
                </a:solidFill>
              </a:rPr>
              <a:t>. ввод в действие приказов №731-ст от 9.10.2018, №729-ст от 09.10.2018, №164-ст от 29.03.2018  </a:t>
            </a:r>
          </a:p>
          <a:p>
            <a:pPr algn="ctr">
              <a:spcBef>
                <a:spcPts val="60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grpSp>
        <p:nvGrpSpPr>
          <p:cNvPr id="31" name="gost_z"/>
          <p:cNvGrpSpPr>
            <a:grpSpLocks noChangeAspect="1"/>
          </p:cNvGrpSpPr>
          <p:nvPr/>
        </p:nvGrpSpPr>
        <p:grpSpPr>
          <a:xfrm>
            <a:off x="955472" y="1986583"/>
            <a:ext cx="525463" cy="249238"/>
            <a:chOff x="7881938" y="4543425"/>
            <a:chExt cx="525463" cy="249238"/>
          </a:xfrm>
        </p:grpSpPr>
        <p:sp>
          <p:nvSpPr>
            <p:cNvPr id="32" name="Freeform 58"/>
            <p:cNvSpPr>
              <a:spLocks/>
            </p:cNvSpPr>
            <p:nvPr/>
          </p:nvSpPr>
          <p:spPr bwMode="auto">
            <a:xfrm>
              <a:off x="7886700" y="4548188"/>
              <a:ext cx="515938" cy="239713"/>
            </a:xfrm>
            <a:custGeom>
              <a:avLst/>
              <a:gdLst>
                <a:gd name="T0" fmla="*/ 1256 w 1300"/>
                <a:gd name="T1" fmla="*/ 603 h 603"/>
                <a:gd name="T2" fmla="*/ 44 w 1300"/>
                <a:gd name="T3" fmla="*/ 603 h 603"/>
                <a:gd name="T4" fmla="*/ 35 w 1300"/>
                <a:gd name="T5" fmla="*/ 603 h 603"/>
                <a:gd name="T6" fmla="*/ 27 w 1300"/>
                <a:gd name="T7" fmla="*/ 600 h 603"/>
                <a:gd name="T8" fmla="*/ 19 w 1300"/>
                <a:gd name="T9" fmla="*/ 596 h 603"/>
                <a:gd name="T10" fmla="*/ 13 w 1300"/>
                <a:gd name="T11" fmla="*/ 591 h 603"/>
                <a:gd name="T12" fmla="*/ 7 w 1300"/>
                <a:gd name="T13" fmla="*/ 584 h 603"/>
                <a:gd name="T14" fmla="*/ 4 w 1300"/>
                <a:gd name="T15" fmla="*/ 577 h 603"/>
                <a:gd name="T16" fmla="*/ 1 w 1300"/>
                <a:gd name="T17" fmla="*/ 570 h 603"/>
                <a:gd name="T18" fmla="*/ 0 w 1300"/>
                <a:gd name="T19" fmla="*/ 560 h 603"/>
                <a:gd name="T20" fmla="*/ 0 w 1300"/>
                <a:gd name="T21" fmla="*/ 43 h 603"/>
                <a:gd name="T22" fmla="*/ 1 w 1300"/>
                <a:gd name="T23" fmla="*/ 35 h 603"/>
                <a:gd name="T24" fmla="*/ 4 w 1300"/>
                <a:gd name="T25" fmla="*/ 26 h 603"/>
                <a:gd name="T26" fmla="*/ 7 w 1300"/>
                <a:gd name="T27" fmla="*/ 19 h 603"/>
                <a:gd name="T28" fmla="*/ 13 w 1300"/>
                <a:gd name="T29" fmla="*/ 12 h 603"/>
                <a:gd name="T30" fmla="*/ 19 w 1300"/>
                <a:gd name="T31" fmla="*/ 7 h 603"/>
                <a:gd name="T32" fmla="*/ 27 w 1300"/>
                <a:gd name="T33" fmla="*/ 3 h 603"/>
                <a:gd name="T34" fmla="*/ 35 w 1300"/>
                <a:gd name="T35" fmla="*/ 1 h 603"/>
                <a:gd name="T36" fmla="*/ 44 w 1300"/>
                <a:gd name="T37" fmla="*/ 0 h 603"/>
                <a:gd name="T38" fmla="*/ 1256 w 1300"/>
                <a:gd name="T39" fmla="*/ 0 h 603"/>
                <a:gd name="T40" fmla="*/ 1265 w 1300"/>
                <a:gd name="T41" fmla="*/ 1 h 603"/>
                <a:gd name="T42" fmla="*/ 1273 w 1300"/>
                <a:gd name="T43" fmla="*/ 3 h 603"/>
                <a:gd name="T44" fmla="*/ 1281 w 1300"/>
                <a:gd name="T45" fmla="*/ 7 h 603"/>
                <a:gd name="T46" fmla="*/ 1288 w 1300"/>
                <a:gd name="T47" fmla="*/ 12 h 603"/>
                <a:gd name="T48" fmla="*/ 1293 w 1300"/>
                <a:gd name="T49" fmla="*/ 19 h 603"/>
                <a:gd name="T50" fmla="*/ 1296 w 1300"/>
                <a:gd name="T51" fmla="*/ 26 h 603"/>
                <a:gd name="T52" fmla="*/ 1299 w 1300"/>
                <a:gd name="T53" fmla="*/ 35 h 603"/>
                <a:gd name="T54" fmla="*/ 1300 w 1300"/>
                <a:gd name="T55" fmla="*/ 43 h 603"/>
                <a:gd name="T56" fmla="*/ 1300 w 1300"/>
                <a:gd name="T57" fmla="*/ 560 h 603"/>
                <a:gd name="T58" fmla="*/ 1299 w 1300"/>
                <a:gd name="T59" fmla="*/ 570 h 603"/>
                <a:gd name="T60" fmla="*/ 1296 w 1300"/>
                <a:gd name="T61" fmla="*/ 577 h 603"/>
                <a:gd name="T62" fmla="*/ 1293 w 1300"/>
                <a:gd name="T63" fmla="*/ 584 h 603"/>
                <a:gd name="T64" fmla="*/ 1288 w 1300"/>
                <a:gd name="T65" fmla="*/ 591 h 603"/>
                <a:gd name="T66" fmla="*/ 1281 w 1300"/>
                <a:gd name="T67" fmla="*/ 596 h 603"/>
                <a:gd name="T68" fmla="*/ 1273 w 1300"/>
                <a:gd name="T69" fmla="*/ 600 h 603"/>
                <a:gd name="T70" fmla="*/ 1265 w 1300"/>
                <a:gd name="T71" fmla="*/ 603 h 603"/>
                <a:gd name="T72" fmla="*/ 1256 w 1300"/>
                <a:gd name="T73" fmla="*/ 60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00" h="603">
                  <a:moveTo>
                    <a:pt x="1256" y="603"/>
                  </a:moveTo>
                  <a:lnTo>
                    <a:pt x="44" y="603"/>
                  </a:lnTo>
                  <a:lnTo>
                    <a:pt x="35" y="603"/>
                  </a:lnTo>
                  <a:lnTo>
                    <a:pt x="27" y="600"/>
                  </a:lnTo>
                  <a:lnTo>
                    <a:pt x="19" y="596"/>
                  </a:lnTo>
                  <a:lnTo>
                    <a:pt x="13" y="591"/>
                  </a:lnTo>
                  <a:lnTo>
                    <a:pt x="7" y="584"/>
                  </a:lnTo>
                  <a:lnTo>
                    <a:pt x="4" y="577"/>
                  </a:lnTo>
                  <a:lnTo>
                    <a:pt x="1" y="570"/>
                  </a:lnTo>
                  <a:lnTo>
                    <a:pt x="0" y="560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4" y="26"/>
                  </a:lnTo>
                  <a:lnTo>
                    <a:pt x="7" y="19"/>
                  </a:lnTo>
                  <a:lnTo>
                    <a:pt x="13" y="12"/>
                  </a:lnTo>
                  <a:lnTo>
                    <a:pt x="19" y="7"/>
                  </a:lnTo>
                  <a:lnTo>
                    <a:pt x="27" y="3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1256" y="0"/>
                  </a:lnTo>
                  <a:lnTo>
                    <a:pt x="1265" y="1"/>
                  </a:lnTo>
                  <a:lnTo>
                    <a:pt x="1273" y="3"/>
                  </a:lnTo>
                  <a:lnTo>
                    <a:pt x="1281" y="7"/>
                  </a:lnTo>
                  <a:lnTo>
                    <a:pt x="1288" y="12"/>
                  </a:lnTo>
                  <a:lnTo>
                    <a:pt x="1293" y="19"/>
                  </a:lnTo>
                  <a:lnTo>
                    <a:pt x="1296" y="26"/>
                  </a:lnTo>
                  <a:lnTo>
                    <a:pt x="1299" y="35"/>
                  </a:lnTo>
                  <a:lnTo>
                    <a:pt x="1300" y="43"/>
                  </a:lnTo>
                  <a:lnTo>
                    <a:pt x="1300" y="560"/>
                  </a:lnTo>
                  <a:lnTo>
                    <a:pt x="1299" y="570"/>
                  </a:lnTo>
                  <a:lnTo>
                    <a:pt x="1296" y="577"/>
                  </a:lnTo>
                  <a:lnTo>
                    <a:pt x="1293" y="584"/>
                  </a:lnTo>
                  <a:lnTo>
                    <a:pt x="1288" y="591"/>
                  </a:lnTo>
                  <a:lnTo>
                    <a:pt x="1281" y="596"/>
                  </a:lnTo>
                  <a:lnTo>
                    <a:pt x="1273" y="600"/>
                  </a:lnTo>
                  <a:lnTo>
                    <a:pt x="1265" y="603"/>
                  </a:lnTo>
                  <a:lnTo>
                    <a:pt x="1256" y="603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59"/>
            <p:cNvSpPr>
              <a:spLocks noEditPoints="1"/>
            </p:cNvSpPr>
            <p:nvPr/>
          </p:nvSpPr>
          <p:spPr bwMode="auto">
            <a:xfrm>
              <a:off x="7881938" y="4543425"/>
              <a:ext cx="525463" cy="249238"/>
            </a:xfrm>
            <a:custGeom>
              <a:avLst/>
              <a:gdLst>
                <a:gd name="T0" fmla="*/ 50 w 1324"/>
                <a:gd name="T1" fmla="*/ 25 h 629"/>
                <a:gd name="T2" fmla="*/ 39 w 1324"/>
                <a:gd name="T3" fmla="*/ 29 h 629"/>
                <a:gd name="T4" fmla="*/ 30 w 1324"/>
                <a:gd name="T5" fmla="*/ 38 h 629"/>
                <a:gd name="T6" fmla="*/ 25 w 1324"/>
                <a:gd name="T7" fmla="*/ 50 h 629"/>
                <a:gd name="T8" fmla="*/ 24 w 1324"/>
                <a:gd name="T9" fmla="*/ 573 h 629"/>
                <a:gd name="T10" fmla="*/ 27 w 1324"/>
                <a:gd name="T11" fmla="*/ 585 h 629"/>
                <a:gd name="T12" fmla="*/ 34 w 1324"/>
                <a:gd name="T13" fmla="*/ 596 h 629"/>
                <a:gd name="T14" fmla="*/ 44 w 1324"/>
                <a:gd name="T15" fmla="*/ 602 h 629"/>
                <a:gd name="T16" fmla="*/ 56 w 1324"/>
                <a:gd name="T17" fmla="*/ 604 h 629"/>
                <a:gd name="T18" fmla="*/ 1274 w 1324"/>
                <a:gd name="T19" fmla="*/ 604 h 629"/>
                <a:gd name="T20" fmla="*/ 1287 w 1324"/>
                <a:gd name="T21" fmla="*/ 600 h 629"/>
                <a:gd name="T22" fmla="*/ 1295 w 1324"/>
                <a:gd name="T23" fmla="*/ 591 h 629"/>
                <a:gd name="T24" fmla="*/ 1300 w 1324"/>
                <a:gd name="T25" fmla="*/ 580 h 629"/>
                <a:gd name="T26" fmla="*/ 1300 w 1324"/>
                <a:gd name="T27" fmla="*/ 56 h 629"/>
                <a:gd name="T28" fmla="*/ 1297 w 1324"/>
                <a:gd name="T29" fmla="*/ 44 h 629"/>
                <a:gd name="T30" fmla="*/ 1291 w 1324"/>
                <a:gd name="T31" fmla="*/ 33 h 629"/>
                <a:gd name="T32" fmla="*/ 1281 w 1324"/>
                <a:gd name="T33" fmla="*/ 27 h 629"/>
                <a:gd name="T34" fmla="*/ 1268 w 1324"/>
                <a:gd name="T35" fmla="*/ 25 h 629"/>
                <a:gd name="T36" fmla="*/ 1268 w 1324"/>
                <a:gd name="T37" fmla="*/ 629 h 629"/>
                <a:gd name="T38" fmla="*/ 45 w 1324"/>
                <a:gd name="T39" fmla="*/ 627 h 629"/>
                <a:gd name="T40" fmla="*/ 25 w 1324"/>
                <a:gd name="T41" fmla="*/ 619 h 629"/>
                <a:gd name="T42" fmla="*/ 10 w 1324"/>
                <a:gd name="T43" fmla="*/ 604 h 629"/>
                <a:gd name="T44" fmla="*/ 1 w 1324"/>
                <a:gd name="T45" fmla="*/ 585 h 629"/>
                <a:gd name="T46" fmla="*/ 0 w 1324"/>
                <a:gd name="T47" fmla="*/ 56 h 629"/>
                <a:gd name="T48" fmla="*/ 5 w 1324"/>
                <a:gd name="T49" fmla="*/ 34 h 629"/>
                <a:gd name="T50" fmla="*/ 17 w 1324"/>
                <a:gd name="T51" fmla="*/ 16 h 629"/>
                <a:gd name="T52" fmla="*/ 34 w 1324"/>
                <a:gd name="T53" fmla="*/ 5 h 629"/>
                <a:gd name="T54" fmla="*/ 56 w 1324"/>
                <a:gd name="T55" fmla="*/ 0 h 629"/>
                <a:gd name="T56" fmla="*/ 1279 w 1324"/>
                <a:gd name="T57" fmla="*/ 2 h 629"/>
                <a:gd name="T58" fmla="*/ 1300 w 1324"/>
                <a:gd name="T59" fmla="*/ 10 h 629"/>
                <a:gd name="T60" fmla="*/ 1314 w 1324"/>
                <a:gd name="T61" fmla="*/ 25 h 629"/>
                <a:gd name="T62" fmla="*/ 1323 w 1324"/>
                <a:gd name="T63" fmla="*/ 45 h 629"/>
                <a:gd name="T64" fmla="*/ 1324 w 1324"/>
                <a:gd name="T65" fmla="*/ 573 h 629"/>
                <a:gd name="T66" fmla="*/ 1319 w 1324"/>
                <a:gd name="T67" fmla="*/ 595 h 629"/>
                <a:gd name="T68" fmla="*/ 1308 w 1324"/>
                <a:gd name="T69" fmla="*/ 613 h 629"/>
                <a:gd name="T70" fmla="*/ 1290 w 1324"/>
                <a:gd name="T71" fmla="*/ 625 h 629"/>
                <a:gd name="T72" fmla="*/ 1268 w 1324"/>
                <a:gd name="T73" fmla="*/ 629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24" h="629">
                  <a:moveTo>
                    <a:pt x="56" y="25"/>
                  </a:moveTo>
                  <a:lnTo>
                    <a:pt x="50" y="25"/>
                  </a:lnTo>
                  <a:lnTo>
                    <a:pt x="44" y="27"/>
                  </a:lnTo>
                  <a:lnTo>
                    <a:pt x="39" y="29"/>
                  </a:lnTo>
                  <a:lnTo>
                    <a:pt x="34" y="33"/>
                  </a:lnTo>
                  <a:lnTo>
                    <a:pt x="30" y="38"/>
                  </a:lnTo>
                  <a:lnTo>
                    <a:pt x="27" y="44"/>
                  </a:lnTo>
                  <a:lnTo>
                    <a:pt x="25" y="50"/>
                  </a:lnTo>
                  <a:lnTo>
                    <a:pt x="24" y="56"/>
                  </a:lnTo>
                  <a:lnTo>
                    <a:pt x="24" y="573"/>
                  </a:lnTo>
                  <a:lnTo>
                    <a:pt x="25" y="580"/>
                  </a:lnTo>
                  <a:lnTo>
                    <a:pt x="27" y="585"/>
                  </a:lnTo>
                  <a:lnTo>
                    <a:pt x="30" y="591"/>
                  </a:lnTo>
                  <a:lnTo>
                    <a:pt x="34" y="596"/>
                  </a:lnTo>
                  <a:lnTo>
                    <a:pt x="39" y="600"/>
                  </a:lnTo>
                  <a:lnTo>
                    <a:pt x="44" y="602"/>
                  </a:lnTo>
                  <a:lnTo>
                    <a:pt x="50" y="604"/>
                  </a:lnTo>
                  <a:lnTo>
                    <a:pt x="56" y="604"/>
                  </a:lnTo>
                  <a:lnTo>
                    <a:pt x="1268" y="604"/>
                  </a:lnTo>
                  <a:lnTo>
                    <a:pt x="1274" y="604"/>
                  </a:lnTo>
                  <a:lnTo>
                    <a:pt x="1281" y="602"/>
                  </a:lnTo>
                  <a:lnTo>
                    <a:pt x="1287" y="600"/>
                  </a:lnTo>
                  <a:lnTo>
                    <a:pt x="1291" y="596"/>
                  </a:lnTo>
                  <a:lnTo>
                    <a:pt x="1295" y="591"/>
                  </a:lnTo>
                  <a:lnTo>
                    <a:pt x="1297" y="585"/>
                  </a:lnTo>
                  <a:lnTo>
                    <a:pt x="1300" y="580"/>
                  </a:lnTo>
                  <a:lnTo>
                    <a:pt x="1300" y="573"/>
                  </a:lnTo>
                  <a:lnTo>
                    <a:pt x="1300" y="56"/>
                  </a:lnTo>
                  <a:lnTo>
                    <a:pt x="1300" y="50"/>
                  </a:lnTo>
                  <a:lnTo>
                    <a:pt x="1297" y="44"/>
                  </a:lnTo>
                  <a:lnTo>
                    <a:pt x="1295" y="38"/>
                  </a:lnTo>
                  <a:lnTo>
                    <a:pt x="1291" y="33"/>
                  </a:lnTo>
                  <a:lnTo>
                    <a:pt x="1287" y="29"/>
                  </a:lnTo>
                  <a:lnTo>
                    <a:pt x="1281" y="27"/>
                  </a:lnTo>
                  <a:lnTo>
                    <a:pt x="1274" y="25"/>
                  </a:lnTo>
                  <a:lnTo>
                    <a:pt x="1268" y="25"/>
                  </a:lnTo>
                  <a:lnTo>
                    <a:pt x="56" y="25"/>
                  </a:lnTo>
                  <a:close/>
                  <a:moveTo>
                    <a:pt x="1268" y="629"/>
                  </a:moveTo>
                  <a:lnTo>
                    <a:pt x="56" y="629"/>
                  </a:lnTo>
                  <a:lnTo>
                    <a:pt x="45" y="627"/>
                  </a:lnTo>
                  <a:lnTo>
                    <a:pt x="34" y="625"/>
                  </a:lnTo>
                  <a:lnTo>
                    <a:pt x="25" y="619"/>
                  </a:lnTo>
                  <a:lnTo>
                    <a:pt x="17" y="613"/>
                  </a:lnTo>
                  <a:lnTo>
                    <a:pt x="10" y="604"/>
                  </a:lnTo>
                  <a:lnTo>
                    <a:pt x="5" y="595"/>
                  </a:lnTo>
                  <a:lnTo>
                    <a:pt x="1" y="585"/>
                  </a:lnTo>
                  <a:lnTo>
                    <a:pt x="0" y="573"/>
                  </a:lnTo>
                  <a:lnTo>
                    <a:pt x="0" y="56"/>
                  </a:lnTo>
                  <a:lnTo>
                    <a:pt x="1" y="45"/>
                  </a:lnTo>
                  <a:lnTo>
                    <a:pt x="5" y="34"/>
                  </a:lnTo>
                  <a:lnTo>
                    <a:pt x="10" y="25"/>
                  </a:lnTo>
                  <a:lnTo>
                    <a:pt x="17" y="16"/>
                  </a:lnTo>
                  <a:lnTo>
                    <a:pt x="25" y="10"/>
                  </a:lnTo>
                  <a:lnTo>
                    <a:pt x="34" y="5"/>
                  </a:lnTo>
                  <a:lnTo>
                    <a:pt x="45" y="2"/>
                  </a:lnTo>
                  <a:lnTo>
                    <a:pt x="56" y="0"/>
                  </a:lnTo>
                  <a:lnTo>
                    <a:pt x="1268" y="0"/>
                  </a:lnTo>
                  <a:lnTo>
                    <a:pt x="1279" y="2"/>
                  </a:lnTo>
                  <a:lnTo>
                    <a:pt x="1290" y="5"/>
                  </a:lnTo>
                  <a:lnTo>
                    <a:pt x="1300" y="10"/>
                  </a:lnTo>
                  <a:lnTo>
                    <a:pt x="1308" y="16"/>
                  </a:lnTo>
                  <a:lnTo>
                    <a:pt x="1314" y="25"/>
                  </a:lnTo>
                  <a:lnTo>
                    <a:pt x="1319" y="34"/>
                  </a:lnTo>
                  <a:lnTo>
                    <a:pt x="1323" y="45"/>
                  </a:lnTo>
                  <a:lnTo>
                    <a:pt x="1324" y="56"/>
                  </a:lnTo>
                  <a:lnTo>
                    <a:pt x="1324" y="573"/>
                  </a:lnTo>
                  <a:lnTo>
                    <a:pt x="1323" y="585"/>
                  </a:lnTo>
                  <a:lnTo>
                    <a:pt x="1319" y="595"/>
                  </a:lnTo>
                  <a:lnTo>
                    <a:pt x="1314" y="604"/>
                  </a:lnTo>
                  <a:lnTo>
                    <a:pt x="1308" y="613"/>
                  </a:lnTo>
                  <a:lnTo>
                    <a:pt x="1300" y="619"/>
                  </a:lnTo>
                  <a:lnTo>
                    <a:pt x="1290" y="625"/>
                  </a:lnTo>
                  <a:lnTo>
                    <a:pt x="1279" y="627"/>
                  </a:lnTo>
                  <a:lnTo>
                    <a:pt x="1268" y="62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60"/>
            <p:cNvSpPr>
              <a:spLocks noEditPoints="1"/>
            </p:cNvSpPr>
            <p:nvPr/>
          </p:nvSpPr>
          <p:spPr bwMode="auto">
            <a:xfrm>
              <a:off x="7962900" y="4605338"/>
              <a:ext cx="371475" cy="122238"/>
            </a:xfrm>
            <a:custGeom>
              <a:avLst/>
              <a:gdLst>
                <a:gd name="T0" fmla="*/ 13 w 936"/>
                <a:gd name="T1" fmla="*/ 3 h 307"/>
                <a:gd name="T2" fmla="*/ 180 w 936"/>
                <a:gd name="T3" fmla="*/ 14 h 307"/>
                <a:gd name="T4" fmla="*/ 23 w 936"/>
                <a:gd name="T5" fmla="*/ 23 h 307"/>
                <a:gd name="T6" fmla="*/ 17 w 936"/>
                <a:gd name="T7" fmla="*/ 305 h 307"/>
                <a:gd name="T8" fmla="*/ 5 w 936"/>
                <a:gd name="T9" fmla="*/ 303 h 307"/>
                <a:gd name="T10" fmla="*/ 822 w 936"/>
                <a:gd name="T11" fmla="*/ 23 h 307"/>
                <a:gd name="T12" fmla="*/ 730 w 936"/>
                <a:gd name="T13" fmla="*/ 14 h 307"/>
                <a:gd name="T14" fmla="*/ 921 w 936"/>
                <a:gd name="T15" fmla="*/ 3 h 307"/>
                <a:gd name="T16" fmla="*/ 935 w 936"/>
                <a:gd name="T17" fmla="*/ 17 h 307"/>
                <a:gd name="T18" fmla="*/ 845 w 936"/>
                <a:gd name="T19" fmla="*/ 290 h 307"/>
                <a:gd name="T20" fmla="*/ 835 w 936"/>
                <a:gd name="T21" fmla="*/ 306 h 307"/>
                <a:gd name="T22" fmla="*/ 824 w 936"/>
                <a:gd name="T23" fmla="*/ 301 h 307"/>
                <a:gd name="T24" fmla="*/ 527 w 936"/>
                <a:gd name="T25" fmla="*/ 23 h 307"/>
                <a:gd name="T26" fmla="*/ 572 w 936"/>
                <a:gd name="T27" fmla="*/ 3 h 307"/>
                <a:gd name="T28" fmla="*/ 632 w 936"/>
                <a:gd name="T29" fmla="*/ 8 h 307"/>
                <a:gd name="T30" fmla="*/ 675 w 936"/>
                <a:gd name="T31" fmla="*/ 40 h 307"/>
                <a:gd name="T32" fmla="*/ 692 w 936"/>
                <a:gd name="T33" fmla="*/ 85 h 307"/>
                <a:gd name="T34" fmla="*/ 674 w 936"/>
                <a:gd name="T35" fmla="*/ 88 h 307"/>
                <a:gd name="T36" fmla="*/ 650 w 936"/>
                <a:gd name="T37" fmla="*/ 45 h 307"/>
                <a:gd name="T38" fmla="*/ 593 w 936"/>
                <a:gd name="T39" fmla="*/ 21 h 307"/>
                <a:gd name="T40" fmla="*/ 555 w 936"/>
                <a:gd name="T41" fmla="*/ 29 h 307"/>
                <a:gd name="T42" fmla="*/ 523 w 936"/>
                <a:gd name="T43" fmla="*/ 62 h 307"/>
                <a:gd name="T44" fmla="*/ 512 w 936"/>
                <a:gd name="T45" fmla="*/ 132 h 307"/>
                <a:gd name="T46" fmla="*/ 516 w 936"/>
                <a:gd name="T47" fmla="*/ 224 h 307"/>
                <a:gd name="T48" fmla="*/ 541 w 936"/>
                <a:gd name="T49" fmla="*/ 268 h 307"/>
                <a:gd name="T50" fmla="*/ 576 w 936"/>
                <a:gd name="T51" fmla="*/ 285 h 307"/>
                <a:gd name="T52" fmla="*/ 631 w 936"/>
                <a:gd name="T53" fmla="*/ 277 h 307"/>
                <a:gd name="T54" fmla="*/ 669 w 936"/>
                <a:gd name="T55" fmla="*/ 229 h 307"/>
                <a:gd name="T56" fmla="*/ 686 w 936"/>
                <a:gd name="T57" fmla="*/ 216 h 307"/>
                <a:gd name="T58" fmla="*/ 688 w 936"/>
                <a:gd name="T59" fmla="*/ 245 h 307"/>
                <a:gd name="T60" fmla="*/ 653 w 936"/>
                <a:gd name="T61" fmla="*/ 289 h 307"/>
                <a:gd name="T62" fmla="*/ 593 w 936"/>
                <a:gd name="T63" fmla="*/ 307 h 307"/>
                <a:gd name="T64" fmla="*/ 543 w 936"/>
                <a:gd name="T65" fmla="*/ 295 h 307"/>
                <a:gd name="T66" fmla="*/ 503 w 936"/>
                <a:gd name="T67" fmla="*/ 256 h 307"/>
                <a:gd name="T68" fmla="*/ 489 w 936"/>
                <a:gd name="T69" fmla="*/ 179 h 307"/>
                <a:gd name="T70" fmla="*/ 494 w 936"/>
                <a:gd name="T71" fmla="*/ 74 h 307"/>
                <a:gd name="T72" fmla="*/ 398 w 936"/>
                <a:gd name="T73" fmla="*/ 154 h 307"/>
                <a:gd name="T74" fmla="*/ 390 w 936"/>
                <a:gd name="T75" fmla="*/ 72 h 307"/>
                <a:gd name="T76" fmla="*/ 361 w 936"/>
                <a:gd name="T77" fmla="*/ 34 h 307"/>
                <a:gd name="T78" fmla="*/ 325 w 936"/>
                <a:gd name="T79" fmla="*/ 21 h 307"/>
                <a:gd name="T80" fmla="*/ 286 w 936"/>
                <a:gd name="T81" fmla="*/ 27 h 307"/>
                <a:gd name="T82" fmla="*/ 253 w 936"/>
                <a:gd name="T83" fmla="*/ 52 h 307"/>
                <a:gd name="T84" fmla="*/ 237 w 936"/>
                <a:gd name="T85" fmla="*/ 113 h 307"/>
                <a:gd name="T86" fmla="*/ 238 w 936"/>
                <a:gd name="T87" fmla="*/ 210 h 307"/>
                <a:gd name="T88" fmla="*/ 260 w 936"/>
                <a:gd name="T89" fmla="*/ 264 h 307"/>
                <a:gd name="T90" fmla="*/ 294 w 936"/>
                <a:gd name="T91" fmla="*/ 283 h 307"/>
                <a:gd name="T92" fmla="*/ 332 w 936"/>
                <a:gd name="T93" fmla="*/ 285 h 307"/>
                <a:gd name="T94" fmla="*/ 367 w 936"/>
                <a:gd name="T95" fmla="*/ 268 h 307"/>
                <a:gd name="T96" fmla="*/ 394 w 936"/>
                <a:gd name="T97" fmla="*/ 224 h 307"/>
                <a:gd name="T98" fmla="*/ 317 w 936"/>
                <a:gd name="T99" fmla="*/ 307 h 307"/>
                <a:gd name="T100" fmla="*/ 267 w 936"/>
                <a:gd name="T101" fmla="*/ 295 h 307"/>
                <a:gd name="T102" fmla="*/ 227 w 936"/>
                <a:gd name="T103" fmla="*/ 256 h 307"/>
                <a:gd name="T104" fmla="*/ 214 w 936"/>
                <a:gd name="T105" fmla="*/ 179 h 307"/>
                <a:gd name="T106" fmla="*/ 219 w 936"/>
                <a:gd name="T107" fmla="*/ 74 h 307"/>
                <a:gd name="T108" fmla="*/ 250 w 936"/>
                <a:gd name="T109" fmla="*/ 23 h 307"/>
                <a:gd name="T110" fmla="*/ 295 w 936"/>
                <a:gd name="T111" fmla="*/ 3 h 307"/>
                <a:gd name="T112" fmla="*/ 348 w 936"/>
                <a:gd name="T113" fmla="*/ 5 h 307"/>
                <a:gd name="T114" fmla="*/ 390 w 936"/>
                <a:gd name="T115" fmla="*/ 29 h 307"/>
                <a:gd name="T116" fmla="*/ 418 w 936"/>
                <a:gd name="T117" fmla="*/ 90 h 307"/>
                <a:gd name="T118" fmla="*/ 419 w 936"/>
                <a:gd name="T119" fmla="*/ 200 h 307"/>
                <a:gd name="T120" fmla="*/ 399 w 936"/>
                <a:gd name="T121" fmla="*/ 267 h 307"/>
                <a:gd name="T122" fmla="*/ 358 w 936"/>
                <a:gd name="T123" fmla="*/ 299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6" h="307">
                  <a:moveTo>
                    <a:pt x="0" y="16"/>
                  </a:moveTo>
                  <a:lnTo>
                    <a:pt x="1" y="11"/>
                  </a:lnTo>
                  <a:lnTo>
                    <a:pt x="4" y="6"/>
                  </a:lnTo>
                  <a:lnTo>
                    <a:pt x="9" y="4"/>
                  </a:lnTo>
                  <a:lnTo>
                    <a:pt x="13" y="3"/>
                  </a:lnTo>
                  <a:lnTo>
                    <a:pt x="166" y="3"/>
                  </a:lnTo>
                  <a:lnTo>
                    <a:pt x="173" y="4"/>
                  </a:lnTo>
                  <a:lnTo>
                    <a:pt x="177" y="5"/>
                  </a:lnTo>
                  <a:lnTo>
                    <a:pt x="180" y="9"/>
                  </a:lnTo>
                  <a:lnTo>
                    <a:pt x="180" y="14"/>
                  </a:lnTo>
                  <a:lnTo>
                    <a:pt x="180" y="17"/>
                  </a:lnTo>
                  <a:lnTo>
                    <a:pt x="177" y="21"/>
                  </a:lnTo>
                  <a:lnTo>
                    <a:pt x="173" y="23"/>
                  </a:lnTo>
                  <a:lnTo>
                    <a:pt x="166" y="23"/>
                  </a:lnTo>
                  <a:lnTo>
                    <a:pt x="23" y="23"/>
                  </a:lnTo>
                  <a:lnTo>
                    <a:pt x="23" y="290"/>
                  </a:lnTo>
                  <a:lnTo>
                    <a:pt x="23" y="297"/>
                  </a:lnTo>
                  <a:lnTo>
                    <a:pt x="21" y="301"/>
                  </a:lnTo>
                  <a:lnTo>
                    <a:pt x="20" y="303"/>
                  </a:lnTo>
                  <a:lnTo>
                    <a:pt x="17" y="305"/>
                  </a:lnTo>
                  <a:lnTo>
                    <a:pt x="15" y="306"/>
                  </a:lnTo>
                  <a:lnTo>
                    <a:pt x="12" y="306"/>
                  </a:lnTo>
                  <a:lnTo>
                    <a:pt x="9" y="306"/>
                  </a:lnTo>
                  <a:lnTo>
                    <a:pt x="6" y="305"/>
                  </a:lnTo>
                  <a:lnTo>
                    <a:pt x="5" y="303"/>
                  </a:lnTo>
                  <a:lnTo>
                    <a:pt x="3" y="301"/>
                  </a:lnTo>
                  <a:lnTo>
                    <a:pt x="1" y="297"/>
                  </a:lnTo>
                  <a:lnTo>
                    <a:pt x="0" y="290"/>
                  </a:lnTo>
                  <a:lnTo>
                    <a:pt x="0" y="16"/>
                  </a:lnTo>
                  <a:close/>
                  <a:moveTo>
                    <a:pt x="822" y="23"/>
                  </a:moveTo>
                  <a:lnTo>
                    <a:pt x="744" y="23"/>
                  </a:lnTo>
                  <a:lnTo>
                    <a:pt x="738" y="23"/>
                  </a:lnTo>
                  <a:lnTo>
                    <a:pt x="733" y="21"/>
                  </a:lnTo>
                  <a:lnTo>
                    <a:pt x="731" y="17"/>
                  </a:lnTo>
                  <a:lnTo>
                    <a:pt x="730" y="14"/>
                  </a:lnTo>
                  <a:lnTo>
                    <a:pt x="731" y="9"/>
                  </a:lnTo>
                  <a:lnTo>
                    <a:pt x="733" y="5"/>
                  </a:lnTo>
                  <a:lnTo>
                    <a:pt x="738" y="4"/>
                  </a:lnTo>
                  <a:lnTo>
                    <a:pt x="744" y="3"/>
                  </a:lnTo>
                  <a:lnTo>
                    <a:pt x="921" y="3"/>
                  </a:lnTo>
                  <a:lnTo>
                    <a:pt x="928" y="4"/>
                  </a:lnTo>
                  <a:lnTo>
                    <a:pt x="932" y="5"/>
                  </a:lnTo>
                  <a:lnTo>
                    <a:pt x="935" y="9"/>
                  </a:lnTo>
                  <a:lnTo>
                    <a:pt x="936" y="14"/>
                  </a:lnTo>
                  <a:lnTo>
                    <a:pt x="935" y="17"/>
                  </a:lnTo>
                  <a:lnTo>
                    <a:pt x="932" y="21"/>
                  </a:lnTo>
                  <a:lnTo>
                    <a:pt x="928" y="23"/>
                  </a:lnTo>
                  <a:lnTo>
                    <a:pt x="921" y="23"/>
                  </a:lnTo>
                  <a:lnTo>
                    <a:pt x="845" y="23"/>
                  </a:lnTo>
                  <a:lnTo>
                    <a:pt x="845" y="290"/>
                  </a:lnTo>
                  <a:lnTo>
                    <a:pt x="843" y="297"/>
                  </a:lnTo>
                  <a:lnTo>
                    <a:pt x="841" y="301"/>
                  </a:lnTo>
                  <a:lnTo>
                    <a:pt x="840" y="303"/>
                  </a:lnTo>
                  <a:lnTo>
                    <a:pt x="837" y="305"/>
                  </a:lnTo>
                  <a:lnTo>
                    <a:pt x="835" y="306"/>
                  </a:lnTo>
                  <a:lnTo>
                    <a:pt x="832" y="306"/>
                  </a:lnTo>
                  <a:lnTo>
                    <a:pt x="830" y="306"/>
                  </a:lnTo>
                  <a:lnTo>
                    <a:pt x="828" y="305"/>
                  </a:lnTo>
                  <a:lnTo>
                    <a:pt x="825" y="303"/>
                  </a:lnTo>
                  <a:lnTo>
                    <a:pt x="824" y="301"/>
                  </a:lnTo>
                  <a:lnTo>
                    <a:pt x="822" y="297"/>
                  </a:lnTo>
                  <a:lnTo>
                    <a:pt x="822" y="290"/>
                  </a:lnTo>
                  <a:lnTo>
                    <a:pt x="822" y="23"/>
                  </a:lnTo>
                  <a:close/>
                  <a:moveTo>
                    <a:pt x="520" y="29"/>
                  </a:moveTo>
                  <a:lnTo>
                    <a:pt x="527" y="23"/>
                  </a:lnTo>
                  <a:lnTo>
                    <a:pt x="534" y="17"/>
                  </a:lnTo>
                  <a:lnTo>
                    <a:pt x="543" y="12"/>
                  </a:lnTo>
                  <a:lnTo>
                    <a:pt x="551" y="9"/>
                  </a:lnTo>
                  <a:lnTo>
                    <a:pt x="561" y="5"/>
                  </a:lnTo>
                  <a:lnTo>
                    <a:pt x="572" y="3"/>
                  </a:lnTo>
                  <a:lnTo>
                    <a:pt x="581" y="1"/>
                  </a:lnTo>
                  <a:lnTo>
                    <a:pt x="593" y="0"/>
                  </a:lnTo>
                  <a:lnTo>
                    <a:pt x="607" y="1"/>
                  </a:lnTo>
                  <a:lnTo>
                    <a:pt x="620" y="4"/>
                  </a:lnTo>
                  <a:lnTo>
                    <a:pt x="632" y="8"/>
                  </a:lnTo>
                  <a:lnTo>
                    <a:pt x="643" y="12"/>
                  </a:lnTo>
                  <a:lnTo>
                    <a:pt x="653" y="17"/>
                  </a:lnTo>
                  <a:lnTo>
                    <a:pt x="661" y="24"/>
                  </a:lnTo>
                  <a:lnTo>
                    <a:pt x="668" y="32"/>
                  </a:lnTo>
                  <a:lnTo>
                    <a:pt x="675" y="40"/>
                  </a:lnTo>
                  <a:lnTo>
                    <a:pt x="683" y="51"/>
                  </a:lnTo>
                  <a:lnTo>
                    <a:pt x="688" y="62"/>
                  </a:lnTo>
                  <a:lnTo>
                    <a:pt x="691" y="73"/>
                  </a:lnTo>
                  <a:lnTo>
                    <a:pt x="692" y="80"/>
                  </a:lnTo>
                  <a:lnTo>
                    <a:pt x="692" y="85"/>
                  </a:lnTo>
                  <a:lnTo>
                    <a:pt x="690" y="88"/>
                  </a:lnTo>
                  <a:lnTo>
                    <a:pt x="686" y="91"/>
                  </a:lnTo>
                  <a:lnTo>
                    <a:pt x="683" y="92"/>
                  </a:lnTo>
                  <a:lnTo>
                    <a:pt x="678" y="91"/>
                  </a:lnTo>
                  <a:lnTo>
                    <a:pt x="674" y="88"/>
                  </a:lnTo>
                  <a:lnTo>
                    <a:pt x="672" y="85"/>
                  </a:lnTo>
                  <a:lnTo>
                    <a:pt x="669" y="78"/>
                  </a:lnTo>
                  <a:lnTo>
                    <a:pt x="665" y="66"/>
                  </a:lnTo>
                  <a:lnTo>
                    <a:pt x="659" y="55"/>
                  </a:lnTo>
                  <a:lnTo>
                    <a:pt x="650" y="45"/>
                  </a:lnTo>
                  <a:lnTo>
                    <a:pt x="642" y="37"/>
                  </a:lnTo>
                  <a:lnTo>
                    <a:pt x="631" y="29"/>
                  </a:lnTo>
                  <a:lnTo>
                    <a:pt x="619" y="24"/>
                  </a:lnTo>
                  <a:lnTo>
                    <a:pt x="607" y="22"/>
                  </a:lnTo>
                  <a:lnTo>
                    <a:pt x="593" y="21"/>
                  </a:lnTo>
                  <a:lnTo>
                    <a:pt x="585" y="21"/>
                  </a:lnTo>
                  <a:lnTo>
                    <a:pt x="576" y="22"/>
                  </a:lnTo>
                  <a:lnTo>
                    <a:pt x="569" y="24"/>
                  </a:lnTo>
                  <a:lnTo>
                    <a:pt x="562" y="27"/>
                  </a:lnTo>
                  <a:lnTo>
                    <a:pt x="555" y="29"/>
                  </a:lnTo>
                  <a:lnTo>
                    <a:pt x="549" y="34"/>
                  </a:lnTo>
                  <a:lnTo>
                    <a:pt x="541" y="39"/>
                  </a:lnTo>
                  <a:lnTo>
                    <a:pt x="535" y="44"/>
                  </a:lnTo>
                  <a:lnTo>
                    <a:pt x="528" y="52"/>
                  </a:lnTo>
                  <a:lnTo>
                    <a:pt x="523" y="62"/>
                  </a:lnTo>
                  <a:lnTo>
                    <a:pt x="518" y="72"/>
                  </a:lnTo>
                  <a:lnTo>
                    <a:pt x="516" y="84"/>
                  </a:lnTo>
                  <a:lnTo>
                    <a:pt x="514" y="97"/>
                  </a:lnTo>
                  <a:lnTo>
                    <a:pt x="514" y="113"/>
                  </a:lnTo>
                  <a:lnTo>
                    <a:pt x="512" y="132"/>
                  </a:lnTo>
                  <a:lnTo>
                    <a:pt x="512" y="154"/>
                  </a:lnTo>
                  <a:lnTo>
                    <a:pt x="512" y="175"/>
                  </a:lnTo>
                  <a:lnTo>
                    <a:pt x="514" y="195"/>
                  </a:lnTo>
                  <a:lnTo>
                    <a:pt x="514" y="210"/>
                  </a:lnTo>
                  <a:lnTo>
                    <a:pt x="516" y="224"/>
                  </a:lnTo>
                  <a:lnTo>
                    <a:pt x="518" y="236"/>
                  </a:lnTo>
                  <a:lnTo>
                    <a:pt x="523" y="245"/>
                  </a:lnTo>
                  <a:lnTo>
                    <a:pt x="528" y="255"/>
                  </a:lnTo>
                  <a:lnTo>
                    <a:pt x="535" y="264"/>
                  </a:lnTo>
                  <a:lnTo>
                    <a:pt x="541" y="268"/>
                  </a:lnTo>
                  <a:lnTo>
                    <a:pt x="549" y="273"/>
                  </a:lnTo>
                  <a:lnTo>
                    <a:pt x="555" y="277"/>
                  </a:lnTo>
                  <a:lnTo>
                    <a:pt x="562" y="281"/>
                  </a:lnTo>
                  <a:lnTo>
                    <a:pt x="569" y="283"/>
                  </a:lnTo>
                  <a:lnTo>
                    <a:pt x="576" y="285"/>
                  </a:lnTo>
                  <a:lnTo>
                    <a:pt x="585" y="285"/>
                  </a:lnTo>
                  <a:lnTo>
                    <a:pt x="593" y="287"/>
                  </a:lnTo>
                  <a:lnTo>
                    <a:pt x="607" y="285"/>
                  </a:lnTo>
                  <a:lnTo>
                    <a:pt x="619" y="282"/>
                  </a:lnTo>
                  <a:lnTo>
                    <a:pt x="631" y="277"/>
                  </a:lnTo>
                  <a:lnTo>
                    <a:pt x="642" y="271"/>
                  </a:lnTo>
                  <a:lnTo>
                    <a:pt x="650" y="262"/>
                  </a:lnTo>
                  <a:lnTo>
                    <a:pt x="659" y="253"/>
                  </a:lnTo>
                  <a:lnTo>
                    <a:pt x="665" y="242"/>
                  </a:lnTo>
                  <a:lnTo>
                    <a:pt x="669" y="229"/>
                  </a:lnTo>
                  <a:lnTo>
                    <a:pt x="672" y="223"/>
                  </a:lnTo>
                  <a:lnTo>
                    <a:pt x="674" y="218"/>
                  </a:lnTo>
                  <a:lnTo>
                    <a:pt x="678" y="216"/>
                  </a:lnTo>
                  <a:lnTo>
                    <a:pt x="683" y="215"/>
                  </a:lnTo>
                  <a:lnTo>
                    <a:pt x="686" y="216"/>
                  </a:lnTo>
                  <a:lnTo>
                    <a:pt x="690" y="218"/>
                  </a:lnTo>
                  <a:lnTo>
                    <a:pt x="692" y="221"/>
                  </a:lnTo>
                  <a:lnTo>
                    <a:pt x="692" y="226"/>
                  </a:lnTo>
                  <a:lnTo>
                    <a:pt x="691" y="235"/>
                  </a:lnTo>
                  <a:lnTo>
                    <a:pt x="688" y="245"/>
                  </a:lnTo>
                  <a:lnTo>
                    <a:pt x="683" y="256"/>
                  </a:lnTo>
                  <a:lnTo>
                    <a:pt x="675" y="267"/>
                  </a:lnTo>
                  <a:lnTo>
                    <a:pt x="668" y="276"/>
                  </a:lnTo>
                  <a:lnTo>
                    <a:pt x="661" y="283"/>
                  </a:lnTo>
                  <a:lnTo>
                    <a:pt x="653" y="289"/>
                  </a:lnTo>
                  <a:lnTo>
                    <a:pt x="643" y="295"/>
                  </a:lnTo>
                  <a:lnTo>
                    <a:pt x="632" y="300"/>
                  </a:lnTo>
                  <a:lnTo>
                    <a:pt x="620" y="303"/>
                  </a:lnTo>
                  <a:lnTo>
                    <a:pt x="607" y="306"/>
                  </a:lnTo>
                  <a:lnTo>
                    <a:pt x="593" y="307"/>
                  </a:lnTo>
                  <a:lnTo>
                    <a:pt x="581" y="306"/>
                  </a:lnTo>
                  <a:lnTo>
                    <a:pt x="572" y="305"/>
                  </a:lnTo>
                  <a:lnTo>
                    <a:pt x="561" y="302"/>
                  </a:lnTo>
                  <a:lnTo>
                    <a:pt x="551" y="299"/>
                  </a:lnTo>
                  <a:lnTo>
                    <a:pt x="543" y="295"/>
                  </a:lnTo>
                  <a:lnTo>
                    <a:pt x="534" y="290"/>
                  </a:lnTo>
                  <a:lnTo>
                    <a:pt x="527" y="284"/>
                  </a:lnTo>
                  <a:lnTo>
                    <a:pt x="520" y="278"/>
                  </a:lnTo>
                  <a:lnTo>
                    <a:pt x="510" y="267"/>
                  </a:lnTo>
                  <a:lnTo>
                    <a:pt x="503" y="256"/>
                  </a:lnTo>
                  <a:lnTo>
                    <a:pt x="498" y="245"/>
                  </a:lnTo>
                  <a:lnTo>
                    <a:pt x="494" y="232"/>
                  </a:lnTo>
                  <a:lnTo>
                    <a:pt x="492" y="218"/>
                  </a:lnTo>
                  <a:lnTo>
                    <a:pt x="491" y="200"/>
                  </a:lnTo>
                  <a:lnTo>
                    <a:pt x="489" y="179"/>
                  </a:lnTo>
                  <a:lnTo>
                    <a:pt x="489" y="154"/>
                  </a:lnTo>
                  <a:lnTo>
                    <a:pt x="489" y="128"/>
                  </a:lnTo>
                  <a:lnTo>
                    <a:pt x="491" y="107"/>
                  </a:lnTo>
                  <a:lnTo>
                    <a:pt x="492" y="90"/>
                  </a:lnTo>
                  <a:lnTo>
                    <a:pt x="494" y="74"/>
                  </a:lnTo>
                  <a:lnTo>
                    <a:pt x="498" y="62"/>
                  </a:lnTo>
                  <a:lnTo>
                    <a:pt x="503" y="50"/>
                  </a:lnTo>
                  <a:lnTo>
                    <a:pt x="510" y="40"/>
                  </a:lnTo>
                  <a:lnTo>
                    <a:pt x="520" y="29"/>
                  </a:lnTo>
                  <a:close/>
                  <a:moveTo>
                    <a:pt x="398" y="154"/>
                  </a:moveTo>
                  <a:lnTo>
                    <a:pt x="398" y="132"/>
                  </a:lnTo>
                  <a:lnTo>
                    <a:pt x="396" y="113"/>
                  </a:lnTo>
                  <a:lnTo>
                    <a:pt x="395" y="97"/>
                  </a:lnTo>
                  <a:lnTo>
                    <a:pt x="394" y="84"/>
                  </a:lnTo>
                  <a:lnTo>
                    <a:pt x="390" y="72"/>
                  </a:lnTo>
                  <a:lnTo>
                    <a:pt x="387" y="62"/>
                  </a:lnTo>
                  <a:lnTo>
                    <a:pt x="381" y="52"/>
                  </a:lnTo>
                  <a:lnTo>
                    <a:pt x="373" y="44"/>
                  </a:lnTo>
                  <a:lnTo>
                    <a:pt x="367" y="39"/>
                  </a:lnTo>
                  <a:lnTo>
                    <a:pt x="361" y="34"/>
                  </a:lnTo>
                  <a:lnTo>
                    <a:pt x="355" y="29"/>
                  </a:lnTo>
                  <a:lnTo>
                    <a:pt x="348" y="27"/>
                  </a:lnTo>
                  <a:lnTo>
                    <a:pt x="341" y="24"/>
                  </a:lnTo>
                  <a:lnTo>
                    <a:pt x="332" y="22"/>
                  </a:lnTo>
                  <a:lnTo>
                    <a:pt x="325" y="21"/>
                  </a:lnTo>
                  <a:lnTo>
                    <a:pt x="317" y="21"/>
                  </a:lnTo>
                  <a:lnTo>
                    <a:pt x="308" y="21"/>
                  </a:lnTo>
                  <a:lnTo>
                    <a:pt x="301" y="22"/>
                  </a:lnTo>
                  <a:lnTo>
                    <a:pt x="294" y="24"/>
                  </a:lnTo>
                  <a:lnTo>
                    <a:pt x="286" y="27"/>
                  </a:lnTo>
                  <a:lnTo>
                    <a:pt x="279" y="29"/>
                  </a:lnTo>
                  <a:lnTo>
                    <a:pt x="272" y="34"/>
                  </a:lnTo>
                  <a:lnTo>
                    <a:pt x="266" y="39"/>
                  </a:lnTo>
                  <a:lnTo>
                    <a:pt x="260" y="44"/>
                  </a:lnTo>
                  <a:lnTo>
                    <a:pt x="253" y="52"/>
                  </a:lnTo>
                  <a:lnTo>
                    <a:pt x="247" y="62"/>
                  </a:lnTo>
                  <a:lnTo>
                    <a:pt x="243" y="72"/>
                  </a:lnTo>
                  <a:lnTo>
                    <a:pt x="241" y="84"/>
                  </a:lnTo>
                  <a:lnTo>
                    <a:pt x="238" y="97"/>
                  </a:lnTo>
                  <a:lnTo>
                    <a:pt x="237" y="113"/>
                  </a:lnTo>
                  <a:lnTo>
                    <a:pt x="237" y="132"/>
                  </a:lnTo>
                  <a:lnTo>
                    <a:pt x="237" y="154"/>
                  </a:lnTo>
                  <a:lnTo>
                    <a:pt x="237" y="175"/>
                  </a:lnTo>
                  <a:lnTo>
                    <a:pt x="237" y="195"/>
                  </a:lnTo>
                  <a:lnTo>
                    <a:pt x="238" y="210"/>
                  </a:lnTo>
                  <a:lnTo>
                    <a:pt x="241" y="224"/>
                  </a:lnTo>
                  <a:lnTo>
                    <a:pt x="243" y="236"/>
                  </a:lnTo>
                  <a:lnTo>
                    <a:pt x="247" y="245"/>
                  </a:lnTo>
                  <a:lnTo>
                    <a:pt x="253" y="255"/>
                  </a:lnTo>
                  <a:lnTo>
                    <a:pt x="260" y="264"/>
                  </a:lnTo>
                  <a:lnTo>
                    <a:pt x="266" y="268"/>
                  </a:lnTo>
                  <a:lnTo>
                    <a:pt x="272" y="273"/>
                  </a:lnTo>
                  <a:lnTo>
                    <a:pt x="279" y="277"/>
                  </a:lnTo>
                  <a:lnTo>
                    <a:pt x="286" y="281"/>
                  </a:lnTo>
                  <a:lnTo>
                    <a:pt x="294" y="283"/>
                  </a:lnTo>
                  <a:lnTo>
                    <a:pt x="301" y="285"/>
                  </a:lnTo>
                  <a:lnTo>
                    <a:pt x="308" y="285"/>
                  </a:lnTo>
                  <a:lnTo>
                    <a:pt x="317" y="287"/>
                  </a:lnTo>
                  <a:lnTo>
                    <a:pt x="325" y="285"/>
                  </a:lnTo>
                  <a:lnTo>
                    <a:pt x="332" y="285"/>
                  </a:lnTo>
                  <a:lnTo>
                    <a:pt x="341" y="283"/>
                  </a:lnTo>
                  <a:lnTo>
                    <a:pt x="348" y="281"/>
                  </a:lnTo>
                  <a:lnTo>
                    <a:pt x="355" y="277"/>
                  </a:lnTo>
                  <a:lnTo>
                    <a:pt x="361" y="273"/>
                  </a:lnTo>
                  <a:lnTo>
                    <a:pt x="367" y="268"/>
                  </a:lnTo>
                  <a:lnTo>
                    <a:pt x="373" y="264"/>
                  </a:lnTo>
                  <a:lnTo>
                    <a:pt x="381" y="255"/>
                  </a:lnTo>
                  <a:lnTo>
                    <a:pt x="387" y="245"/>
                  </a:lnTo>
                  <a:lnTo>
                    <a:pt x="390" y="236"/>
                  </a:lnTo>
                  <a:lnTo>
                    <a:pt x="394" y="224"/>
                  </a:lnTo>
                  <a:lnTo>
                    <a:pt x="395" y="210"/>
                  </a:lnTo>
                  <a:lnTo>
                    <a:pt x="396" y="195"/>
                  </a:lnTo>
                  <a:lnTo>
                    <a:pt x="398" y="175"/>
                  </a:lnTo>
                  <a:lnTo>
                    <a:pt x="398" y="154"/>
                  </a:lnTo>
                  <a:close/>
                  <a:moveTo>
                    <a:pt x="317" y="307"/>
                  </a:moveTo>
                  <a:lnTo>
                    <a:pt x="306" y="306"/>
                  </a:lnTo>
                  <a:lnTo>
                    <a:pt x="295" y="305"/>
                  </a:lnTo>
                  <a:lnTo>
                    <a:pt x="285" y="302"/>
                  </a:lnTo>
                  <a:lnTo>
                    <a:pt x="276" y="299"/>
                  </a:lnTo>
                  <a:lnTo>
                    <a:pt x="267" y="295"/>
                  </a:lnTo>
                  <a:lnTo>
                    <a:pt x="259" y="290"/>
                  </a:lnTo>
                  <a:lnTo>
                    <a:pt x="250" y="284"/>
                  </a:lnTo>
                  <a:lnTo>
                    <a:pt x="244" y="278"/>
                  </a:lnTo>
                  <a:lnTo>
                    <a:pt x="235" y="267"/>
                  </a:lnTo>
                  <a:lnTo>
                    <a:pt x="227" y="256"/>
                  </a:lnTo>
                  <a:lnTo>
                    <a:pt x="222" y="245"/>
                  </a:lnTo>
                  <a:lnTo>
                    <a:pt x="219" y="232"/>
                  </a:lnTo>
                  <a:lnTo>
                    <a:pt x="216" y="218"/>
                  </a:lnTo>
                  <a:lnTo>
                    <a:pt x="214" y="200"/>
                  </a:lnTo>
                  <a:lnTo>
                    <a:pt x="214" y="179"/>
                  </a:lnTo>
                  <a:lnTo>
                    <a:pt x="214" y="154"/>
                  </a:lnTo>
                  <a:lnTo>
                    <a:pt x="214" y="128"/>
                  </a:lnTo>
                  <a:lnTo>
                    <a:pt x="214" y="107"/>
                  </a:lnTo>
                  <a:lnTo>
                    <a:pt x="216" y="90"/>
                  </a:lnTo>
                  <a:lnTo>
                    <a:pt x="219" y="74"/>
                  </a:lnTo>
                  <a:lnTo>
                    <a:pt x="222" y="62"/>
                  </a:lnTo>
                  <a:lnTo>
                    <a:pt x="227" y="50"/>
                  </a:lnTo>
                  <a:lnTo>
                    <a:pt x="235" y="40"/>
                  </a:lnTo>
                  <a:lnTo>
                    <a:pt x="244" y="29"/>
                  </a:lnTo>
                  <a:lnTo>
                    <a:pt x="250" y="23"/>
                  </a:lnTo>
                  <a:lnTo>
                    <a:pt x="259" y="17"/>
                  </a:lnTo>
                  <a:lnTo>
                    <a:pt x="267" y="12"/>
                  </a:lnTo>
                  <a:lnTo>
                    <a:pt x="276" y="9"/>
                  </a:lnTo>
                  <a:lnTo>
                    <a:pt x="285" y="5"/>
                  </a:lnTo>
                  <a:lnTo>
                    <a:pt x="295" y="3"/>
                  </a:lnTo>
                  <a:lnTo>
                    <a:pt x="306" y="1"/>
                  </a:lnTo>
                  <a:lnTo>
                    <a:pt x="317" y="0"/>
                  </a:lnTo>
                  <a:lnTo>
                    <a:pt x="328" y="1"/>
                  </a:lnTo>
                  <a:lnTo>
                    <a:pt x="338" y="3"/>
                  </a:lnTo>
                  <a:lnTo>
                    <a:pt x="348" y="5"/>
                  </a:lnTo>
                  <a:lnTo>
                    <a:pt x="358" y="9"/>
                  </a:lnTo>
                  <a:lnTo>
                    <a:pt x="367" y="12"/>
                  </a:lnTo>
                  <a:lnTo>
                    <a:pt x="376" y="17"/>
                  </a:lnTo>
                  <a:lnTo>
                    <a:pt x="383" y="23"/>
                  </a:lnTo>
                  <a:lnTo>
                    <a:pt x="390" y="29"/>
                  </a:lnTo>
                  <a:lnTo>
                    <a:pt x="399" y="40"/>
                  </a:lnTo>
                  <a:lnTo>
                    <a:pt x="406" y="50"/>
                  </a:lnTo>
                  <a:lnTo>
                    <a:pt x="412" y="62"/>
                  </a:lnTo>
                  <a:lnTo>
                    <a:pt x="416" y="74"/>
                  </a:lnTo>
                  <a:lnTo>
                    <a:pt x="418" y="90"/>
                  </a:lnTo>
                  <a:lnTo>
                    <a:pt x="419" y="107"/>
                  </a:lnTo>
                  <a:lnTo>
                    <a:pt x="419" y="128"/>
                  </a:lnTo>
                  <a:lnTo>
                    <a:pt x="421" y="154"/>
                  </a:lnTo>
                  <a:lnTo>
                    <a:pt x="419" y="179"/>
                  </a:lnTo>
                  <a:lnTo>
                    <a:pt x="419" y="200"/>
                  </a:lnTo>
                  <a:lnTo>
                    <a:pt x="418" y="218"/>
                  </a:lnTo>
                  <a:lnTo>
                    <a:pt x="416" y="232"/>
                  </a:lnTo>
                  <a:lnTo>
                    <a:pt x="412" y="245"/>
                  </a:lnTo>
                  <a:lnTo>
                    <a:pt x="406" y="256"/>
                  </a:lnTo>
                  <a:lnTo>
                    <a:pt x="399" y="267"/>
                  </a:lnTo>
                  <a:lnTo>
                    <a:pt x="390" y="278"/>
                  </a:lnTo>
                  <a:lnTo>
                    <a:pt x="383" y="284"/>
                  </a:lnTo>
                  <a:lnTo>
                    <a:pt x="376" y="290"/>
                  </a:lnTo>
                  <a:lnTo>
                    <a:pt x="367" y="295"/>
                  </a:lnTo>
                  <a:lnTo>
                    <a:pt x="358" y="299"/>
                  </a:lnTo>
                  <a:lnTo>
                    <a:pt x="348" y="302"/>
                  </a:lnTo>
                  <a:lnTo>
                    <a:pt x="338" y="305"/>
                  </a:lnTo>
                  <a:lnTo>
                    <a:pt x="328" y="306"/>
                  </a:lnTo>
                  <a:lnTo>
                    <a:pt x="317" y="307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5" name="think_z"/>
          <p:cNvGrpSpPr>
            <a:grpSpLocks noChangeAspect="1"/>
          </p:cNvGrpSpPr>
          <p:nvPr/>
        </p:nvGrpSpPr>
        <p:grpSpPr>
          <a:xfrm>
            <a:off x="4646905" y="1882375"/>
            <a:ext cx="731816" cy="919627"/>
            <a:chOff x="784226" y="3117851"/>
            <a:chExt cx="538163" cy="676275"/>
          </a:xfrm>
        </p:grpSpPr>
        <p:sp>
          <p:nvSpPr>
            <p:cNvPr id="36" name="Freeform 32"/>
            <p:cNvSpPr>
              <a:spLocks/>
            </p:cNvSpPr>
            <p:nvPr/>
          </p:nvSpPr>
          <p:spPr bwMode="auto">
            <a:xfrm>
              <a:off x="820738" y="3551238"/>
              <a:ext cx="293688" cy="238125"/>
            </a:xfrm>
            <a:custGeom>
              <a:avLst/>
              <a:gdLst>
                <a:gd name="T0" fmla="*/ 7 w 738"/>
                <a:gd name="T1" fmla="*/ 603 h 603"/>
                <a:gd name="T2" fmla="*/ 4 w 738"/>
                <a:gd name="T3" fmla="*/ 521 h 603"/>
                <a:gd name="T4" fmla="*/ 1 w 738"/>
                <a:gd name="T5" fmla="*/ 437 h 603"/>
                <a:gd name="T6" fmla="*/ 0 w 738"/>
                <a:gd name="T7" fmla="*/ 357 h 603"/>
                <a:gd name="T8" fmla="*/ 0 w 738"/>
                <a:gd name="T9" fmla="*/ 282 h 603"/>
                <a:gd name="T10" fmla="*/ 1 w 738"/>
                <a:gd name="T11" fmla="*/ 216 h 603"/>
                <a:gd name="T12" fmla="*/ 4 w 738"/>
                <a:gd name="T13" fmla="*/ 161 h 603"/>
                <a:gd name="T14" fmla="*/ 6 w 738"/>
                <a:gd name="T15" fmla="*/ 138 h 603"/>
                <a:gd name="T16" fmla="*/ 9 w 738"/>
                <a:gd name="T17" fmla="*/ 120 h 603"/>
                <a:gd name="T18" fmla="*/ 12 w 738"/>
                <a:gd name="T19" fmla="*/ 105 h 603"/>
                <a:gd name="T20" fmla="*/ 16 w 738"/>
                <a:gd name="T21" fmla="*/ 95 h 603"/>
                <a:gd name="T22" fmla="*/ 21 w 738"/>
                <a:gd name="T23" fmla="*/ 89 h 603"/>
                <a:gd name="T24" fmla="*/ 27 w 738"/>
                <a:gd name="T25" fmla="*/ 83 h 603"/>
                <a:gd name="T26" fmla="*/ 34 w 738"/>
                <a:gd name="T27" fmla="*/ 78 h 603"/>
                <a:gd name="T28" fmla="*/ 40 w 738"/>
                <a:gd name="T29" fmla="*/ 72 h 603"/>
                <a:gd name="T30" fmla="*/ 58 w 738"/>
                <a:gd name="T31" fmla="*/ 62 h 603"/>
                <a:gd name="T32" fmla="*/ 75 w 738"/>
                <a:gd name="T33" fmla="*/ 52 h 603"/>
                <a:gd name="T34" fmla="*/ 95 w 738"/>
                <a:gd name="T35" fmla="*/ 44 h 603"/>
                <a:gd name="T36" fmla="*/ 114 w 738"/>
                <a:gd name="T37" fmla="*/ 35 h 603"/>
                <a:gd name="T38" fmla="*/ 134 w 738"/>
                <a:gd name="T39" fmla="*/ 29 h 603"/>
                <a:gd name="T40" fmla="*/ 155 w 738"/>
                <a:gd name="T41" fmla="*/ 22 h 603"/>
                <a:gd name="T42" fmla="*/ 193 w 738"/>
                <a:gd name="T43" fmla="*/ 12 h 603"/>
                <a:gd name="T44" fmla="*/ 225 w 738"/>
                <a:gd name="T45" fmla="*/ 5 h 603"/>
                <a:gd name="T46" fmla="*/ 247 w 738"/>
                <a:gd name="T47" fmla="*/ 1 h 603"/>
                <a:gd name="T48" fmla="*/ 254 w 738"/>
                <a:gd name="T49" fmla="*/ 0 h 603"/>
                <a:gd name="T50" fmla="*/ 370 w 738"/>
                <a:gd name="T51" fmla="*/ 81 h 603"/>
                <a:gd name="T52" fmla="*/ 475 w 738"/>
                <a:gd name="T53" fmla="*/ 0 h 603"/>
                <a:gd name="T54" fmla="*/ 484 w 738"/>
                <a:gd name="T55" fmla="*/ 1 h 603"/>
                <a:gd name="T56" fmla="*/ 507 w 738"/>
                <a:gd name="T57" fmla="*/ 5 h 603"/>
                <a:gd name="T58" fmla="*/ 540 w 738"/>
                <a:gd name="T59" fmla="*/ 12 h 603"/>
                <a:gd name="T60" fmla="*/ 580 w 738"/>
                <a:gd name="T61" fmla="*/ 22 h 603"/>
                <a:gd name="T62" fmla="*/ 601 w 738"/>
                <a:gd name="T63" fmla="*/ 29 h 603"/>
                <a:gd name="T64" fmla="*/ 622 w 738"/>
                <a:gd name="T65" fmla="*/ 35 h 603"/>
                <a:gd name="T66" fmla="*/ 642 w 738"/>
                <a:gd name="T67" fmla="*/ 44 h 603"/>
                <a:gd name="T68" fmla="*/ 662 w 738"/>
                <a:gd name="T69" fmla="*/ 52 h 603"/>
                <a:gd name="T70" fmla="*/ 681 w 738"/>
                <a:gd name="T71" fmla="*/ 62 h 603"/>
                <a:gd name="T72" fmla="*/ 698 w 738"/>
                <a:gd name="T73" fmla="*/ 72 h 603"/>
                <a:gd name="T74" fmla="*/ 705 w 738"/>
                <a:gd name="T75" fmla="*/ 78 h 603"/>
                <a:gd name="T76" fmla="*/ 711 w 738"/>
                <a:gd name="T77" fmla="*/ 83 h 603"/>
                <a:gd name="T78" fmla="*/ 717 w 738"/>
                <a:gd name="T79" fmla="*/ 89 h 603"/>
                <a:gd name="T80" fmla="*/ 722 w 738"/>
                <a:gd name="T81" fmla="*/ 95 h 603"/>
                <a:gd name="T82" fmla="*/ 726 w 738"/>
                <a:gd name="T83" fmla="*/ 105 h 603"/>
                <a:gd name="T84" fmla="*/ 730 w 738"/>
                <a:gd name="T85" fmla="*/ 120 h 603"/>
                <a:gd name="T86" fmla="*/ 732 w 738"/>
                <a:gd name="T87" fmla="*/ 138 h 603"/>
                <a:gd name="T88" fmla="*/ 735 w 738"/>
                <a:gd name="T89" fmla="*/ 161 h 603"/>
                <a:gd name="T90" fmla="*/ 737 w 738"/>
                <a:gd name="T91" fmla="*/ 216 h 603"/>
                <a:gd name="T92" fmla="*/ 738 w 738"/>
                <a:gd name="T93" fmla="*/ 282 h 603"/>
                <a:gd name="T94" fmla="*/ 738 w 738"/>
                <a:gd name="T95" fmla="*/ 357 h 603"/>
                <a:gd name="T96" fmla="*/ 737 w 738"/>
                <a:gd name="T97" fmla="*/ 437 h 603"/>
                <a:gd name="T98" fmla="*/ 735 w 738"/>
                <a:gd name="T99" fmla="*/ 521 h 603"/>
                <a:gd name="T100" fmla="*/ 732 w 738"/>
                <a:gd name="T101" fmla="*/ 603 h 603"/>
                <a:gd name="T102" fmla="*/ 7 w 738"/>
                <a:gd name="T103" fmla="*/ 60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38" h="603">
                  <a:moveTo>
                    <a:pt x="7" y="603"/>
                  </a:moveTo>
                  <a:lnTo>
                    <a:pt x="4" y="521"/>
                  </a:lnTo>
                  <a:lnTo>
                    <a:pt x="1" y="437"/>
                  </a:lnTo>
                  <a:lnTo>
                    <a:pt x="0" y="357"/>
                  </a:lnTo>
                  <a:lnTo>
                    <a:pt x="0" y="282"/>
                  </a:lnTo>
                  <a:lnTo>
                    <a:pt x="1" y="216"/>
                  </a:lnTo>
                  <a:lnTo>
                    <a:pt x="4" y="161"/>
                  </a:lnTo>
                  <a:lnTo>
                    <a:pt x="6" y="138"/>
                  </a:lnTo>
                  <a:lnTo>
                    <a:pt x="9" y="120"/>
                  </a:lnTo>
                  <a:lnTo>
                    <a:pt x="12" y="105"/>
                  </a:lnTo>
                  <a:lnTo>
                    <a:pt x="16" y="95"/>
                  </a:lnTo>
                  <a:lnTo>
                    <a:pt x="21" y="89"/>
                  </a:lnTo>
                  <a:lnTo>
                    <a:pt x="27" y="83"/>
                  </a:lnTo>
                  <a:lnTo>
                    <a:pt x="34" y="78"/>
                  </a:lnTo>
                  <a:lnTo>
                    <a:pt x="40" y="72"/>
                  </a:lnTo>
                  <a:lnTo>
                    <a:pt x="58" y="62"/>
                  </a:lnTo>
                  <a:lnTo>
                    <a:pt x="75" y="52"/>
                  </a:lnTo>
                  <a:lnTo>
                    <a:pt x="95" y="44"/>
                  </a:lnTo>
                  <a:lnTo>
                    <a:pt x="114" y="35"/>
                  </a:lnTo>
                  <a:lnTo>
                    <a:pt x="134" y="29"/>
                  </a:lnTo>
                  <a:lnTo>
                    <a:pt x="155" y="22"/>
                  </a:lnTo>
                  <a:lnTo>
                    <a:pt x="193" y="12"/>
                  </a:lnTo>
                  <a:lnTo>
                    <a:pt x="225" y="5"/>
                  </a:lnTo>
                  <a:lnTo>
                    <a:pt x="247" y="1"/>
                  </a:lnTo>
                  <a:lnTo>
                    <a:pt x="254" y="0"/>
                  </a:lnTo>
                  <a:lnTo>
                    <a:pt x="370" y="81"/>
                  </a:lnTo>
                  <a:lnTo>
                    <a:pt x="475" y="0"/>
                  </a:lnTo>
                  <a:lnTo>
                    <a:pt x="484" y="1"/>
                  </a:lnTo>
                  <a:lnTo>
                    <a:pt x="507" y="5"/>
                  </a:lnTo>
                  <a:lnTo>
                    <a:pt x="540" y="12"/>
                  </a:lnTo>
                  <a:lnTo>
                    <a:pt x="580" y="22"/>
                  </a:lnTo>
                  <a:lnTo>
                    <a:pt x="601" y="29"/>
                  </a:lnTo>
                  <a:lnTo>
                    <a:pt x="622" y="35"/>
                  </a:lnTo>
                  <a:lnTo>
                    <a:pt x="642" y="44"/>
                  </a:lnTo>
                  <a:lnTo>
                    <a:pt x="662" y="52"/>
                  </a:lnTo>
                  <a:lnTo>
                    <a:pt x="681" y="62"/>
                  </a:lnTo>
                  <a:lnTo>
                    <a:pt x="698" y="72"/>
                  </a:lnTo>
                  <a:lnTo>
                    <a:pt x="705" y="78"/>
                  </a:lnTo>
                  <a:lnTo>
                    <a:pt x="711" y="83"/>
                  </a:lnTo>
                  <a:lnTo>
                    <a:pt x="717" y="89"/>
                  </a:lnTo>
                  <a:lnTo>
                    <a:pt x="722" y="95"/>
                  </a:lnTo>
                  <a:lnTo>
                    <a:pt x="726" y="105"/>
                  </a:lnTo>
                  <a:lnTo>
                    <a:pt x="730" y="120"/>
                  </a:lnTo>
                  <a:lnTo>
                    <a:pt x="732" y="138"/>
                  </a:lnTo>
                  <a:lnTo>
                    <a:pt x="735" y="161"/>
                  </a:lnTo>
                  <a:lnTo>
                    <a:pt x="737" y="216"/>
                  </a:lnTo>
                  <a:lnTo>
                    <a:pt x="738" y="282"/>
                  </a:lnTo>
                  <a:lnTo>
                    <a:pt x="738" y="357"/>
                  </a:lnTo>
                  <a:lnTo>
                    <a:pt x="737" y="437"/>
                  </a:lnTo>
                  <a:lnTo>
                    <a:pt x="735" y="521"/>
                  </a:lnTo>
                  <a:lnTo>
                    <a:pt x="732" y="603"/>
                  </a:lnTo>
                  <a:lnTo>
                    <a:pt x="7" y="603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33"/>
            <p:cNvSpPr>
              <a:spLocks/>
            </p:cNvSpPr>
            <p:nvPr/>
          </p:nvSpPr>
          <p:spPr bwMode="auto">
            <a:xfrm>
              <a:off x="815976" y="3544888"/>
              <a:ext cx="303213" cy="249238"/>
            </a:xfrm>
            <a:custGeom>
              <a:avLst/>
              <a:gdLst>
                <a:gd name="T0" fmla="*/ 744 w 763"/>
                <a:gd name="T1" fmla="*/ 628 h 628"/>
                <a:gd name="T2" fmla="*/ 739 w 763"/>
                <a:gd name="T3" fmla="*/ 627 h 628"/>
                <a:gd name="T4" fmla="*/ 733 w 763"/>
                <a:gd name="T5" fmla="*/ 619 h 628"/>
                <a:gd name="T6" fmla="*/ 737 w 763"/>
                <a:gd name="T7" fmla="*/ 476 h 628"/>
                <a:gd name="T8" fmla="*/ 738 w 763"/>
                <a:gd name="T9" fmla="*/ 279 h 628"/>
                <a:gd name="T10" fmla="*/ 734 w 763"/>
                <a:gd name="T11" fmla="*/ 171 h 628"/>
                <a:gd name="T12" fmla="*/ 727 w 763"/>
                <a:gd name="T13" fmla="*/ 125 h 628"/>
                <a:gd name="T14" fmla="*/ 715 w 763"/>
                <a:gd name="T15" fmla="*/ 106 h 628"/>
                <a:gd name="T16" fmla="*/ 690 w 763"/>
                <a:gd name="T17" fmla="*/ 87 h 628"/>
                <a:gd name="T18" fmla="*/ 657 w 763"/>
                <a:gd name="T19" fmla="*/ 70 h 628"/>
                <a:gd name="T20" fmla="*/ 621 w 763"/>
                <a:gd name="T21" fmla="*/ 57 h 628"/>
                <a:gd name="T22" fmla="*/ 567 w 763"/>
                <a:gd name="T23" fmla="*/ 41 h 628"/>
                <a:gd name="T24" fmla="*/ 508 w 763"/>
                <a:gd name="T25" fmla="*/ 27 h 628"/>
                <a:gd name="T26" fmla="*/ 389 w 763"/>
                <a:gd name="T27" fmla="*/ 103 h 628"/>
                <a:gd name="T28" fmla="*/ 382 w 763"/>
                <a:gd name="T29" fmla="*/ 107 h 628"/>
                <a:gd name="T30" fmla="*/ 374 w 763"/>
                <a:gd name="T31" fmla="*/ 103 h 628"/>
                <a:gd name="T32" fmla="*/ 248 w 763"/>
                <a:gd name="T33" fmla="*/ 27 h 628"/>
                <a:gd name="T34" fmla="*/ 191 w 763"/>
                <a:gd name="T35" fmla="*/ 41 h 628"/>
                <a:gd name="T36" fmla="*/ 138 w 763"/>
                <a:gd name="T37" fmla="*/ 58 h 628"/>
                <a:gd name="T38" fmla="*/ 103 w 763"/>
                <a:gd name="T39" fmla="*/ 71 h 628"/>
                <a:gd name="T40" fmla="*/ 72 w 763"/>
                <a:gd name="T41" fmla="*/ 87 h 628"/>
                <a:gd name="T42" fmla="*/ 46 w 763"/>
                <a:gd name="T43" fmla="*/ 107 h 628"/>
                <a:gd name="T44" fmla="*/ 34 w 763"/>
                <a:gd name="T45" fmla="*/ 125 h 628"/>
                <a:gd name="T46" fmla="*/ 28 w 763"/>
                <a:gd name="T47" fmla="*/ 171 h 628"/>
                <a:gd name="T48" fmla="*/ 24 w 763"/>
                <a:gd name="T49" fmla="*/ 279 h 628"/>
                <a:gd name="T50" fmla="*/ 27 w 763"/>
                <a:gd name="T51" fmla="*/ 476 h 628"/>
                <a:gd name="T52" fmla="*/ 30 w 763"/>
                <a:gd name="T53" fmla="*/ 619 h 628"/>
                <a:gd name="T54" fmla="*/ 24 w 763"/>
                <a:gd name="T55" fmla="*/ 627 h 628"/>
                <a:gd name="T56" fmla="*/ 14 w 763"/>
                <a:gd name="T57" fmla="*/ 627 h 628"/>
                <a:gd name="T58" fmla="*/ 8 w 763"/>
                <a:gd name="T59" fmla="*/ 621 h 628"/>
                <a:gd name="T60" fmla="*/ 2 w 763"/>
                <a:gd name="T61" fmla="*/ 462 h 628"/>
                <a:gd name="T62" fmla="*/ 1 w 763"/>
                <a:gd name="T63" fmla="*/ 254 h 628"/>
                <a:gd name="T64" fmla="*/ 7 w 763"/>
                <a:gd name="T65" fmla="*/ 150 h 628"/>
                <a:gd name="T66" fmla="*/ 14 w 763"/>
                <a:gd name="T67" fmla="*/ 112 h 628"/>
                <a:gd name="T68" fmla="*/ 23 w 763"/>
                <a:gd name="T69" fmla="*/ 98 h 628"/>
                <a:gd name="T70" fmla="*/ 36 w 763"/>
                <a:gd name="T71" fmla="*/ 86 h 628"/>
                <a:gd name="T72" fmla="*/ 60 w 763"/>
                <a:gd name="T73" fmla="*/ 69 h 628"/>
                <a:gd name="T74" fmla="*/ 98 w 763"/>
                <a:gd name="T75" fmla="*/ 48 h 628"/>
                <a:gd name="T76" fmla="*/ 138 w 763"/>
                <a:gd name="T77" fmla="*/ 32 h 628"/>
                <a:gd name="T78" fmla="*/ 197 w 763"/>
                <a:gd name="T79" fmla="*/ 15 h 628"/>
                <a:gd name="T80" fmla="*/ 254 w 763"/>
                <a:gd name="T81" fmla="*/ 1 h 628"/>
                <a:gd name="T82" fmla="*/ 270 w 763"/>
                <a:gd name="T83" fmla="*/ 0 h 628"/>
                <a:gd name="T84" fmla="*/ 382 w 763"/>
                <a:gd name="T85" fmla="*/ 79 h 628"/>
                <a:gd name="T86" fmla="*/ 485 w 763"/>
                <a:gd name="T87" fmla="*/ 0 h 628"/>
                <a:gd name="T88" fmla="*/ 501 w 763"/>
                <a:gd name="T89" fmla="*/ 1 h 628"/>
                <a:gd name="T90" fmla="*/ 560 w 763"/>
                <a:gd name="T91" fmla="*/ 15 h 628"/>
                <a:gd name="T92" fmla="*/ 621 w 763"/>
                <a:gd name="T93" fmla="*/ 32 h 628"/>
                <a:gd name="T94" fmla="*/ 663 w 763"/>
                <a:gd name="T95" fmla="*/ 48 h 628"/>
                <a:gd name="T96" fmla="*/ 701 w 763"/>
                <a:gd name="T97" fmla="*/ 68 h 628"/>
                <a:gd name="T98" fmla="*/ 726 w 763"/>
                <a:gd name="T99" fmla="*/ 84 h 628"/>
                <a:gd name="T100" fmla="*/ 739 w 763"/>
                <a:gd name="T101" fmla="*/ 97 h 628"/>
                <a:gd name="T102" fmla="*/ 748 w 763"/>
                <a:gd name="T103" fmla="*/ 111 h 628"/>
                <a:gd name="T104" fmla="*/ 756 w 763"/>
                <a:gd name="T105" fmla="*/ 149 h 628"/>
                <a:gd name="T106" fmla="*/ 761 w 763"/>
                <a:gd name="T107" fmla="*/ 253 h 628"/>
                <a:gd name="T108" fmla="*/ 760 w 763"/>
                <a:gd name="T109" fmla="*/ 462 h 628"/>
                <a:gd name="T110" fmla="*/ 755 w 763"/>
                <a:gd name="T111" fmla="*/ 621 h 628"/>
                <a:gd name="T112" fmla="*/ 749 w 763"/>
                <a:gd name="T113" fmla="*/ 627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63" h="628">
                  <a:moveTo>
                    <a:pt x="744" y="628"/>
                  </a:moveTo>
                  <a:lnTo>
                    <a:pt x="744" y="628"/>
                  </a:lnTo>
                  <a:lnTo>
                    <a:pt x="743" y="628"/>
                  </a:lnTo>
                  <a:lnTo>
                    <a:pt x="739" y="627"/>
                  </a:lnTo>
                  <a:lnTo>
                    <a:pt x="736" y="623"/>
                  </a:lnTo>
                  <a:lnTo>
                    <a:pt x="733" y="619"/>
                  </a:lnTo>
                  <a:lnTo>
                    <a:pt x="732" y="615"/>
                  </a:lnTo>
                  <a:lnTo>
                    <a:pt x="737" y="476"/>
                  </a:lnTo>
                  <a:lnTo>
                    <a:pt x="738" y="365"/>
                  </a:lnTo>
                  <a:lnTo>
                    <a:pt x="738" y="279"/>
                  </a:lnTo>
                  <a:lnTo>
                    <a:pt x="737" y="216"/>
                  </a:lnTo>
                  <a:lnTo>
                    <a:pt x="734" y="171"/>
                  </a:lnTo>
                  <a:lnTo>
                    <a:pt x="731" y="143"/>
                  </a:lnTo>
                  <a:lnTo>
                    <a:pt x="727" y="125"/>
                  </a:lnTo>
                  <a:lnTo>
                    <a:pt x="724" y="117"/>
                  </a:lnTo>
                  <a:lnTo>
                    <a:pt x="715" y="106"/>
                  </a:lnTo>
                  <a:lnTo>
                    <a:pt x="704" y="96"/>
                  </a:lnTo>
                  <a:lnTo>
                    <a:pt x="690" y="87"/>
                  </a:lnTo>
                  <a:lnTo>
                    <a:pt x="674" y="79"/>
                  </a:lnTo>
                  <a:lnTo>
                    <a:pt x="657" y="70"/>
                  </a:lnTo>
                  <a:lnTo>
                    <a:pt x="640" y="63"/>
                  </a:lnTo>
                  <a:lnTo>
                    <a:pt x="621" y="57"/>
                  </a:lnTo>
                  <a:lnTo>
                    <a:pt x="603" y="50"/>
                  </a:lnTo>
                  <a:lnTo>
                    <a:pt x="567" y="41"/>
                  </a:lnTo>
                  <a:lnTo>
                    <a:pt x="534" y="32"/>
                  </a:lnTo>
                  <a:lnTo>
                    <a:pt x="508" y="27"/>
                  </a:lnTo>
                  <a:lnTo>
                    <a:pt x="491" y="25"/>
                  </a:lnTo>
                  <a:lnTo>
                    <a:pt x="389" y="103"/>
                  </a:lnTo>
                  <a:lnTo>
                    <a:pt x="385" y="106"/>
                  </a:lnTo>
                  <a:lnTo>
                    <a:pt x="382" y="107"/>
                  </a:lnTo>
                  <a:lnTo>
                    <a:pt x="378" y="106"/>
                  </a:lnTo>
                  <a:lnTo>
                    <a:pt x="374" y="103"/>
                  </a:lnTo>
                  <a:lnTo>
                    <a:pt x="264" y="25"/>
                  </a:lnTo>
                  <a:lnTo>
                    <a:pt x="248" y="27"/>
                  </a:lnTo>
                  <a:lnTo>
                    <a:pt x="222" y="33"/>
                  </a:lnTo>
                  <a:lnTo>
                    <a:pt x="191" y="41"/>
                  </a:lnTo>
                  <a:lnTo>
                    <a:pt x="156" y="52"/>
                  </a:lnTo>
                  <a:lnTo>
                    <a:pt x="138" y="58"/>
                  </a:lnTo>
                  <a:lnTo>
                    <a:pt x="120" y="64"/>
                  </a:lnTo>
                  <a:lnTo>
                    <a:pt x="103" y="71"/>
                  </a:lnTo>
                  <a:lnTo>
                    <a:pt x="87" y="79"/>
                  </a:lnTo>
                  <a:lnTo>
                    <a:pt x="72" y="87"/>
                  </a:lnTo>
                  <a:lnTo>
                    <a:pt x="59" y="97"/>
                  </a:lnTo>
                  <a:lnTo>
                    <a:pt x="46" y="107"/>
                  </a:lnTo>
                  <a:lnTo>
                    <a:pt x="38" y="117"/>
                  </a:lnTo>
                  <a:lnTo>
                    <a:pt x="34" y="125"/>
                  </a:lnTo>
                  <a:lnTo>
                    <a:pt x="32" y="143"/>
                  </a:lnTo>
                  <a:lnTo>
                    <a:pt x="28" y="171"/>
                  </a:lnTo>
                  <a:lnTo>
                    <a:pt x="25" y="216"/>
                  </a:lnTo>
                  <a:lnTo>
                    <a:pt x="24" y="279"/>
                  </a:lnTo>
                  <a:lnTo>
                    <a:pt x="24" y="365"/>
                  </a:lnTo>
                  <a:lnTo>
                    <a:pt x="27" y="476"/>
                  </a:lnTo>
                  <a:lnTo>
                    <a:pt x="30" y="615"/>
                  </a:lnTo>
                  <a:lnTo>
                    <a:pt x="30" y="619"/>
                  </a:lnTo>
                  <a:lnTo>
                    <a:pt x="28" y="623"/>
                  </a:lnTo>
                  <a:lnTo>
                    <a:pt x="24" y="627"/>
                  </a:lnTo>
                  <a:lnTo>
                    <a:pt x="19" y="628"/>
                  </a:lnTo>
                  <a:lnTo>
                    <a:pt x="14" y="627"/>
                  </a:lnTo>
                  <a:lnTo>
                    <a:pt x="11" y="624"/>
                  </a:lnTo>
                  <a:lnTo>
                    <a:pt x="8" y="621"/>
                  </a:lnTo>
                  <a:lnTo>
                    <a:pt x="7" y="617"/>
                  </a:lnTo>
                  <a:lnTo>
                    <a:pt x="2" y="462"/>
                  </a:lnTo>
                  <a:lnTo>
                    <a:pt x="0" y="343"/>
                  </a:lnTo>
                  <a:lnTo>
                    <a:pt x="1" y="254"/>
                  </a:lnTo>
                  <a:lnTo>
                    <a:pt x="3" y="192"/>
                  </a:lnTo>
                  <a:lnTo>
                    <a:pt x="7" y="150"/>
                  </a:lnTo>
                  <a:lnTo>
                    <a:pt x="11" y="125"/>
                  </a:lnTo>
                  <a:lnTo>
                    <a:pt x="14" y="112"/>
                  </a:lnTo>
                  <a:lnTo>
                    <a:pt x="18" y="106"/>
                  </a:lnTo>
                  <a:lnTo>
                    <a:pt x="23" y="98"/>
                  </a:lnTo>
                  <a:lnTo>
                    <a:pt x="29" y="92"/>
                  </a:lnTo>
                  <a:lnTo>
                    <a:pt x="36" y="86"/>
                  </a:lnTo>
                  <a:lnTo>
                    <a:pt x="44" y="80"/>
                  </a:lnTo>
                  <a:lnTo>
                    <a:pt x="60" y="69"/>
                  </a:lnTo>
                  <a:lnTo>
                    <a:pt x="78" y="58"/>
                  </a:lnTo>
                  <a:lnTo>
                    <a:pt x="98" y="48"/>
                  </a:lnTo>
                  <a:lnTo>
                    <a:pt x="118" y="39"/>
                  </a:lnTo>
                  <a:lnTo>
                    <a:pt x="138" y="32"/>
                  </a:lnTo>
                  <a:lnTo>
                    <a:pt x="158" y="26"/>
                  </a:lnTo>
                  <a:lnTo>
                    <a:pt x="197" y="15"/>
                  </a:lnTo>
                  <a:lnTo>
                    <a:pt x="231" y="6"/>
                  </a:lnTo>
                  <a:lnTo>
                    <a:pt x="254" y="1"/>
                  </a:lnTo>
                  <a:lnTo>
                    <a:pt x="265" y="0"/>
                  </a:lnTo>
                  <a:lnTo>
                    <a:pt x="270" y="0"/>
                  </a:lnTo>
                  <a:lnTo>
                    <a:pt x="274" y="1"/>
                  </a:lnTo>
                  <a:lnTo>
                    <a:pt x="382" y="79"/>
                  </a:lnTo>
                  <a:lnTo>
                    <a:pt x="480" y="1"/>
                  </a:lnTo>
                  <a:lnTo>
                    <a:pt x="485" y="0"/>
                  </a:lnTo>
                  <a:lnTo>
                    <a:pt x="490" y="0"/>
                  </a:lnTo>
                  <a:lnTo>
                    <a:pt x="501" y="1"/>
                  </a:lnTo>
                  <a:lnTo>
                    <a:pt x="525" y="6"/>
                  </a:lnTo>
                  <a:lnTo>
                    <a:pt x="560" y="15"/>
                  </a:lnTo>
                  <a:lnTo>
                    <a:pt x="600" y="25"/>
                  </a:lnTo>
                  <a:lnTo>
                    <a:pt x="621" y="32"/>
                  </a:lnTo>
                  <a:lnTo>
                    <a:pt x="642" y="39"/>
                  </a:lnTo>
                  <a:lnTo>
                    <a:pt x="663" y="48"/>
                  </a:lnTo>
                  <a:lnTo>
                    <a:pt x="683" y="57"/>
                  </a:lnTo>
                  <a:lnTo>
                    <a:pt x="701" y="68"/>
                  </a:lnTo>
                  <a:lnTo>
                    <a:pt x="718" y="79"/>
                  </a:lnTo>
                  <a:lnTo>
                    <a:pt x="726" y="84"/>
                  </a:lnTo>
                  <a:lnTo>
                    <a:pt x="733" y="90"/>
                  </a:lnTo>
                  <a:lnTo>
                    <a:pt x="739" y="97"/>
                  </a:lnTo>
                  <a:lnTo>
                    <a:pt x="744" y="103"/>
                  </a:lnTo>
                  <a:lnTo>
                    <a:pt x="748" y="111"/>
                  </a:lnTo>
                  <a:lnTo>
                    <a:pt x="751" y="124"/>
                  </a:lnTo>
                  <a:lnTo>
                    <a:pt x="756" y="149"/>
                  </a:lnTo>
                  <a:lnTo>
                    <a:pt x="759" y="191"/>
                  </a:lnTo>
                  <a:lnTo>
                    <a:pt x="761" y="253"/>
                  </a:lnTo>
                  <a:lnTo>
                    <a:pt x="763" y="343"/>
                  </a:lnTo>
                  <a:lnTo>
                    <a:pt x="760" y="462"/>
                  </a:lnTo>
                  <a:lnTo>
                    <a:pt x="756" y="617"/>
                  </a:lnTo>
                  <a:lnTo>
                    <a:pt x="755" y="621"/>
                  </a:lnTo>
                  <a:lnTo>
                    <a:pt x="753" y="624"/>
                  </a:lnTo>
                  <a:lnTo>
                    <a:pt x="749" y="627"/>
                  </a:lnTo>
                  <a:lnTo>
                    <a:pt x="744" y="628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34"/>
            <p:cNvSpPr>
              <a:spLocks/>
            </p:cNvSpPr>
            <p:nvPr/>
          </p:nvSpPr>
          <p:spPr bwMode="auto">
            <a:xfrm>
              <a:off x="942976" y="3582988"/>
              <a:ext cx="49213" cy="36513"/>
            </a:xfrm>
            <a:custGeom>
              <a:avLst/>
              <a:gdLst>
                <a:gd name="T0" fmla="*/ 0 w 122"/>
                <a:gd name="T1" fmla="*/ 46 h 92"/>
                <a:gd name="T2" fmla="*/ 28 w 122"/>
                <a:gd name="T3" fmla="*/ 92 h 92"/>
                <a:gd name="T4" fmla="*/ 92 w 122"/>
                <a:gd name="T5" fmla="*/ 92 h 92"/>
                <a:gd name="T6" fmla="*/ 122 w 122"/>
                <a:gd name="T7" fmla="*/ 46 h 92"/>
                <a:gd name="T8" fmla="*/ 60 w 122"/>
                <a:gd name="T9" fmla="*/ 0 h 92"/>
                <a:gd name="T10" fmla="*/ 0 w 122"/>
                <a:gd name="T11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2" h="92">
                  <a:moveTo>
                    <a:pt x="0" y="46"/>
                  </a:moveTo>
                  <a:lnTo>
                    <a:pt x="28" y="92"/>
                  </a:lnTo>
                  <a:lnTo>
                    <a:pt x="92" y="92"/>
                  </a:lnTo>
                  <a:lnTo>
                    <a:pt x="122" y="46"/>
                  </a:lnTo>
                  <a:lnTo>
                    <a:pt x="60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35"/>
            <p:cNvSpPr>
              <a:spLocks noEditPoints="1"/>
            </p:cNvSpPr>
            <p:nvPr/>
          </p:nvSpPr>
          <p:spPr bwMode="auto">
            <a:xfrm>
              <a:off x="938213" y="3578226"/>
              <a:ext cx="58738" cy="46038"/>
            </a:xfrm>
            <a:custGeom>
              <a:avLst/>
              <a:gdLst>
                <a:gd name="T0" fmla="*/ 47 w 148"/>
                <a:gd name="T1" fmla="*/ 91 h 116"/>
                <a:gd name="T2" fmla="*/ 98 w 148"/>
                <a:gd name="T3" fmla="*/ 91 h 116"/>
                <a:gd name="T4" fmla="*/ 119 w 148"/>
                <a:gd name="T5" fmla="*/ 64 h 116"/>
                <a:gd name="T6" fmla="*/ 73 w 148"/>
                <a:gd name="T7" fmla="*/ 27 h 116"/>
                <a:gd name="T8" fmla="*/ 28 w 148"/>
                <a:gd name="T9" fmla="*/ 64 h 116"/>
                <a:gd name="T10" fmla="*/ 47 w 148"/>
                <a:gd name="T11" fmla="*/ 91 h 116"/>
                <a:gd name="T12" fmla="*/ 105 w 148"/>
                <a:gd name="T13" fmla="*/ 116 h 116"/>
                <a:gd name="T14" fmla="*/ 41 w 148"/>
                <a:gd name="T15" fmla="*/ 116 h 116"/>
                <a:gd name="T16" fmla="*/ 36 w 148"/>
                <a:gd name="T17" fmla="*/ 115 h 116"/>
                <a:gd name="T18" fmla="*/ 31 w 148"/>
                <a:gd name="T19" fmla="*/ 111 h 116"/>
                <a:gd name="T20" fmla="*/ 1 w 148"/>
                <a:gd name="T21" fmla="*/ 67 h 116"/>
                <a:gd name="T22" fmla="*/ 0 w 148"/>
                <a:gd name="T23" fmla="*/ 63 h 116"/>
                <a:gd name="T24" fmla="*/ 0 w 148"/>
                <a:gd name="T25" fmla="*/ 58 h 116"/>
                <a:gd name="T26" fmla="*/ 1 w 148"/>
                <a:gd name="T27" fmla="*/ 54 h 116"/>
                <a:gd name="T28" fmla="*/ 5 w 148"/>
                <a:gd name="T29" fmla="*/ 51 h 116"/>
                <a:gd name="T30" fmla="*/ 65 w 148"/>
                <a:gd name="T31" fmla="*/ 3 h 116"/>
                <a:gd name="T32" fmla="*/ 68 w 148"/>
                <a:gd name="T33" fmla="*/ 0 h 116"/>
                <a:gd name="T34" fmla="*/ 71 w 148"/>
                <a:gd name="T35" fmla="*/ 0 h 116"/>
                <a:gd name="T36" fmla="*/ 76 w 148"/>
                <a:gd name="T37" fmla="*/ 0 h 116"/>
                <a:gd name="T38" fmla="*/ 80 w 148"/>
                <a:gd name="T39" fmla="*/ 3 h 116"/>
                <a:gd name="T40" fmla="*/ 143 w 148"/>
                <a:gd name="T41" fmla="*/ 51 h 116"/>
                <a:gd name="T42" fmla="*/ 146 w 148"/>
                <a:gd name="T43" fmla="*/ 54 h 116"/>
                <a:gd name="T44" fmla="*/ 148 w 148"/>
                <a:gd name="T45" fmla="*/ 58 h 116"/>
                <a:gd name="T46" fmla="*/ 148 w 148"/>
                <a:gd name="T47" fmla="*/ 63 h 116"/>
                <a:gd name="T48" fmla="*/ 145 w 148"/>
                <a:gd name="T49" fmla="*/ 68 h 116"/>
                <a:gd name="T50" fmla="*/ 114 w 148"/>
                <a:gd name="T51" fmla="*/ 111 h 116"/>
                <a:gd name="T52" fmla="*/ 111 w 148"/>
                <a:gd name="T53" fmla="*/ 115 h 116"/>
                <a:gd name="T54" fmla="*/ 105 w 148"/>
                <a:gd name="T5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16">
                  <a:moveTo>
                    <a:pt x="47" y="91"/>
                  </a:moveTo>
                  <a:lnTo>
                    <a:pt x="98" y="91"/>
                  </a:lnTo>
                  <a:lnTo>
                    <a:pt x="119" y="64"/>
                  </a:lnTo>
                  <a:lnTo>
                    <a:pt x="73" y="27"/>
                  </a:lnTo>
                  <a:lnTo>
                    <a:pt x="28" y="64"/>
                  </a:lnTo>
                  <a:lnTo>
                    <a:pt x="47" y="91"/>
                  </a:lnTo>
                  <a:close/>
                  <a:moveTo>
                    <a:pt x="105" y="116"/>
                  </a:moveTo>
                  <a:lnTo>
                    <a:pt x="41" y="116"/>
                  </a:lnTo>
                  <a:lnTo>
                    <a:pt x="36" y="115"/>
                  </a:lnTo>
                  <a:lnTo>
                    <a:pt x="31" y="111"/>
                  </a:lnTo>
                  <a:lnTo>
                    <a:pt x="1" y="67"/>
                  </a:lnTo>
                  <a:lnTo>
                    <a:pt x="0" y="63"/>
                  </a:lnTo>
                  <a:lnTo>
                    <a:pt x="0" y="58"/>
                  </a:lnTo>
                  <a:lnTo>
                    <a:pt x="1" y="54"/>
                  </a:lnTo>
                  <a:lnTo>
                    <a:pt x="5" y="51"/>
                  </a:lnTo>
                  <a:lnTo>
                    <a:pt x="65" y="3"/>
                  </a:lnTo>
                  <a:lnTo>
                    <a:pt x="68" y="0"/>
                  </a:lnTo>
                  <a:lnTo>
                    <a:pt x="71" y="0"/>
                  </a:lnTo>
                  <a:lnTo>
                    <a:pt x="76" y="0"/>
                  </a:lnTo>
                  <a:lnTo>
                    <a:pt x="80" y="3"/>
                  </a:lnTo>
                  <a:lnTo>
                    <a:pt x="143" y="51"/>
                  </a:lnTo>
                  <a:lnTo>
                    <a:pt x="146" y="54"/>
                  </a:lnTo>
                  <a:lnTo>
                    <a:pt x="148" y="58"/>
                  </a:lnTo>
                  <a:lnTo>
                    <a:pt x="148" y="63"/>
                  </a:lnTo>
                  <a:lnTo>
                    <a:pt x="145" y="68"/>
                  </a:lnTo>
                  <a:lnTo>
                    <a:pt x="114" y="111"/>
                  </a:lnTo>
                  <a:lnTo>
                    <a:pt x="111" y="115"/>
                  </a:lnTo>
                  <a:lnTo>
                    <a:pt x="105" y="116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36"/>
            <p:cNvSpPr>
              <a:spLocks noEditPoints="1"/>
            </p:cNvSpPr>
            <p:nvPr/>
          </p:nvSpPr>
          <p:spPr bwMode="auto">
            <a:xfrm>
              <a:off x="896938" y="3365501"/>
              <a:ext cx="136525" cy="179388"/>
            </a:xfrm>
            <a:custGeom>
              <a:avLst/>
              <a:gdLst>
                <a:gd name="T0" fmla="*/ 127 w 342"/>
                <a:gd name="T1" fmla="*/ 29 h 451"/>
                <a:gd name="T2" fmla="*/ 75 w 342"/>
                <a:gd name="T3" fmla="*/ 48 h 451"/>
                <a:gd name="T4" fmla="*/ 50 w 342"/>
                <a:gd name="T5" fmla="*/ 81 h 451"/>
                <a:gd name="T6" fmla="*/ 40 w 342"/>
                <a:gd name="T7" fmla="*/ 107 h 451"/>
                <a:gd name="T8" fmla="*/ 29 w 342"/>
                <a:gd name="T9" fmla="*/ 153 h 451"/>
                <a:gd name="T10" fmla="*/ 32 w 342"/>
                <a:gd name="T11" fmla="*/ 234 h 451"/>
                <a:gd name="T12" fmla="*/ 33 w 342"/>
                <a:gd name="T13" fmla="*/ 256 h 451"/>
                <a:gd name="T14" fmla="*/ 23 w 342"/>
                <a:gd name="T15" fmla="*/ 270 h 451"/>
                <a:gd name="T16" fmla="*/ 33 w 342"/>
                <a:gd name="T17" fmla="*/ 296 h 451"/>
                <a:gd name="T18" fmla="*/ 61 w 342"/>
                <a:gd name="T19" fmla="*/ 325 h 451"/>
                <a:gd name="T20" fmla="*/ 76 w 342"/>
                <a:gd name="T21" fmla="*/ 362 h 451"/>
                <a:gd name="T22" fmla="*/ 110 w 342"/>
                <a:gd name="T23" fmla="*/ 406 h 451"/>
                <a:gd name="T24" fmla="*/ 158 w 342"/>
                <a:gd name="T25" fmla="*/ 427 h 451"/>
                <a:gd name="T26" fmla="*/ 215 w 342"/>
                <a:gd name="T27" fmla="*/ 419 h 451"/>
                <a:gd name="T28" fmla="*/ 250 w 342"/>
                <a:gd name="T29" fmla="*/ 389 h 451"/>
                <a:gd name="T30" fmla="*/ 276 w 342"/>
                <a:gd name="T31" fmla="*/ 336 h 451"/>
                <a:gd name="T32" fmla="*/ 292 w 342"/>
                <a:gd name="T33" fmla="*/ 314 h 451"/>
                <a:gd name="T34" fmla="*/ 317 w 342"/>
                <a:gd name="T35" fmla="*/ 282 h 451"/>
                <a:gd name="T36" fmla="*/ 314 w 342"/>
                <a:gd name="T37" fmla="*/ 263 h 451"/>
                <a:gd name="T38" fmla="*/ 307 w 342"/>
                <a:gd name="T39" fmla="*/ 252 h 451"/>
                <a:gd name="T40" fmla="*/ 313 w 342"/>
                <a:gd name="T41" fmla="*/ 195 h 451"/>
                <a:gd name="T42" fmla="*/ 307 w 342"/>
                <a:gd name="T43" fmla="*/ 119 h 451"/>
                <a:gd name="T44" fmla="*/ 293 w 342"/>
                <a:gd name="T45" fmla="*/ 92 h 451"/>
                <a:gd name="T46" fmla="*/ 285 w 342"/>
                <a:gd name="T47" fmla="*/ 65 h 451"/>
                <a:gd name="T48" fmla="*/ 259 w 342"/>
                <a:gd name="T49" fmla="*/ 43 h 451"/>
                <a:gd name="T50" fmla="*/ 194 w 342"/>
                <a:gd name="T51" fmla="*/ 25 h 451"/>
                <a:gd name="T52" fmla="*/ 141 w 342"/>
                <a:gd name="T53" fmla="*/ 447 h 451"/>
                <a:gd name="T54" fmla="*/ 93 w 342"/>
                <a:gd name="T55" fmla="*/ 421 h 451"/>
                <a:gd name="T56" fmla="*/ 61 w 342"/>
                <a:gd name="T57" fmla="*/ 384 h 451"/>
                <a:gd name="T58" fmla="*/ 41 w 342"/>
                <a:gd name="T59" fmla="*/ 340 h 451"/>
                <a:gd name="T60" fmla="*/ 4 w 342"/>
                <a:gd name="T61" fmla="*/ 296 h 451"/>
                <a:gd name="T62" fmla="*/ 1 w 342"/>
                <a:gd name="T63" fmla="*/ 260 h 451"/>
                <a:gd name="T64" fmla="*/ 6 w 342"/>
                <a:gd name="T65" fmla="*/ 218 h 451"/>
                <a:gd name="T66" fmla="*/ 8 w 342"/>
                <a:gd name="T67" fmla="*/ 126 h 451"/>
                <a:gd name="T68" fmla="*/ 24 w 342"/>
                <a:gd name="T69" fmla="*/ 86 h 451"/>
                <a:gd name="T70" fmla="*/ 40 w 342"/>
                <a:gd name="T71" fmla="*/ 46 h 451"/>
                <a:gd name="T72" fmla="*/ 76 w 342"/>
                <a:gd name="T73" fmla="*/ 19 h 451"/>
                <a:gd name="T74" fmla="*/ 124 w 342"/>
                <a:gd name="T75" fmla="*/ 5 h 451"/>
                <a:gd name="T76" fmla="*/ 201 w 342"/>
                <a:gd name="T77" fmla="*/ 1 h 451"/>
                <a:gd name="T78" fmla="*/ 248 w 342"/>
                <a:gd name="T79" fmla="*/ 12 h 451"/>
                <a:gd name="T80" fmla="*/ 287 w 342"/>
                <a:gd name="T81" fmla="*/ 33 h 451"/>
                <a:gd name="T82" fmla="*/ 312 w 342"/>
                <a:gd name="T83" fmla="*/ 64 h 451"/>
                <a:gd name="T84" fmla="*/ 326 w 342"/>
                <a:gd name="T85" fmla="*/ 103 h 451"/>
                <a:gd name="T86" fmla="*/ 336 w 342"/>
                <a:gd name="T87" fmla="*/ 173 h 451"/>
                <a:gd name="T88" fmla="*/ 331 w 342"/>
                <a:gd name="T89" fmla="*/ 248 h 451"/>
                <a:gd name="T90" fmla="*/ 342 w 342"/>
                <a:gd name="T91" fmla="*/ 275 h 451"/>
                <a:gd name="T92" fmla="*/ 324 w 342"/>
                <a:gd name="T93" fmla="*/ 315 h 451"/>
                <a:gd name="T94" fmla="*/ 291 w 342"/>
                <a:gd name="T95" fmla="*/ 366 h 451"/>
                <a:gd name="T96" fmla="*/ 270 w 342"/>
                <a:gd name="T97" fmla="*/ 403 h 451"/>
                <a:gd name="T98" fmla="*/ 232 w 342"/>
                <a:gd name="T99" fmla="*/ 436 h 451"/>
                <a:gd name="T100" fmla="*/ 174 w 342"/>
                <a:gd name="T101" fmla="*/ 451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2" h="451">
                  <a:moveTo>
                    <a:pt x="176" y="25"/>
                  </a:moveTo>
                  <a:lnTo>
                    <a:pt x="164" y="25"/>
                  </a:lnTo>
                  <a:lnTo>
                    <a:pt x="148" y="27"/>
                  </a:lnTo>
                  <a:lnTo>
                    <a:pt x="127" y="29"/>
                  </a:lnTo>
                  <a:lnTo>
                    <a:pt x="105" y="34"/>
                  </a:lnTo>
                  <a:lnTo>
                    <a:pt x="94" y="38"/>
                  </a:lnTo>
                  <a:lnTo>
                    <a:pt x="84" y="43"/>
                  </a:lnTo>
                  <a:lnTo>
                    <a:pt x="75" y="48"/>
                  </a:lnTo>
                  <a:lnTo>
                    <a:pt x="66" y="55"/>
                  </a:lnTo>
                  <a:lnTo>
                    <a:pt x="59" y="62"/>
                  </a:lnTo>
                  <a:lnTo>
                    <a:pt x="54" y="71"/>
                  </a:lnTo>
                  <a:lnTo>
                    <a:pt x="50" y="81"/>
                  </a:lnTo>
                  <a:lnTo>
                    <a:pt x="47" y="93"/>
                  </a:lnTo>
                  <a:lnTo>
                    <a:pt x="47" y="95"/>
                  </a:lnTo>
                  <a:lnTo>
                    <a:pt x="45" y="99"/>
                  </a:lnTo>
                  <a:lnTo>
                    <a:pt x="40" y="107"/>
                  </a:lnTo>
                  <a:lnTo>
                    <a:pt x="38" y="114"/>
                  </a:lnTo>
                  <a:lnTo>
                    <a:pt x="34" y="123"/>
                  </a:lnTo>
                  <a:lnTo>
                    <a:pt x="32" y="132"/>
                  </a:lnTo>
                  <a:lnTo>
                    <a:pt x="29" y="153"/>
                  </a:lnTo>
                  <a:lnTo>
                    <a:pt x="28" y="175"/>
                  </a:lnTo>
                  <a:lnTo>
                    <a:pt x="28" y="196"/>
                  </a:lnTo>
                  <a:lnTo>
                    <a:pt x="30" y="217"/>
                  </a:lnTo>
                  <a:lnTo>
                    <a:pt x="32" y="234"/>
                  </a:lnTo>
                  <a:lnTo>
                    <a:pt x="34" y="248"/>
                  </a:lnTo>
                  <a:lnTo>
                    <a:pt x="34" y="252"/>
                  </a:lnTo>
                  <a:lnTo>
                    <a:pt x="34" y="254"/>
                  </a:lnTo>
                  <a:lnTo>
                    <a:pt x="33" y="256"/>
                  </a:lnTo>
                  <a:lnTo>
                    <a:pt x="30" y="259"/>
                  </a:lnTo>
                  <a:lnTo>
                    <a:pt x="27" y="263"/>
                  </a:lnTo>
                  <a:lnTo>
                    <a:pt x="24" y="266"/>
                  </a:lnTo>
                  <a:lnTo>
                    <a:pt x="23" y="270"/>
                  </a:lnTo>
                  <a:lnTo>
                    <a:pt x="23" y="275"/>
                  </a:lnTo>
                  <a:lnTo>
                    <a:pt x="24" y="282"/>
                  </a:lnTo>
                  <a:lnTo>
                    <a:pt x="28" y="288"/>
                  </a:lnTo>
                  <a:lnTo>
                    <a:pt x="33" y="296"/>
                  </a:lnTo>
                  <a:lnTo>
                    <a:pt x="38" y="303"/>
                  </a:lnTo>
                  <a:lnTo>
                    <a:pt x="49" y="314"/>
                  </a:lnTo>
                  <a:lnTo>
                    <a:pt x="59" y="322"/>
                  </a:lnTo>
                  <a:lnTo>
                    <a:pt x="61" y="325"/>
                  </a:lnTo>
                  <a:lnTo>
                    <a:pt x="63" y="329"/>
                  </a:lnTo>
                  <a:lnTo>
                    <a:pt x="65" y="334"/>
                  </a:lnTo>
                  <a:lnTo>
                    <a:pt x="68" y="346"/>
                  </a:lnTo>
                  <a:lnTo>
                    <a:pt x="76" y="362"/>
                  </a:lnTo>
                  <a:lnTo>
                    <a:pt x="87" y="381"/>
                  </a:lnTo>
                  <a:lnTo>
                    <a:pt x="93" y="389"/>
                  </a:lnTo>
                  <a:lnTo>
                    <a:pt x="102" y="398"/>
                  </a:lnTo>
                  <a:lnTo>
                    <a:pt x="110" y="406"/>
                  </a:lnTo>
                  <a:lnTo>
                    <a:pt x="120" y="413"/>
                  </a:lnTo>
                  <a:lnTo>
                    <a:pt x="131" y="419"/>
                  </a:lnTo>
                  <a:lnTo>
                    <a:pt x="145" y="424"/>
                  </a:lnTo>
                  <a:lnTo>
                    <a:pt x="158" y="427"/>
                  </a:lnTo>
                  <a:lnTo>
                    <a:pt x="174" y="427"/>
                  </a:lnTo>
                  <a:lnTo>
                    <a:pt x="189" y="427"/>
                  </a:lnTo>
                  <a:lnTo>
                    <a:pt x="202" y="424"/>
                  </a:lnTo>
                  <a:lnTo>
                    <a:pt x="215" y="419"/>
                  </a:lnTo>
                  <a:lnTo>
                    <a:pt x="226" y="413"/>
                  </a:lnTo>
                  <a:lnTo>
                    <a:pt x="235" y="406"/>
                  </a:lnTo>
                  <a:lnTo>
                    <a:pt x="243" y="398"/>
                  </a:lnTo>
                  <a:lnTo>
                    <a:pt x="250" y="389"/>
                  </a:lnTo>
                  <a:lnTo>
                    <a:pt x="256" y="381"/>
                  </a:lnTo>
                  <a:lnTo>
                    <a:pt x="266" y="362"/>
                  </a:lnTo>
                  <a:lnTo>
                    <a:pt x="272" y="347"/>
                  </a:lnTo>
                  <a:lnTo>
                    <a:pt x="276" y="336"/>
                  </a:lnTo>
                  <a:lnTo>
                    <a:pt x="277" y="331"/>
                  </a:lnTo>
                  <a:lnTo>
                    <a:pt x="280" y="325"/>
                  </a:lnTo>
                  <a:lnTo>
                    <a:pt x="282" y="322"/>
                  </a:lnTo>
                  <a:lnTo>
                    <a:pt x="292" y="314"/>
                  </a:lnTo>
                  <a:lnTo>
                    <a:pt x="303" y="303"/>
                  </a:lnTo>
                  <a:lnTo>
                    <a:pt x="309" y="296"/>
                  </a:lnTo>
                  <a:lnTo>
                    <a:pt x="313" y="288"/>
                  </a:lnTo>
                  <a:lnTo>
                    <a:pt x="317" y="282"/>
                  </a:lnTo>
                  <a:lnTo>
                    <a:pt x="318" y="275"/>
                  </a:lnTo>
                  <a:lnTo>
                    <a:pt x="318" y="270"/>
                  </a:lnTo>
                  <a:lnTo>
                    <a:pt x="317" y="266"/>
                  </a:lnTo>
                  <a:lnTo>
                    <a:pt x="314" y="263"/>
                  </a:lnTo>
                  <a:lnTo>
                    <a:pt x="310" y="259"/>
                  </a:lnTo>
                  <a:lnTo>
                    <a:pt x="309" y="256"/>
                  </a:lnTo>
                  <a:lnTo>
                    <a:pt x="307" y="254"/>
                  </a:lnTo>
                  <a:lnTo>
                    <a:pt x="307" y="252"/>
                  </a:lnTo>
                  <a:lnTo>
                    <a:pt x="307" y="248"/>
                  </a:lnTo>
                  <a:lnTo>
                    <a:pt x="309" y="234"/>
                  </a:lnTo>
                  <a:lnTo>
                    <a:pt x="310" y="216"/>
                  </a:lnTo>
                  <a:lnTo>
                    <a:pt x="313" y="195"/>
                  </a:lnTo>
                  <a:lnTo>
                    <a:pt x="313" y="173"/>
                  </a:lnTo>
                  <a:lnTo>
                    <a:pt x="312" y="151"/>
                  </a:lnTo>
                  <a:lnTo>
                    <a:pt x="308" y="129"/>
                  </a:lnTo>
                  <a:lnTo>
                    <a:pt x="307" y="119"/>
                  </a:lnTo>
                  <a:lnTo>
                    <a:pt x="303" y="110"/>
                  </a:lnTo>
                  <a:lnTo>
                    <a:pt x="299" y="102"/>
                  </a:lnTo>
                  <a:lnTo>
                    <a:pt x="294" y="94"/>
                  </a:lnTo>
                  <a:lnTo>
                    <a:pt x="293" y="92"/>
                  </a:lnTo>
                  <a:lnTo>
                    <a:pt x="292" y="88"/>
                  </a:lnTo>
                  <a:lnTo>
                    <a:pt x="291" y="80"/>
                  </a:lnTo>
                  <a:lnTo>
                    <a:pt x="288" y="72"/>
                  </a:lnTo>
                  <a:lnTo>
                    <a:pt x="285" y="65"/>
                  </a:lnTo>
                  <a:lnTo>
                    <a:pt x="280" y="59"/>
                  </a:lnTo>
                  <a:lnTo>
                    <a:pt x="274" y="52"/>
                  </a:lnTo>
                  <a:lnTo>
                    <a:pt x="267" y="48"/>
                  </a:lnTo>
                  <a:lnTo>
                    <a:pt x="259" y="43"/>
                  </a:lnTo>
                  <a:lnTo>
                    <a:pt x="251" y="39"/>
                  </a:lnTo>
                  <a:lnTo>
                    <a:pt x="233" y="33"/>
                  </a:lnTo>
                  <a:lnTo>
                    <a:pt x="213" y="28"/>
                  </a:lnTo>
                  <a:lnTo>
                    <a:pt x="194" y="25"/>
                  </a:lnTo>
                  <a:lnTo>
                    <a:pt x="176" y="25"/>
                  </a:lnTo>
                  <a:close/>
                  <a:moveTo>
                    <a:pt x="174" y="451"/>
                  </a:moveTo>
                  <a:lnTo>
                    <a:pt x="157" y="449"/>
                  </a:lnTo>
                  <a:lnTo>
                    <a:pt x="141" y="447"/>
                  </a:lnTo>
                  <a:lnTo>
                    <a:pt x="127" y="442"/>
                  </a:lnTo>
                  <a:lnTo>
                    <a:pt x="115" y="436"/>
                  </a:lnTo>
                  <a:lnTo>
                    <a:pt x="103" y="429"/>
                  </a:lnTo>
                  <a:lnTo>
                    <a:pt x="93" y="421"/>
                  </a:lnTo>
                  <a:lnTo>
                    <a:pt x="83" y="413"/>
                  </a:lnTo>
                  <a:lnTo>
                    <a:pt x="75" y="403"/>
                  </a:lnTo>
                  <a:lnTo>
                    <a:pt x="67" y="393"/>
                  </a:lnTo>
                  <a:lnTo>
                    <a:pt x="61" y="384"/>
                  </a:lnTo>
                  <a:lnTo>
                    <a:pt x="56" y="374"/>
                  </a:lnTo>
                  <a:lnTo>
                    <a:pt x="51" y="366"/>
                  </a:lnTo>
                  <a:lnTo>
                    <a:pt x="45" y="351"/>
                  </a:lnTo>
                  <a:lnTo>
                    <a:pt x="41" y="340"/>
                  </a:lnTo>
                  <a:lnTo>
                    <a:pt x="30" y="330"/>
                  </a:lnTo>
                  <a:lnTo>
                    <a:pt x="17" y="315"/>
                  </a:lnTo>
                  <a:lnTo>
                    <a:pt x="11" y="306"/>
                  </a:lnTo>
                  <a:lnTo>
                    <a:pt x="4" y="296"/>
                  </a:lnTo>
                  <a:lnTo>
                    <a:pt x="1" y="286"/>
                  </a:lnTo>
                  <a:lnTo>
                    <a:pt x="0" y="275"/>
                  </a:lnTo>
                  <a:lnTo>
                    <a:pt x="0" y="268"/>
                  </a:lnTo>
                  <a:lnTo>
                    <a:pt x="1" y="260"/>
                  </a:lnTo>
                  <a:lnTo>
                    <a:pt x="4" y="254"/>
                  </a:lnTo>
                  <a:lnTo>
                    <a:pt x="9" y="248"/>
                  </a:lnTo>
                  <a:lnTo>
                    <a:pt x="8" y="236"/>
                  </a:lnTo>
                  <a:lnTo>
                    <a:pt x="6" y="218"/>
                  </a:lnTo>
                  <a:lnTo>
                    <a:pt x="4" y="197"/>
                  </a:lnTo>
                  <a:lnTo>
                    <a:pt x="3" y="174"/>
                  </a:lnTo>
                  <a:lnTo>
                    <a:pt x="4" y="151"/>
                  </a:lnTo>
                  <a:lnTo>
                    <a:pt x="8" y="126"/>
                  </a:lnTo>
                  <a:lnTo>
                    <a:pt x="11" y="115"/>
                  </a:lnTo>
                  <a:lnTo>
                    <a:pt x="14" y="104"/>
                  </a:lnTo>
                  <a:lnTo>
                    <a:pt x="18" y="94"/>
                  </a:lnTo>
                  <a:lnTo>
                    <a:pt x="24" y="86"/>
                  </a:lnTo>
                  <a:lnTo>
                    <a:pt x="25" y="75"/>
                  </a:lnTo>
                  <a:lnTo>
                    <a:pt x="29" y="64"/>
                  </a:lnTo>
                  <a:lnTo>
                    <a:pt x="34" y="55"/>
                  </a:lnTo>
                  <a:lnTo>
                    <a:pt x="40" y="46"/>
                  </a:lnTo>
                  <a:lnTo>
                    <a:pt x="47" y="38"/>
                  </a:lnTo>
                  <a:lnTo>
                    <a:pt x="56" y="30"/>
                  </a:lnTo>
                  <a:lnTo>
                    <a:pt x="66" y="24"/>
                  </a:lnTo>
                  <a:lnTo>
                    <a:pt x="76" y="19"/>
                  </a:lnTo>
                  <a:lnTo>
                    <a:pt x="87" y="14"/>
                  </a:lnTo>
                  <a:lnTo>
                    <a:pt x="99" y="11"/>
                  </a:lnTo>
                  <a:lnTo>
                    <a:pt x="111" y="7"/>
                  </a:lnTo>
                  <a:lnTo>
                    <a:pt x="124" y="5"/>
                  </a:lnTo>
                  <a:lnTo>
                    <a:pt x="149" y="1"/>
                  </a:lnTo>
                  <a:lnTo>
                    <a:pt x="176" y="0"/>
                  </a:lnTo>
                  <a:lnTo>
                    <a:pt x="189" y="1"/>
                  </a:lnTo>
                  <a:lnTo>
                    <a:pt x="201" y="1"/>
                  </a:lnTo>
                  <a:lnTo>
                    <a:pt x="213" y="3"/>
                  </a:lnTo>
                  <a:lnTo>
                    <a:pt x="224" y="6"/>
                  </a:lnTo>
                  <a:lnTo>
                    <a:pt x="237" y="8"/>
                  </a:lnTo>
                  <a:lnTo>
                    <a:pt x="248" y="12"/>
                  </a:lnTo>
                  <a:lnTo>
                    <a:pt x="259" y="16"/>
                  </a:lnTo>
                  <a:lnTo>
                    <a:pt x="269" y="21"/>
                  </a:lnTo>
                  <a:lnTo>
                    <a:pt x="278" y="27"/>
                  </a:lnTo>
                  <a:lnTo>
                    <a:pt x="287" y="33"/>
                  </a:lnTo>
                  <a:lnTo>
                    <a:pt x="294" y="39"/>
                  </a:lnTo>
                  <a:lnTo>
                    <a:pt x="302" y="46"/>
                  </a:lnTo>
                  <a:lnTo>
                    <a:pt x="307" y="55"/>
                  </a:lnTo>
                  <a:lnTo>
                    <a:pt x="312" y="64"/>
                  </a:lnTo>
                  <a:lnTo>
                    <a:pt x="314" y="73"/>
                  </a:lnTo>
                  <a:lnTo>
                    <a:pt x="317" y="83"/>
                  </a:lnTo>
                  <a:lnTo>
                    <a:pt x="321" y="93"/>
                  </a:lnTo>
                  <a:lnTo>
                    <a:pt x="326" y="103"/>
                  </a:lnTo>
                  <a:lnTo>
                    <a:pt x="329" y="113"/>
                  </a:lnTo>
                  <a:lnTo>
                    <a:pt x="332" y="124"/>
                  </a:lnTo>
                  <a:lnTo>
                    <a:pt x="335" y="148"/>
                  </a:lnTo>
                  <a:lnTo>
                    <a:pt x="336" y="173"/>
                  </a:lnTo>
                  <a:lnTo>
                    <a:pt x="336" y="196"/>
                  </a:lnTo>
                  <a:lnTo>
                    <a:pt x="335" y="217"/>
                  </a:lnTo>
                  <a:lnTo>
                    <a:pt x="332" y="234"/>
                  </a:lnTo>
                  <a:lnTo>
                    <a:pt x="331" y="248"/>
                  </a:lnTo>
                  <a:lnTo>
                    <a:pt x="336" y="254"/>
                  </a:lnTo>
                  <a:lnTo>
                    <a:pt x="340" y="260"/>
                  </a:lnTo>
                  <a:lnTo>
                    <a:pt x="341" y="268"/>
                  </a:lnTo>
                  <a:lnTo>
                    <a:pt x="342" y="275"/>
                  </a:lnTo>
                  <a:lnTo>
                    <a:pt x="340" y="286"/>
                  </a:lnTo>
                  <a:lnTo>
                    <a:pt x="336" y="296"/>
                  </a:lnTo>
                  <a:lnTo>
                    <a:pt x="331" y="306"/>
                  </a:lnTo>
                  <a:lnTo>
                    <a:pt x="324" y="315"/>
                  </a:lnTo>
                  <a:lnTo>
                    <a:pt x="312" y="330"/>
                  </a:lnTo>
                  <a:lnTo>
                    <a:pt x="301" y="340"/>
                  </a:lnTo>
                  <a:lnTo>
                    <a:pt x="297" y="351"/>
                  </a:lnTo>
                  <a:lnTo>
                    <a:pt x="291" y="366"/>
                  </a:lnTo>
                  <a:lnTo>
                    <a:pt x="287" y="374"/>
                  </a:lnTo>
                  <a:lnTo>
                    <a:pt x="282" y="384"/>
                  </a:lnTo>
                  <a:lnTo>
                    <a:pt x="276" y="393"/>
                  </a:lnTo>
                  <a:lnTo>
                    <a:pt x="270" y="403"/>
                  </a:lnTo>
                  <a:lnTo>
                    <a:pt x="261" y="413"/>
                  </a:lnTo>
                  <a:lnTo>
                    <a:pt x="253" y="421"/>
                  </a:lnTo>
                  <a:lnTo>
                    <a:pt x="243" y="429"/>
                  </a:lnTo>
                  <a:lnTo>
                    <a:pt x="232" y="436"/>
                  </a:lnTo>
                  <a:lnTo>
                    <a:pt x="218" y="442"/>
                  </a:lnTo>
                  <a:lnTo>
                    <a:pt x="205" y="447"/>
                  </a:lnTo>
                  <a:lnTo>
                    <a:pt x="190" y="449"/>
                  </a:lnTo>
                  <a:lnTo>
                    <a:pt x="174" y="45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37"/>
            <p:cNvSpPr>
              <a:spLocks/>
            </p:cNvSpPr>
            <p:nvPr/>
          </p:nvSpPr>
          <p:spPr bwMode="auto">
            <a:xfrm>
              <a:off x="915988" y="3502026"/>
              <a:ext cx="11113" cy="52388"/>
            </a:xfrm>
            <a:custGeom>
              <a:avLst/>
              <a:gdLst>
                <a:gd name="T0" fmla="*/ 13 w 26"/>
                <a:gd name="T1" fmla="*/ 133 h 133"/>
                <a:gd name="T2" fmla="*/ 10 w 26"/>
                <a:gd name="T3" fmla="*/ 131 h 133"/>
                <a:gd name="T4" fmla="*/ 6 w 26"/>
                <a:gd name="T5" fmla="*/ 129 h 133"/>
                <a:gd name="T6" fmla="*/ 2 w 26"/>
                <a:gd name="T7" fmla="*/ 125 h 133"/>
                <a:gd name="T8" fmla="*/ 2 w 26"/>
                <a:gd name="T9" fmla="*/ 122 h 133"/>
                <a:gd name="T10" fmla="*/ 0 w 26"/>
                <a:gd name="T11" fmla="*/ 13 h 133"/>
                <a:gd name="T12" fmla="*/ 0 w 26"/>
                <a:gd name="T13" fmla="*/ 9 h 133"/>
                <a:gd name="T14" fmla="*/ 2 w 26"/>
                <a:gd name="T15" fmla="*/ 4 h 133"/>
                <a:gd name="T16" fmla="*/ 6 w 26"/>
                <a:gd name="T17" fmla="*/ 1 h 133"/>
                <a:gd name="T18" fmla="*/ 11 w 26"/>
                <a:gd name="T19" fmla="*/ 0 h 133"/>
                <a:gd name="T20" fmla="*/ 16 w 26"/>
                <a:gd name="T21" fmla="*/ 0 h 133"/>
                <a:gd name="T22" fmla="*/ 19 w 26"/>
                <a:gd name="T23" fmla="*/ 2 h 133"/>
                <a:gd name="T24" fmla="*/ 22 w 26"/>
                <a:gd name="T25" fmla="*/ 6 h 133"/>
                <a:gd name="T26" fmla="*/ 23 w 26"/>
                <a:gd name="T27" fmla="*/ 11 h 133"/>
                <a:gd name="T28" fmla="*/ 26 w 26"/>
                <a:gd name="T29" fmla="*/ 119 h 133"/>
                <a:gd name="T30" fmla="*/ 26 w 26"/>
                <a:gd name="T31" fmla="*/ 124 h 133"/>
                <a:gd name="T32" fmla="*/ 22 w 26"/>
                <a:gd name="T33" fmla="*/ 128 h 133"/>
                <a:gd name="T34" fmla="*/ 18 w 26"/>
                <a:gd name="T35" fmla="*/ 131 h 133"/>
                <a:gd name="T36" fmla="*/ 14 w 26"/>
                <a:gd name="T37" fmla="*/ 133 h 133"/>
                <a:gd name="T38" fmla="*/ 13 w 26"/>
                <a:gd name="T3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" h="133">
                  <a:moveTo>
                    <a:pt x="13" y="133"/>
                  </a:moveTo>
                  <a:lnTo>
                    <a:pt x="10" y="131"/>
                  </a:lnTo>
                  <a:lnTo>
                    <a:pt x="6" y="129"/>
                  </a:lnTo>
                  <a:lnTo>
                    <a:pt x="2" y="125"/>
                  </a:lnTo>
                  <a:lnTo>
                    <a:pt x="2" y="122"/>
                  </a:lnTo>
                  <a:lnTo>
                    <a:pt x="0" y="13"/>
                  </a:lnTo>
                  <a:lnTo>
                    <a:pt x="0" y="9"/>
                  </a:lnTo>
                  <a:lnTo>
                    <a:pt x="2" y="4"/>
                  </a:lnTo>
                  <a:lnTo>
                    <a:pt x="6" y="1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9" y="2"/>
                  </a:lnTo>
                  <a:lnTo>
                    <a:pt x="22" y="6"/>
                  </a:lnTo>
                  <a:lnTo>
                    <a:pt x="23" y="11"/>
                  </a:lnTo>
                  <a:lnTo>
                    <a:pt x="26" y="119"/>
                  </a:lnTo>
                  <a:lnTo>
                    <a:pt x="26" y="124"/>
                  </a:lnTo>
                  <a:lnTo>
                    <a:pt x="22" y="128"/>
                  </a:lnTo>
                  <a:lnTo>
                    <a:pt x="18" y="131"/>
                  </a:lnTo>
                  <a:lnTo>
                    <a:pt x="14" y="133"/>
                  </a:lnTo>
                  <a:lnTo>
                    <a:pt x="13" y="133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38"/>
            <p:cNvSpPr>
              <a:spLocks/>
            </p:cNvSpPr>
            <p:nvPr/>
          </p:nvSpPr>
          <p:spPr bwMode="auto">
            <a:xfrm>
              <a:off x="1004888" y="3502026"/>
              <a:ext cx="11113" cy="52388"/>
            </a:xfrm>
            <a:custGeom>
              <a:avLst/>
              <a:gdLst>
                <a:gd name="T0" fmla="*/ 12 w 27"/>
                <a:gd name="T1" fmla="*/ 133 h 133"/>
                <a:gd name="T2" fmla="*/ 12 w 27"/>
                <a:gd name="T3" fmla="*/ 133 h 133"/>
                <a:gd name="T4" fmla="*/ 12 w 27"/>
                <a:gd name="T5" fmla="*/ 133 h 133"/>
                <a:gd name="T6" fmla="*/ 7 w 27"/>
                <a:gd name="T7" fmla="*/ 131 h 133"/>
                <a:gd name="T8" fmla="*/ 4 w 27"/>
                <a:gd name="T9" fmla="*/ 128 h 133"/>
                <a:gd name="T10" fmla="*/ 1 w 27"/>
                <a:gd name="T11" fmla="*/ 124 h 133"/>
                <a:gd name="T12" fmla="*/ 0 w 27"/>
                <a:gd name="T13" fmla="*/ 119 h 133"/>
                <a:gd name="T14" fmla="*/ 3 w 27"/>
                <a:gd name="T15" fmla="*/ 11 h 133"/>
                <a:gd name="T16" fmla="*/ 4 w 27"/>
                <a:gd name="T17" fmla="*/ 6 h 133"/>
                <a:gd name="T18" fmla="*/ 6 w 27"/>
                <a:gd name="T19" fmla="*/ 2 h 133"/>
                <a:gd name="T20" fmla="*/ 10 w 27"/>
                <a:gd name="T21" fmla="*/ 0 h 133"/>
                <a:gd name="T22" fmla="*/ 15 w 27"/>
                <a:gd name="T23" fmla="*/ 0 h 133"/>
                <a:gd name="T24" fmla="*/ 20 w 27"/>
                <a:gd name="T25" fmla="*/ 1 h 133"/>
                <a:gd name="T26" fmla="*/ 23 w 27"/>
                <a:gd name="T27" fmla="*/ 4 h 133"/>
                <a:gd name="T28" fmla="*/ 26 w 27"/>
                <a:gd name="T29" fmla="*/ 9 h 133"/>
                <a:gd name="T30" fmla="*/ 27 w 27"/>
                <a:gd name="T31" fmla="*/ 13 h 133"/>
                <a:gd name="T32" fmla="*/ 25 w 27"/>
                <a:gd name="T33" fmla="*/ 122 h 133"/>
                <a:gd name="T34" fmla="*/ 23 w 27"/>
                <a:gd name="T35" fmla="*/ 125 h 133"/>
                <a:gd name="T36" fmla="*/ 21 w 27"/>
                <a:gd name="T37" fmla="*/ 129 h 133"/>
                <a:gd name="T38" fmla="*/ 17 w 27"/>
                <a:gd name="T39" fmla="*/ 131 h 133"/>
                <a:gd name="T40" fmla="*/ 12 w 27"/>
                <a:gd name="T41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133">
                  <a:moveTo>
                    <a:pt x="12" y="133"/>
                  </a:moveTo>
                  <a:lnTo>
                    <a:pt x="12" y="133"/>
                  </a:lnTo>
                  <a:lnTo>
                    <a:pt x="12" y="133"/>
                  </a:lnTo>
                  <a:lnTo>
                    <a:pt x="7" y="131"/>
                  </a:lnTo>
                  <a:lnTo>
                    <a:pt x="4" y="128"/>
                  </a:lnTo>
                  <a:lnTo>
                    <a:pt x="1" y="124"/>
                  </a:lnTo>
                  <a:lnTo>
                    <a:pt x="0" y="119"/>
                  </a:lnTo>
                  <a:lnTo>
                    <a:pt x="3" y="11"/>
                  </a:lnTo>
                  <a:lnTo>
                    <a:pt x="4" y="6"/>
                  </a:lnTo>
                  <a:lnTo>
                    <a:pt x="6" y="2"/>
                  </a:lnTo>
                  <a:lnTo>
                    <a:pt x="10" y="0"/>
                  </a:lnTo>
                  <a:lnTo>
                    <a:pt x="15" y="0"/>
                  </a:lnTo>
                  <a:lnTo>
                    <a:pt x="20" y="1"/>
                  </a:lnTo>
                  <a:lnTo>
                    <a:pt x="23" y="4"/>
                  </a:lnTo>
                  <a:lnTo>
                    <a:pt x="26" y="9"/>
                  </a:lnTo>
                  <a:lnTo>
                    <a:pt x="27" y="13"/>
                  </a:lnTo>
                  <a:lnTo>
                    <a:pt x="25" y="122"/>
                  </a:lnTo>
                  <a:lnTo>
                    <a:pt x="23" y="125"/>
                  </a:lnTo>
                  <a:lnTo>
                    <a:pt x="21" y="129"/>
                  </a:lnTo>
                  <a:lnTo>
                    <a:pt x="17" y="131"/>
                  </a:lnTo>
                  <a:lnTo>
                    <a:pt x="12" y="133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39"/>
            <p:cNvSpPr>
              <a:spLocks/>
            </p:cNvSpPr>
            <p:nvPr/>
          </p:nvSpPr>
          <p:spPr bwMode="auto">
            <a:xfrm>
              <a:off x="1060451" y="3656013"/>
              <a:ext cx="11113" cy="138113"/>
            </a:xfrm>
            <a:custGeom>
              <a:avLst/>
              <a:gdLst>
                <a:gd name="T0" fmla="*/ 12 w 25"/>
                <a:gd name="T1" fmla="*/ 349 h 349"/>
                <a:gd name="T2" fmla="*/ 12 w 25"/>
                <a:gd name="T3" fmla="*/ 349 h 349"/>
                <a:gd name="T4" fmla="*/ 7 w 25"/>
                <a:gd name="T5" fmla="*/ 348 h 349"/>
                <a:gd name="T6" fmla="*/ 3 w 25"/>
                <a:gd name="T7" fmla="*/ 345 h 349"/>
                <a:gd name="T8" fmla="*/ 1 w 25"/>
                <a:gd name="T9" fmla="*/ 342 h 349"/>
                <a:gd name="T10" fmla="*/ 0 w 25"/>
                <a:gd name="T11" fmla="*/ 338 h 349"/>
                <a:gd name="T12" fmla="*/ 1 w 25"/>
                <a:gd name="T13" fmla="*/ 11 h 349"/>
                <a:gd name="T14" fmla="*/ 2 w 25"/>
                <a:gd name="T15" fmla="*/ 6 h 349"/>
                <a:gd name="T16" fmla="*/ 4 w 25"/>
                <a:gd name="T17" fmla="*/ 2 h 349"/>
                <a:gd name="T18" fmla="*/ 8 w 25"/>
                <a:gd name="T19" fmla="*/ 0 h 349"/>
                <a:gd name="T20" fmla="*/ 13 w 25"/>
                <a:gd name="T21" fmla="*/ 0 h 349"/>
                <a:gd name="T22" fmla="*/ 18 w 25"/>
                <a:gd name="T23" fmla="*/ 0 h 349"/>
                <a:gd name="T24" fmla="*/ 22 w 25"/>
                <a:gd name="T25" fmla="*/ 2 h 349"/>
                <a:gd name="T26" fmla="*/ 24 w 25"/>
                <a:gd name="T27" fmla="*/ 6 h 349"/>
                <a:gd name="T28" fmla="*/ 25 w 25"/>
                <a:gd name="T29" fmla="*/ 11 h 349"/>
                <a:gd name="T30" fmla="*/ 23 w 25"/>
                <a:gd name="T31" fmla="*/ 338 h 349"/>
                <a:gd name="T32" fmla="*/ 23 w 25"/>
                <a:gd name="T33" fmla="*/ 342 h 349"/>
                <a:gd name="T34" fmla="*/ 19 w 25"/>
                <a:gd name="T35" fmla="*/ 345 h 349"/>
                <a:gd name="T36" fmla="*/ 16 w 25"/>
                <a:gd name="T37" fmla="*/ 348 h 349"/>
                <a:gd name="T38" fmla="*/ 12 w 25"/>
                <a:gd name="T39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49">
                  <a:moveTo>
                    <a:pt x="12" y="349"/>
                  </a:moveTo>
                  <a:lnTo>
                    <a:pt x="12" y="349"/>
                  </a:lnTo>
                  <a:lnTo>
                    <a:pt x="7" y="348"/>
                  </a:lnTo>
                  <a:lnTo>
                    <a:pt x="3" y="345"/>
                  </a:lnTo>
                  <a:lnTo>
                    <a:pt x="1" y="342"/>
                  </a:lnTo>
                  <a:lnTo>
                    <a:pt x="0" y="338"/>
                  </a:lnTo>
                  <a:lnTo>
                    <a:pt x="1" y="11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6"/>
                  </a:lnTo>
                  <a:lnTo>
                    <a:pt x="25" y="11"/>
                  </a:lnTo>
                  <a:lnTo>
                    <a:pt x="23" y="338"/>
                  </a:lnTo>
                  <a:lnTo>
                    <a:pt x="23" y="342"/>
                  </a:lnTo>
                  <a:lnTo>
                    <a:pt x="19" y="345"/>
                  </a:lnTo>
                  <a:lnTo>
                    <a:pt x="16" y="348"/>
                  </a:lnTo>
                  <a:lnTo>
                    <a:pt x="12" y="34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40"/>
            <p:cNvSpPr>
              <a:spLocks/>
            </p:cNvSpPr>
            <p:nvPr/>
          </p:nvSpPr>
          <p:spPr bwMode="auto">
            <a:xfrm>
              <a:off x="863601" y="3656013"/>
              <a:ext cx="9525" cy="136525"/>
            </a:xfrm>
            <a:custGeom>
              <a:avLst/>
              <a:gdLst>
                <a:gd name="T0" fmla="*/ 12 w 23"/>
                <a:gd name="T1" fmla="*/ 344 h 344"/>
                <a:gd name="T2" fmla="*/ 7 w 23"/>
                <a:gd name="T3" fmla="*/ 343 h 344"/>
                <a:gd name="T4" fmla="*/ 4 w 23"/>
                <a:gd name="T5" fmla="*/ 342 h 344"/>
                <a:gd name="T6" fmla="*/ 1 w 23"/>
                <a:gd name="T7" fmla="*/ 338 h 344"/>
                <a:gd name="T8" fmla="*/ 0 w 23"/>
                <a:gd name="T9" fmla="*/ 333 h 344"/>
                <a:gd name="T10" fmla="*/ 0 w 23"/>
                <a:gd name="T11" fmla="*/ 11 h 344"/>
                <a:gd name="T12" fmla="*/ 1 w 23"/>
                <a:gd name="T13" fmla="*/ 6 h 344"/>
                <a:gd name="T14" fmla="*/ 4 w 23"/>
                <a:gd name="T15" fmla="*/ 2 h 344"/>
                <a:gd name="T16" fmla="*/ 7 w 23"/>
                <a:gd name="T17" fmla="*/ 0 h 344"/>
                <a:gd name="T18" fmla="*/ 12 w 23"/>
                <a:gd name="T19" fmla="*/ 0 h 344"/>
                <a:gd name="T20" fmla="*/ 16 w 23"/>
                <a:gd name="T21" fmla="*/ 0 h 344"/>
                <a:gd name="T22" fmla="*/ 20 w 23"/>
                <a:gd name="T23" fmla="*/ 2 h 344"/>
                <a:gd name="T24" fmla="*/ 23 w 23"/>
                <a:gd name="T25" fmla="*/ 6 h 344"/>
                <a:gd name="T26" fmla="*/ 23 w 23"/>
                <a:gd name="T27" fmla="*/ 11 h 344"/>
                <a:gd name="T28" fmla="*/ 23 w 23"/>
                <a:gd name="T29" fmla="*/ 333 h 344"/>
                <a:gd name="T30" fmla="*/ 23 w 23"/>
                <a:gd name="T31" fmla="*/ 338 h 344"/>
                <a:gd name="T32" fmla="*/ 20 w 23"/>
                <a:gd name="T33" fmla="*/ 342 h 344"/>
                <a:gd name="T34" fmla="*/ 16 w 23"/>
                <a:gd name="T35" fmla="*/ 343 h 344"/>
                <a:gd name="T36" fmla="*/ 12 w 23"/>
                <a:gd name="T37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344">
                  <a:moveTo>
                    <a:pt x="12" y="344"/>
                  </a:moveTo>
                  <a:lnTo>
                    <a:pt x="7" y="343"/>
                  </a:lnTo>
                  <a:lnTo>
                    <a:pt x="4" y="342"/>
                  </a:lnTo>
                  <a:lnTo>
                    <a:pt x="1" y="338"/>
                  </a:lnTo>
                  <a:lnTo>
                    <a:pt x="0" y="333"/>
                  </a:lnTo>
                  <a:lnTo>
                    <a:pt x="0" y="11"/>
                  </a:lnTo>
                  <a:lnTo>
                    <a:pt x="1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3" y="6"/>
                  </a:lnTo>
                  <a:lnTo>
                    <a:pt x="23" y="11"/>
                  </a:lnTo>
                  <a:lnTo>
                    <a:pt x="23" y="333"/>
                  </a:lnTo>
                  <a:lnTo>
                    <a:pt x="23" y="338"/>
                  </a:lnTo>
                  <a:lnTo>
                    <a:pt x="20" y="342"/>
                  </a:lnTo>
                  <a:lnTo>
                    <a:pt x="16" y="343"/>
                  </a:lnTo>
                  <a:lnTo>
                    <a:pt x="12" y="34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41"/>
            <p:cNvSpPr>
              <a:spLocks/>
            </p:cNvSpPr>
            <p:nvPr/>
          </p:nvSpPr>
          <p:spPr bwMode="auto">
            <a:xfrm>
              <a:off x="885826" y="3552826"/>
              <a:ext cx="85725" cy="61913"/>
            </a:xfrm>
            <a:custGeom>
              <a:avLst/>
              <a:gdLst>
                <a:gd name="T0" fmla="*/ 116 w 218"/>
                <a:gd name="T1" fmla="*/ 159 h 159"/>
                <a:gd name="T2" fmla="*/ 110 w 218"/>
                <a:gd name="T3" fmla="*/ 156 h 159"/>
                <a:gd name="T4" fmla="*/ 106 w 218"/>
                <a:gd name="T5" fmla="*/ 154 h 159"/>
                <a:gd name="T6" fmla="*/ 3 w 218"/>
                <a:gd name="T7" fmla="*/ 21 h 159"/>
                <a:gd name="T8" fmla="*/ 0 w 218"/>
                <a:gd name="T9" fmla="*/ 16 h 159"/>
                <a:gd name="T10" fmla="*/ 0 w 218"/>
                <a:gd name="T11" fmla="*/ 11 h 159"/>
                <a:gd name="T12" fmla="*/ 2 w 218"/>
                <a:gd name="T13" fmla="*/ 6 h 159"/>
                <a:gd name="T14" fmla="*/ 5 w 218"/>
                <a:gd name="T15" fmla="*/ 3 h 159"/>
                <a:gd name="T16" fmla="*/ 9 w 218"/>
                <a:gd name="T17" fmla="*/ 0 h 159"/>
                <a:gd name="T18" fmla="*/ 14 w 218"/>
                <a:gd name="T19" fmla="*/ 0 h 159"/>
                <a:gd name="T20" fmla="*/ 19 w 218"/>
                <a:gd name="T21" fmla="*/ 3 h 159"/>
                <a:gd name="T22" fmla="*/ 22 w 218"/>
                <a:gd name="T23" fmla="*/ 5 h 159"/>
                <a:gd name="T24" fmla="*/ 117 w 218"/>
                <a:gd name="T25" fmla="*/ 129 h 159"/>
                <a:gd name="T26" fmla="*/ 199 w 218"/>
                <a:gd name="T27" fmla="*/ 68 h 159"/>
                <a:gd name="T28" fmla="*/ 203 w 218"/>
                <a:gd name="T29" fmla="*/ 65 h 159"/>
                <a:gd name="T30" fmla="*/ 208 w 218"/>
                <a:gd name="T31" fmla="*/ 65 h 159"/>
                <a:gd name="T32" fmla="*/ 212 w 218"/>
                <a:gd name="T33" fmla="*/ 67 h 159"/>
                <a:gd name="T34" fmla="*/ 215 w 218"/>
                <a:gd name="T35" fmla="*/ 70 h 159"/>
                <a:gd name="T36" fmla="*/ 218 w 218"/>
                <a:gd name="T37" fmla="*/ 74 h 159"/>
                <a:gd name="T38" fmla="*/ 218 w 218"/>
                <a:gd name="T39" fmla="*/ 78 h 159"/>
                <a:gd name="T40" fmla="*/ 217 w 218"/>
                <a:gd name="T41" fmla="*/ 83 h 159"/>
                <a:gd name="T42" fmla="*/ 214 w 218"/>
                <a:gd name="T43" fmla="*/ 86 h 159"/>
                <a:gd name="T44" fmla="*/ 123 w 218"/>
                <a:gd name="T45" fmla="*/ 156 h 159"/>
                <a:gd name="T46" fmla="*/ 119 w 218"/>
                <a:gd name="T47" fmla="*/ 158 h 159"/>
                <a:gd name="T48" fmla="*/ 116 w 218"/>
                <a:gd name="T49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8" h="159">
                  <a:moveTo>
                    <a:pt x="116" y="159"/>
                  </a:moveTo>
                  <a:lnTo>
                    <a:pt x="110" y="156"/>
                  </a:lnTo>
                  <a:lnTo>
                    <a:pt x="106" y="154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2" y="6"/>
                  </a:lnTo>
                  <a:lnTo>
                    <a:pt x="5" y="3"/>
                  </a:lnTo>
                  <a:lnTo>
                    <a:pt x="9" y="0"/>
                  </a:lnTo>
                  <a:lnTo>
                    <a:pt x="14" y="0"/>
                  </a:lnTo>
                  <a:lnTo>
                    <a:pt x="19" y="3"/>
                  </a:lnTo>
                  <a:lnTo>
                    <a:pt x="22" y="5"/>
                  </a:lnTo>
                  <a:lnTo>
                    <a:pt x="117" y="129"/>
                  </a:lnTo>
                  <a:lnTo>
                    <a:pt x="199" y="68"/>
                  </a:lnTo>
                  <a:lnTo>
                    <a:pt x="203" y="65"/>
                  </a:lnTo>
                  <a:lnTo>
                    <a:pt x="208" y="65"/>
                  </a:lnTo>
                  <a:lnTo>
                    <a:pt x="212" y="67"/>
                  </a:lnTo>
                  <a:lnTo>
                    <a:pt x="215" y="70"/>
                  </a:lnTo>
                  <a:lnTo>
                    <a:pt x="218" y="74"/>
                  </a:lnTo>
                  <a:lnTo>
                    <a:pt x="218" y="78"/>
                  </a:lnTo>
                  <a:lnTo>
                    <a:pt x="217" y="83"/>
                  </a:lnTo>
                  <a:lnTo>
                    <a:pt x="214" y="86"/>
                  </a:lnTo>
                  <a:lnTo>
                    <a:pt x="123" y="156"/>
                  </a:lnTo>
                  <a:lnTo>
                    <a:pt x="119" y="158"/>
                  </a:lnTo>
                  <a:lnTo>
                    <a:pt x="116" y="15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42"/>
            <p:cNvSpPr>
              <a:spLocks/>
            </p:cNvSpPr>
            <p:nvPr/>
          </p:nvSpPr>
          <p:spPr bwMode="auto">
            <a:xfrm>
              <a:off x="962026" y="3552826"/>
              <a:ext cx="85725" cy="61913"/>
            </a:xfrm>
            <a:custGeom>
              <a:avLst/>
              <a:gdLst>
                <a:gd name="T0" fmla="*/ 104 w 215"/>
                <a:gd name="T1" fmla="*/ 155 h 155"/>
                <a:gd name="T2" fmla="*/ 100 w 215"/>
                <a:gd name="T3" fmla="*/ 154 h 155"/>
                <a:gd name="T4" fmla="*/ 96 w 215"/>
                <a:gd name="T5" fmla="*/ 152 h 155"/>
                <a:gd name="T6" fmla="*/ 5 w 215"/>
                <a:gd name="T7" fmla="*/ 82 h 155"/>
                <a:gd name="T8" fmla="*/ 2 w 215"/>
                <a:gd name="T9" fmla="*/ 79 h 155"/>
                <a:gd name="T10" fmla="*/ 0 w 215"/>
                <a:gd name="T11" fmla="*/ 74 h 155"/>
                <a:gd name="T12" fmla="*/ 0 w 215"/>
                <a:gd name="T13" fmla="*/ 70 h 155"/>
                <a:gd name="T14" fmla="*/ 3 w 215"/>
                <a:gd name="T15" fmla="*/ 66 h 155"/>
                <a:gd name="T16" fmla="*/ 7 w 215"/>
                <a:gd name="T17" fmla="*/ 63 h 155"/>
                <a:gd name="T18" fmla="*/ 10 w 215"/>
                <a:gd name="T19" fmla="*/ 61 h 155"/>
                <a:gd name="T20" fmla="*/ 15 w 215"/>
                <a:gd name="T21" fmla="*/ 61 h 155"/>
                <a:gd name="T22" fmla="*/ 20 w 215"/>
                <a:gd name="T23" fmla="*/ 64 h 155"/>
                <a:gd name="T24" fmla="*/ 101 w 215"/>
                <a:gd name="T25" fmla="*/ 125 h 155"/>
                <a:gd name="T26" fmla="*/ 195 w 215"/>
                <a:gd name="T27" fmla="*/ 6 h 155"/>
                <a:gd name="T28" fmla="*/ 198 w 215"/>
                <a:gd name="T29" fmla="*/ 2 h 155"/>
                <a:gd name="T30" fmla="*/ 203 w 215"/>
                <a:gd name="T31" fmla="*/ 0 h 155"/>
                <a:gd name="T32" fmla="*/ 207 w 215"/>
                <a:gd name="T33" fmla="*/ 1 h 155"/>
                <a:gd name="T34" fmla="*/ 212 w 215"/>
                <a:gd name="T35" fmla="*/ 4 h 155"/>
                <a:gd name="T36" fmla="*/ 214 w 215"/>
                <a:gd name="T37" fmla="*/ 6 h 155"/>
                <a:gd name="T38" fmla="*/ 215 w 215"/>
                <a:gd name="T39" fmla="*/ 11 h 155"/>
                <a:gd name="T40" fmla="*/ 215 w 215"/>
                <a:gd name="T41" fmla="*/ 15 h 155"/>
                <a:gd name="T42" fmla="*/ 213 w 215"/>
                <a:gd name="T43" fmla="*/ 20 h 155"/>
                <a:gd name="T44" fmla="*/ 113 w 215"/>
                <a:gd name="T45" fmla="*/ 150 h 155"/>
                <a:gd name="T46" fmla="*/ 109 w 215"/>
                <a:gd name="T47" fmla="*/ 152 h 155"/>
                <a:gd name="T48" fmla="*/ 104 w 215"/>
                <a:gd name="T4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5" h="155">
                  <a:moveTo>
                    <a:pt x="104" y="155"/>
                  </a:moveTo>
                  <a:lnTo>
                    <a:pt x="100" y="154"/>
                  </a:lnTo>
                  <a:lnTo>
                    <a:pt x="96" y="152"/>
                  </a:lnTo>
                  <a:lnTo>
                    <a:pt x="5" y="82"/>
                  </a:lnTo>
                  <a:lnTo>
                    <a:pt x="2" y="79"/>
                  </a:lnTo>
                  <a:lnTo>
                    <a:pt x="0" y="74"/>
                  </a:lnTo>
                  <a:lnTo>
                    <a:pt x="0" y="70"/>
                  </a:lnTo>
                  <a:lnTo>
                    <a:pt x="3" y="66"/>
                  </a:lnTo>
                  <a:lnTo>
                    <a:pt x="7" y="63"/>
                  </a:lnTo>
                  <a:lnTo>
                    <a:pt x="10" y="61"/>
                  </a:lnTo>
                  <a:lnTo>
                    <a:pt x="15" y="61"/>
                  </a:lnTo>
                  <a:lnTo>
                    <a:pt x="20" y="64"/>
                  </a:lnTo>
                  <a:lnTo>
                    <a:pt x="101" y="125"/>
                  </a:lnTo>
                  <a:lnTo>
                    <a:pt x="195" y="6"/>
                  </a:lnTo>
                  <a:lnTo>
                    <a:pt x="198" y="2"/>
                  </a:lnTo>
                  <a:lnTo>
                    <a:pt x="203" y="0"/>
                  </a:lnTo>
                  <a:lnTo>
                    <a:pt x="207" y="1"/>
                  </a:lnTo>
                  <a:lnTo>
                    <a:pt x="212" y="4"/>
                  </a:lnTo>
                  <a:lnTo>
                    <a:pt x="214" y="6"/>
                  </a:lnTo>
                  <a:lnTo>
                    <a:pt x="215" y="11"/>
                  </a:lnTo>
                  <a:lnTo>
                    <a:pt x="215" y="15"/>
                  </a:lnTo>
                  <a:lnTo>
                    <a:pt x="213" y="20"/>
                  </a:lnTo>
                  <a:lnTo>
                    <a:pt x="113" y="150"/>
                  </a:lnTo>
                  <a:lnTo>
                    <a:pt x="109" y="152"/>
                  </a:lnTo>
                  <a:lnTo>
                    <a:pt x="104" y="155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43"/>
            <p:cNvSpPr>
              <a:spLocks/>
            </p:cNvSpPr>
            <p:nvPr/>
          </p:nvSpPr>
          <p:spPr bwMode="auto">
            <a:xfrm>
              <a:off x="941388" y="3619501"/>
              <a:ext cx="55563" cy="169863"/>
            </a:xfrm>
            <a:custGeom>
              <a:avLst/>
              <a:gdLst>
                <a:gd name="T0" fmla="*/ 0 w 144"/>
                <a:gd name="T1" fmla="*/ 430 h 430"/>
                <a:gd name="T2" fmla="*/ 36 w 144"/>
                <a:gd name="T3" fmla="*/ 0 h 430"/>
                <a:gd name="T4" fmla="*/ 100 w 144"/>
                <a:gd name="T5" fmla="*/ 0 h 430"/>
                <a:gd name="T6" fmla="*/ 144 w 144"/>
                <a:gd name="T7" fmla="*/ 425 h 430"/>
                <a:gd name="T8" fmla="*/ 0 w 144"/>
                <a:gd name="T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430">
                  <a:moveTo>
                    <a:pt x="0" y="430"/>
                  </a:moveTo>
                  <a:lnTo>
                    <a:pt x="36" y="0"/>
                  </a:lnTo>
                  <a:lnTo>
                    <a:pt x="100" y="0"/>
                  </a:lnTo>
                  <a:lnTo>
                    <a:pt x="144" y="425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44"/>
            <p:cNvSpPr>
              <a:spLocks/>
            </p:cNvSpPr>
            <p:nvPr/>
          </p:nvSpPr>
          <p:spPr bwMode="auto">
            <a:xfrm>
              <a:off x="935038" y="3614738"/>
              <a:ext cx="66675" cy="179388"/>
            </a:xfrm>
            <a:custGeom>
              <a:avLst/>
              <a:gdLst>
                <a:gd name="T0" fmla="*/ 12 w 167"/>
                <a:gd name="T1" fmla="*/ 455 h 455"/>
                <a:gd name="T2" fmla="*/ 11 w 167"/>
                <a:gd name="T3" fmla="*/ 455 h 455"/>
                <a:gd name="T4" fmla="*/ 11 w 167"/>
                <a:gd name="T5" fmla="*/ 455 h 455"/>
                <a:gd name="T6" fmla="*/ 6 w 167"/>
                <a:gd name="T7" fmla="*/ 454 h 455"/>
                <a:gd name="T8" fmla="*/ 2 w 167"/>
                <a:gd name="T9" fmla="*/ 450 h 455"/>
                <a:gd name="T10" fmla="*/ 0 w 167"/>
                <a:gd name="T11" fmla="*/ 446 h 455"/>
                <a:gd name="T12" fmla="*/ 0 w 167"/>
                <a:gd name="T13" fmla="*/ 442 h 455"/>
                <a:gd name="T14" fmla="*/ 37 w 167"/>
                <a:gd name="T15" fmla="*/ 11 h 455"/>
                <a:gd name="T16" fmla="*/ 38 w 167"/>
                <a:gd name="T17" fmla="*/ 6 h 455"/>
                <a:gd name="T18" fmla="*/ 40 w 167"/>
                <a:gd name="T19" fmla="*/ 3 h 455"/>
                <a:gd name="T20" fmla="*/ 44 w 167"/>
                <a:gd name="T21" fmla="*/ 0 h 455"/>
                <a:gd name="T22" fmla="*/ 48 w 167"/>
                <a:gd name="T23" fmla="*/ 0 h 455"/>
                <a:gd name="T24" fmla="*/ 112 w 167"/>
                <a:gd name="T25" fmla="*/ 0 h 455"/>
                <a:gd name="T26" fmla="*/ 117 w 167"/>
                <a:gd name="T27" fmla="*/ 0 h 455"/>
                <a:gd name="T28" fmla="*/ 120 w 167"/>
                <a:gd name="T29" fmla="*/ 3 h 455"/>
                <a:gd name="T30" fmla="*/ 123 w 167"/>
                <a:gd name="T31" fmla="*/ 6 h 455"/>
                <a:gd name="T32" fmla="*/ 124 w 167"/>
                <a:gd name="T33" fmla="*/ 11 h 455"/>
                <a:gd name="T34" fmla="*/ 167 w 167"/>
                <a:gd name="T35" fmla="*/ 437 h 455"/>
                <a:gd name="T36" fmla="*/ 167 w 167"/>
                <a:gd name="T37" fmla="*/ 442 h 455"/>
                <a:gd name="T38" fmla="*/ 164 w 167"/>
                <a:gd name="T39" fmla="*/ 446 h 455"/>
                <a:gd name="T40" fmla="*/ 161 w 167"/>
                <a:gd name="T41" fmla="*/ 449 h 455"/>
                <a:gd name="T42" fmla="*/ 157 w 167"/>
                <a:gd name="T43" fmla="*/ 450 h 455"/>
                <a:gd name="T44" fmla="*/ 152 w 167"/>
                <a:gd name="T45" fmla="*/ 449 h 455"/>
                <a:gd name="T46" fmla="*/ 147 w 167"/>
                <a:gd name="T47" fmla="*/ 448 h 455"/>
                <a:gd name="T48" fmla="*/ 145 w 167"/>
                <a:gd name="T49" fmla="*/ 444 h 455"/>
                <a:gd name="T50" fmla="*/ 144 w 167"/>
                <a:gd name="T51" fmla="*/ 439 h 455"/>
                <a:gd name="T52" fmla="*/ 102 w 167"/>
                <a:gd name="T53" fmla="*/ 25 h 455"/>
                <a:gd name="T54" fmla="*/ 59 w 167"/>
                <a:gd name="T55" fmla="*/ 25 h 455"/>
                <a:gd name="T56" fmla="*/ 23 w 167"/>
                <a:gd name="T57" fmla="*/ 444 h 455"/>
                <a:gd name="T58" fmla="*/ 22 w 167"/>
                <a:gd name="T59" fmla="*/ 448 h 455"/>
                <a:gd name="T60" fmla="*/ 20 w 167"/>
                <a:gd name="T61" fmla="*/ 451 h 455"/>
                <a:gd name="T62" fmla="*/ 16 w 167"/>
                <a:gd name="T63" fmla="*/ 454 h 455"/>
                <a:gd name="T64" fmla="*/ 12 w 167"/>
                <a:gd name="T65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7" h="455">
                  <a:moveTo>
                    <a:pt x="12" y="455"/>
                  </a:moveTo>
                  <a:lnTo>
                    <a:pt x="11" y="455"/>
                  </a:lnTo>
                  <a:lnTo>
                    <a:pt x="11" y="455"/>
                  </a:lnTo>
                  <a:lnTo>
                    <a:pt x="6" y="454"/>
                  </a:lnTo>
                  <a:lnTo>
                    <a:pt x="2" y="450"/>
                  </a:lnTo>
                  <a:lnTo>
                    <a:pt x="0" y="446"/>
                  </a:lnTo>
                  <a:lnTo>
                    <a:pt x="0" y="442"/>
                  </a:lnTo>
                  <a:lnTo>
                    <a:pt x="37" y="11"/>
                  </a:lnTo>
                  <a:lnTo>
                    <a:pt x="38" y="6"/>
                  </a:lnTo>
                  <a:lnTo>
                    <a:pt x="40" y="3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112" y="0"/>
                  </a:lnTo>
                  <a:lnTo>
                    <a:pt x="117" y="0"/>
                  </a:lnTo>
                  <a:lnTo>
                    <a:pt x="120" y="3"/>
                  </a:lnTo>
                  <a:lnTo>
                    <a:pt x="123" y="6"/>
                  </a:lnTo>
                  <a:lnTo>
                    <a:pt x="124" y="11"/>
                  </a:lnTo>
                  <a:lnTo>
                    <a:pt x="167" y="437"/>
                  </a:lnTo>
                  <a:lnTo>
                    <a:pt x="167" y="442"/>
                  </a:lnTo>
                  <a:lnTo>
                    <a:pt x="164" y="446"/>
                  </a:lnTo>
                  <a:lnTo>
                    <a:pt x="161" y="449"/>
                  </a:lnTo>
                  <a:lnTo>
                    <a:pt x="157" y="450"/>
                  </a:lnTo>
                  <a:lnTo>
                    <a:pt x="152" y="449"/>
                  </a:lnTo>
                  <a:lnTo>
                    <a:pt x="147" y="448"/>
                  </a:lnTo>
                  <a:lnTo>
                    <a:pt x="145" y="444"/>
                  </a:lnTo>
                  <a:lnTo>
                    <a:pt x="144" y="439"/>
                  </a:lnTo>
                  <a:lnTo>
                    <a:pt x="102" y="25"/>
                  </a:lnTo>
                  <a:lnTo>
                    <a:pt x="59" y="25"/>
                  </a:lnTo>
                  <a:lnTo>
                    <a:pt x="23" y="444"/>
                  </a:lnTo>
                  <a:lnTo>
                    <a:pt x="22" y="448"/>
                  </a:lnTo>
                  <a:lnTo>
                    <a:pt x="20" y="451"/>
                  </a:lnTo>
                  <a:lnTo>
                    <a:pt x="16" y="454"/>
                  </a:lnTo>
                  <a:lnTo>
                    <a:pt x="12" y="455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Freeform 45"/>
            <p:cNvSpPr>
              <a:spLocks/>
            </p:cNvSpPr>
            <p:nvPr/>
          </p:nvSpPr>
          <p:spPr bwMode="auto">
            <a:xfrm>
              <a:off x="784226" y="3784601"/>
              <a:ext cx="366713" cy="9525"/>
            </a:xfrm>
            <a:custGeom>
              <a:avLst/>
              <a:gdLst>
                <a:gd name="T0" fmla="*/ 914 w 925"/>
                <a:gd name="T1" fmla="*/ 25 h 25"/>
                <a:gd name="T2" fmla="*/ 12 w 925"/>
                <a:gd name="T3" fmla="*/ 25 h 25"/>
                <a:gd name="T4" fmla="*/ 7 w 925"/>
                <a:gd name="T5" fmla="*/ 24 h 25"/>
                <a:gd name="T6" fmla="*/ 3 w 925"/>
                <a:gd name="T7" fmla="*/ 21 h 25"/>
                <a:gd name="T8" fmla="*/ 1 w 925"/>
                <a:gd name="T9" fmla="*/ 18 h 25"/>
                <a:gd name="T10" fmla="*/ 0 w 925"/>
                <a:gd name="T11" fmla="*/ 14 h 25"/>
                <a:gd name="T12" fmla="*/ 1 w 925"/>
                <a:gd name="T13" fmla="*/ 9 h 25"/>
                <a:gd name="T14" fmla="*/ 3 w 925"/>
                <a:gd name="T15" fmla="*/ 4 h 25"/>
                <a:gd name="T16" fmla="*/ 7 w 925"/>
                <a:gd name="T17" fmla="*/ 2 h 25"/>
                <a:gd name="T18" fmla="*/ 12 w 925"/>
                <a:gd name="T19" fmla="*/ 0 h 25"/>
                <a:gd name="T20" fmla="*/ 914 w 925"/>
                <a:gd name="T21" fmla="*/ 0 h 25"/>
                <a:gd name="T22" fmla="*/ 917 w 925"/>
                <a:gd name="T23" fmla="*/ 2 h 25"/>
                <a:gd name="T24" fmla="*/ 921 w 925"/>
                <a:gd name="T25" fmla="*/ 4 h 25"/>
                <a:gd name="T26" fmla="*/ 923 w 925"/>
                <a:gd name="T27" fmla="*/ 9 h 25"/>
                <a:gd name="T28" fmla="*/ 925 w 925"/>
                <a:gd name="T29" fmla="*/ 14 h 25"/>
                <a:gd name="T30" fmla="*/ 923 w 925"/>
                <a:gd name="T31" fmla="*/ 18 h 25"/>
                <a:gd name="T32" fmla="*/ 921 w 925"/>
                <a:gd name="T33" fmla="*/ 21 h 25"/>
                <a:gd name="T34" fmla="*/ 917 w 925"/>
                <a:gd name="T35" fmla="*/ 24 h 25"/>
                <a:gd name="T36" fmla="*/ 914 w 925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25" h="25">
                  <a:moveTo>
                    <a:pt x="914" y="25"/>
                  </a:moveTo>
                  <a:lnTo>
                    <a:pt x="12" y="25"/>
                  </a:lnTo>
                  <a:lnTo>
                    <a:pt x="7" y="24"/>
                  </a:lnTo>
                  <a:lnTo>
                    <a:pt x="3" y="21"/>
                  </a:lnTo>
                  <a:lnTo>
                    <a:pt x="1" y="18"/>
                  </a:lnTo>
                  <a:lnTo>
                    <a:pt x="0" y="14"/>
                  </a:lnTo>
                  <a:lnTo>
                    <a:pt x="1" y="9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914" y="0"/>
                  </a:lnTo>
                  <a:lnTo>
                    <a:pt x="917" y="2"/>
                  </a:lnTo>
                  <a:lnTo>
                    <a:pt x="921" y="4"/>
                  </a:lnTo>
                  <a:lnTo>
                    <a:pt x="923" y="9"/>
                  </a:lnTo>
                  <a:lnTo>
                    <a:pt x="925" y="14"/>
                  </a:lnTo>
                  <a:lnTo>
                    <a:pt x="923" y="18"/>
                  </a:lnTo>
                  <a:lnTo>
                    <a:pt x="921" y="21"/>
                  </a:lnTo>
                  <a:lnTo>
                    <a:pt x="917" y="24"/>
                  </a:lnTo>
                  <a:lnTo>
                    <a:pt x="914" y="25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46"/>
            <p:cNvSpPr>
              <a:spLocks/>
            </p:cNvSpPr>
            <p:nvPr/>
          </p:nvSpPr>
          <p:spPr bwMode="auto">
            <a:xfrm>
              <a:off x="1090613" y="3122613"/>
              <a:ext cx="228600" cy="158750"/>
            </a:xfrm>
            <a:custGeom>
              <a:avLst/>
              <a:gdLst>
                <a:gd name="T0" fmla="*/ 571 w 572"/>
                <a:gd name="T1" fmla="*/ 211 h 400"/>
                <a:gd name="T2" fmla="*/ 569 w 572"/>
                <a:gd name="T3" fmla="*/ 231 h 400"/>
                <a:gd name="T4" fmla="*/ 562 w 572"/>
                <a:gd name="T5" fmla="*/ 250 h 400"/>
                <a:gd name="T6" fmla="*/ 554 w 572"/>
                <a:gd name="T7" fmla="*/ 269 h 400"/>
                <a:gd name="T8" fmla="*/ 537 w 572"/>
                <a:gd name="T9" fmla="*/ 296 h 400"/>
                <a:gd name="T10" fmla="*/ 506 w 572"/>
                <a:gd name="T11" fmla="*/ 328 h 400"/>
                <a:gd name="T12" fmla="*/ 468 w 572"/>
                <a:gd name="T13" fmla="*/ 355 h 400"/>
                <a:gd name="T14" fmla="*/ 421 w 572"/>
                <a:gd name="T15" fmla="*/ 377 h 400"/>
                <a:gd name="T16" fmla="*/ 371 w 572"/>
                <a:gd name="T17" fmla="*/ 392 h 400"/>
                <a:gd name="T18" fmla="*/ 314 w 572"/>
                <a:gd name="T19" fmla="*/ 399 h 400"/>
                <a:gd name="T20" fmla="*/ 256 w 572"/>
                <a:gd name="T21" fmla="*/ 399 h 400"/>
                <a:gd name="T22" fmla="*/ 200 w 572"/>
                <a:gd name="T23" fmla="*/ 392 h 400"/>
                <a:gd name="T24" fmla="*/ 148 w 572"/>
                <a:gd name="T25" fmla="*/ 377 h 400"/>
                <a:gd name="T26" fmla="*/ 103 w 572"/>
                <a:gd name="T27" fmla="*/ 355 h 400"/>
                <a:gd name="T28" fmla="*/ 65 w 572"/>
                <a:gd name="T29" fmla="*/ 328 h 400"/>
                <a:gd name="T30" fmla="*/ 34 w 572"/>
                <a:gd name="T31" fmla="*/ 296 h 400"/>
                <a:gd name="T32" fmla="*/ 17 w 572"/>
                <a:gd name="T33" fmla="*/ 269 h 400"/>
                <a:gd name="T34" fmla="*/ 8 w 572"/>
                <a:gd name="T35" fmla="*/ 250 h 400"/>
                <a:gd name="T36" fmla="*/ 2 w 572"/>
                <a:gd name="T37" fmla="*/ 231 h 400"/>
                <a:gd name="T38" fmla="*/ 0 w 572"/>
                <a:gd name="T39" fmla="*/ 211 h 400"/>
                <a:gd name="T40" fmla="*/ 0 w 572"/>
                <a:gd name="T41" fmla="*/ 190 h 400"/>
                <a:gd name="T42" fmla="*/ 2 w 572"/>
                <a:gd name="T43" fmla="*/ 169 h 400"/>
                <a:gd name="T44" fmla="*/ 8 w 572"/>
                <a:gd name="T45" fmla="*/ 151 h 400"/>
                <a:gd name="T46" fmla="*/ 17 w 572"/>
                <a:gd name="T47" fmla="*/ 131 h 400"/>
                <a:gd name="T48" fmla="*/ 34 w 572"/>
                <a:gd name="T49" fmla="*/ 105 h 400"/>
                <a:gd name="T50" fmla="*/ 65 w 572"/>
                <a:gd name="T51" fmla="*/ 73 h 400"/>
                <a:gd name="T52" fmla="*/ 103 w 572"/>
                <a:gd name="T53" fmla="*/ 45 h 400"/>
                <a:gd name="T54" fmla="*/ 148 w 572"/>
                <a:gd name="T55" fmla="*/ 24 h 400"/>
                <a:gd name="T56" fmla="*/ 200 w 572"/>
                <a:gd name="T57" fmla="*/ 9 h 400"/>
                <a:gd name="T58" fmla="*/ 256 w 572"/>
                <a:gd name="T59" fmla="*/ 1 h 400"/>
                <a:gd name="T60" fmla="*/ 314 w 572"/>
                <a:gd name="T61" fmla="*/ 1 h 400"/>
                <a:gd name="T62" fmla="*/ 371 w 572"/>
                <a:gd name="T63" fmla="*/ 9 h 400"/>
                <a:gd name="T64" fmla="*/ 421 w 572"/>
                <a:gd name="T65" fmla="*/ 24 h 400"/>
                <a:gd name="T66" fmla="*/ 468 w 572"/>
                <a:gd name="T67" fmla="*/ 45 h 400"/>
                <a:gd name="T68" fmla="*/ 506 w 572"/>
                <a:gd name="T69" fmla="*/ 73 h 400"/>
                <a:gd name="T70" fmla="*/ 537 w 572"/>
                <a:gd name="T71" fmla="*/ 105 h 400"/>
                <a:gd name="T72" fmla="*/ 554 w 572"/>
                <a:gd name="T73" fmla="*/ 131 h 400"/>
                <a:gd name="T74" fmla="*/ 562 w 572"/>
                <a:gd name="T75" fmla="*/ 151 h 400"/>
                <a:gd name="T76" fmla="*/ 569 w 572"/>
                <a:gd name="T77" fmla="*/ 169 h 400"/>
                <a:gd name="T78" fmla="*/ 571 w 572"/>
                <a:gd name="T79" fmla="*/ 19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2" h="400">
                  <a:moveTo>
                    <a:pt x="572" y="200"/>
                  </a:moveTo>
                  <a:lnTo>
                    <a:pt x="571" y="211"/>
                  </a:lnTo>
                  <a:lnTo>
                    <a:pt x="570" y="221"/>
                  </a:lnTo>
                  <a:lnTo>
                    <a:pt x="569" y="231"/>
                  </a:lnTo>
                  <a:lnTo>
                    <a:pt x="566" y="241"/>
                  </a:lnTo>
                  <a:lnTo>
                    <a:pt x="562" y="250"/>
                  </a:lnTo>
                  <a:lnTo>
                    <a:pt x="559" y="260"/>
                  </a:lnTo>
                  <a:lnTo>
                    <a:pt x="554" y="269"/>
                  </a:lnTo>
                  <a:lnTo>
                    <a:pt x="549" y="279"/>
                  </a:lnTo>
                  <a:lnTo>
                    <a:pt x="537" y="296"/>
                  </a:lnTo>
                  <a:lnTo>
                    <a:pt x="523" y="312"/>
                  </a:lnTo>
                  <a:lnTo>
                    <a:pt x="506" y="328"/>
                  </a:lnTo>
                  <a:lnTo>
                    <a:pt x="487" y="341"/>
                  </a:lnTo>
                  <a:lnTo>
                    <a:pt x="468" y="355"/>
                  </a:lnTo>
                  <a:lnTo>
                    <a:pt x="446" y="366"/>
                  </a:lnTo>
                  <a:lnTo>
                    <a:pt x="421" y="377"/>
                  </a:lnTo>
                  <a:lnTo>
                    <a:pt x="397" y="384"/>
                  </a:lnTo>
                  <a:lnTo>
                    <a:pt x="371" y="392"/>
                  </a:lnTo>
                  <a:lnTo>
                    <a:pt x="342" y="397"/>
                  </a:lnTo>
                  <a:lnTo>
                    <a:pt x="314" y="399"/>
                  </a:lnTo>
                  <a:lnTo>
                    <a:pt x="285" y="400"/>
                  </a:lnTo>
                  <a:lnTo>
                    <a:pt x="256" y="399"/>
                  </a:lnTo>
                  <a:lnTo>
                    <a:pt x="227" y="397"/>
                  </a:lnTo>
                  <a:lnTo>
                    <a:pt x="200" y="392"/>
                  </a:lnTo>
                  <a:lnTo>
                    <a:pt x="174" y="384"/>
                  </a:lnTo>
                  <a:lnTo>
                    <a:pt x="148" y="377"/>
                  </a:lnTo>
                  <a:lnTo>
                    <a:pt x="125" y="366"/>
                  </a:lnTo>
                  <a:lnTo>
                    <a:pt x="103" y="355"/>
                  </a:lnTo>
                  <a:lnTo>
                    <a:pt x="83" y="341"/>
                  </a:lnTo>
                  <a:lnTo>
                    <a:pt x="65" y="328"/>
                  </a:lnTo>
                  <a:lnTo>
                    <a:pt x="48" y="312"/>
                  </a:lnTo>
                  <a:lnTo>
                    <a:pt x="34" y="296"/>
                  </a:lnTo>
                  <a:lnTo>
                    <a:pt x="22" y="279"/>
                  </a:lnTo>
                  <a:lnTo>
                    <a:pt x="17" y="269"/>
                  </a:lnTo>
                  <a:lnTo>
                    <a:pt x="12" y="260"/>
                  </a:lnTo>
                  <a:lnTo>
                    <a:pt x="8" y="250"/>
                  </a:lnTo>
                  <a:lnTo>
                    <a:pt x="5" y="241"/>
                  </a:lnTo>
                  <a:lnTo>
                    <a:pt x="2" y="231"/>
                  </a:lnTo>
                  <a:lnTo>
                    <a:pt x="1" y="221"/>
                  </a:lnTo>
                  <a:lnTo>
                    <a:pt x="0" y="211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1" y="180"/>
                  </a:lnTo>
                  <a:lnTo>
                    <a:pt x="2" y="169"/>
                  </a:lnTo>
                  <a:lnTo>
                    <a:pt x="5" y="159"/>
                  </a:lnTo>
                  <a:lnTo>
                    <a:pt x="8" y="151"/>
                  </a:lnTo>
                  <a:lnTo>
                    <a:pt x="12" y="141"/>
                  </a:lnTo>
                  <a:lnTo>
                    <a:pt x="17" y="131"/>
                  </a:lnTo>
                  <a:lnTo>
                    <a:pt x="22" y="123"/>
                  </a:lnTo>
                  <a:lnTo>
                    <a:pt x="34" y="105"/>
                  </a:lnTo>
                  <a:lnTo>
                    <a:pt x="48" y="88"/>
                  </a:lnTo>
                  <a:lnTo>
                    <a:pt x="65" y="73"/>
                  </a:lnTo>
                  <a:lnTo>
                    <a:pt x="83" y="59"/>
                  </a:lnTo>
                  <a:lnTo>
                    <a:pt x="103" y="45"/>
                  </a:lnTo>
                  <a:lnTo>
                    <a:pt x="125" y="34"/>
                  </a:lnTo>
                  <a:lnTo>
                    <a:pt x="148" y="24"/>
                  </a:lnTo>
                  <a:lnTo>
                    <a:pt x="174" y="16"/>
                  </a:lnTo>
                  <a:lnTo>
                    <a:pt x="200" y="9"/>
                  </a:lnTo>
                  <a:lnTo>
                    <a:pt x="227" y="3"/>
                  </a:lnTo>
                  <a:lnTo>
                    <a:pt x="256" y="1"/>
                  </a:lnTo>
                  <a:lnTo>
                    <a:pt x="285" y="0"/>
                  </a:lnTo>
                  <a:lnTo>
                    <a:pt x="314" y="1"/>
                  </a:lnTo>
                  <a:lnTo>
                    <a:pt x="342" y="3"/>
                  </a:lnTo>
                  <a:lnTo>
                    <a:pt x="371" y="9"/>
                  </a:lnTo>
                  <a:lnTo>
                    <a:pt x="397" y="16"/>
                  </a:lnTo>
                  <a:lnTo>
                    <a:pt x="421" y="24"/>
                  </a:lnTo>
                  <a:lnTo>
                    <a:pt x="446" y="34"/>
                  </a:lnTo>
                  <a:lnTo>
                    <a:pt x="468" y="45"/>
                  </a:lnTo>
                  <a:lnTo>
                    <a:pt x="487" y="59"/>
                  </a:lnTo>
                  <a:lnTo>
                    <a:pt x="506" y="73"/>
                  </a:lnTo>
                  <a:lnTo>
                    <a:pt x="523" y="88"/>
                  </a:lnTo>
                  <a:lnTo>
                    <a:pt x="537" y="105"/>
                  </a:lnTo>
                  <a:lnTo>
                    <a:pt x="549" y="123"/>
                  </a:lnTo>
                  <a:lnTo>
                    <a:pt x="554" y="131"/>
                  </a:lnTo>
                  <a:lnTo>
                    <a:pt x="559" y="141"/>
                  </a:lnTo>
                  <a:lnTo>
                    <a:pt x="562" y="151"/>
                  </a:lnTo>
                  <a:lnTo>
                    <a:pt x="566" y="159"/>
                  </a:lnTo>
                  <a:lnTo>
                    <a:pt x="569" y="169"/>
                  </a:lnTo>
                  <a:lnTo>
                    <a:pt x="570" y="180"/>
                  </a:lnTo>
                  <a:lnTo>
                    <a:pt x="571" y="190"/>
                  </a:lnTo>
                  <a:lnTo>
                    <a:pt x="572" y="200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47"/>
            <p:cNvSpPr>
              <a:spLocks noEditPoints="1"/>
            </p:cNvSpPr>
            <p:nvPr/>
          </p:nvSpPr>
          <p:spPr bwMode="auto">
            <a:xfrm>
              <a:off x="1085851" y="3117851"/>
              <a:ext cx="236538" cy="168275"/>
            </a:xfrm>
            <a:custGeom>
              <a:avLst/>
              <a:gdLst>
                <a:gd name="T0" fmla="*/ 242 w 596"/>
                <a:gd name="T1" fmla="*/ 28 h 422"/>
                <a:gd name="T2" fmla="*/ 168 w 596"/>
                <a:gd name="T3" fmla="*/ 46 h 422"/>
                <a:gd name="T4" fmla="*/ 105 w 596"/>
                <a:gd name="T5" fmla="*/ 79 h 422"/>
                <a:gd name="T6" fmla="*/ 57 w 596"/>
                <a:gd name="T7" fmla="*/ 122 h 422"/>
                <a:gd name="T8" fmla="*/ 36 w 596"/>
                <a:gd name="T9" fmla="*/ 156 h 422"/>
                <a:gd name="T10" fmla="*/ 27 w 596"/>
                <a:gd name="T11" fmla="*/ 183 h 422"/>
                <a:gd name="T12" fmla="*/ 24 w 596"/>
                <a:gd name="T13" fmla="*/ 211 h 422"/>
                <a:gd name="T14" fmla="*/ 27 w 596"/>
                <a:gd name="T15" fmla="*/ 239 h 422"/>
                <a:gd name="T16" fmla="*/ 36 w 596"/>
                <a:gd name="T17" fmla="*/ 267 h 422"/>
                <a:gd name="T18" fmla="*/ 57 w 596"/>
                <a:gd name="T19" fmla="*/ 301 h 422"/>
                <a:gd name="T20" fmla="*/ 105 w 596"/>
                <a:gd name="T21" fmla="*/ 344 h 422"/>
                <a:gd name="T22" fmla="*/ 168 w 596"/>
                <a:gd name="T23" fmla="*/ 376 h 422"/>
                <a:gd name="T24" fmla="*/ 242 w 596"/>
                <a:gd name="T25" fmla="*/ 394 h 422"/>
                <a:gd name="T26" fmla="*/ 326 w 596"/>
                <a:gd name="T27" fmla="*/ 397 h 422"/>
                <a:gd name="T28" fmla="*/ 405 w 596"/>
                <a:gd name="T29" fmla="*/ 383 h 422"/>
                <a:gd name="T30" fmla="*/ 472 w 596"/>
                <a:gd name="T31" fmla="*/ 356 h 422"/>
                <a:gd name="T32" fmla="*/ 526 w 596"/>
                <a:gd name="T33" fmla="*/ 315 h 422"/>
                <a:gd name="T34" fmla="*/ 556 w 596"/>
                <a:gd name="T35" fmla="*/ 276 h 422"/>
                <a:gd name="T36" fmla="*/ 567 w 596"/>
                <a:gd name="T37" fmla="*/ 249 h 422"/>
                <a:gd name="T38" fmla="*/ 572 w 596"/>
                <a:gd name="T39" fmla="*/ 221 h 422"/>
                <a:gd name="T40" fmla="*/ 572 w 596"/>
                <a:gd name="T41" fmla="*/ 193 h 422"/>
                <a:gd name="T42" fmla="*/ 564 w 596"/>
                <a:gd name="T43" fmla="*/ 164 h 422"/>
                <a:gd name="T44" fmla="*/ 551 w 596"/>
                <a:gd name="T45" fmla="*/ 138 h 422"/>
                <a:gd name="T46" fmla="*/ 510 w 596"/>
                <a:gd name="T47" fmla="*/ 92 h 422"/>
                <a:gd name="T48" fmla="*/ 451 w 596"/>
                <a:gd name="T49" fmla="*/ 56 h 422"/>
                <a:gd name="T50" fmla="*/ 380 w 596"/>
                <a:gd name="T51" fmla="*/ 33 h 422"/>
                <a:gd name="T52" fmla="*/ 298 w 596"/>
                <a:gd name="T53" fmla="*/ 24 h 422"/>
                <a:gd name="T54" fmla="*/ 239 w 596"/>
                <a:gd name="T55" fmla="*/ 419 h 422"/>
                <a:gd name="T56" fmla="*/ 156 w 596"/>
                <a:gd name="T57" fmla="*/ 398 h 422"/>
                <a:gd name="T58" fmla="*/ 88 w 596"/>
                <a:gd name="T59" fmla="*/ 361 h 422"/>
                <a:gd name="T60" fmla="*/ 43 w 596"/>
                <a:gd name="T61" fmla="*/ 322 h 422"/>
                <a:gd name="T62" fmla="*/ 24 w 596"/>
                <a:gd name="T63" fmla="*/ 293 h 422"/>
                <a:gd name="T64" fmla="*/ 9 w 596"/>
                <a:gd name="T65" fmla="*/ 264 h 422"/>
                <a:gd name="T66" fmla="*/ 2 w 596"/>
                <a:gd name="T67" fmla="*/ 233 h 422"/>
                <a:gd name="T68" fmla="*/ 0 w 596"/>
                <a:gd name="T69" fmla="*/ 200 h 422"/>
                <a:gd name="T70" fmla="*/ 7 w 596"/>
                <a:gd name="T71" fmla="*/ 168 h 422"/>
                <a:gd name="T72" fmla="*/ 19 w 596"/>
                <a:gd name="T73" fmla="*/ 138 h 422"/>
                <a:gd name="T74" fmla="*/ 36 w 596"/>
                <a:gd name="T75" fmla="*/ 110 h 422"/>
                <a:gd name="T76" fmla="*/ 68 w 596"/>
                <a:gd name="T77" fmla="*/ 77 h 422"/>
                <a:gd name="T78" fmla="*/ 132 w 596"/>
                <a:gd name="T79" fmla="*/ 35 h 422"/>
                <a:gd name="T80" fmla="*/ 209 w 596"/>
                <a:gd name="T81" fmla="*/ 9 h 422"/>
                <a:gd name="T82" fmla="*/ 298 w 596"/>
                <a:gd name="T83" fmla="*/ 0 h 422"/>
                <a:gd name="T84" fmla="*/ 386 w 596"/>
                <a:gd name="T85" fmla="*/ 9 h 422"/>
                <a:gd name="T86" fmla="*/ 465 w 596"/>
                <a:gd name="T87" fmla="*/ 35 h 422"/>
                <a:gd name="T88" fmla="*/ 529 w 596"/>
                <a:gd name="T89" fmla="*/ 77 h 422"/>
                <a:gd name="T90" fmla="*/ 561 w 596"/>
                <a:gd name="T91" fmla="*/ 110 h 422"/>
                <a:gd name="T92" fmla="*/ 578 w 596"/>
                <a:gd name="T93" fmla="*/ 138 h 422"/>
                <a:gd name="T94" fmla="*/ 590 w 596"/>
                <a:gd name="T95" fmla="*/ 168 h 422"/>
                <a:gd name="T96" fmla="*/ 596 w 596"/>
                <a:gd name="T97" fmla="*/ 200 h 422"/>
                <a:gd name="T98" fmla="*/ 595 w 596"/>
                <a:gd name="T99" fmla="*/ 233 h 422"/>
                <a:gd name="T100" fmla="*/ 588 w 596"/>
                <a:gd name="T101" fmla="*/ 264 h 422"/>
                <a:gd name="T102" fmla="*/ 573 w 596"/>
                <a:gd name="T103" fmla="*/ 293 h 422"/>
                <a:gd name="T104" fmla="*/ 553 w 596"/>
                <a:gd name="T105" fmla="*/ 322 h 422"/>
                <a:gd name="T106" fmla="*/ 509 w 596"/>
                <a:gd name="T107" fmla="*/ 361 h 422"/>
                <a:gd name="T108" fmla="*/ 440 w 596"/>
                <a:gd name="T109" fmla="*/ 398 h 422"/>
                <a:gd name="T110" fmla="*/ 358 w 596"/>
                <a:gd name="T111" fmla="*/ 419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6" h="422">
                  <a:moveTo>
                    <a:pt x="298" y="24"/>
                  </a:moveTo>
                  <a:lnTo>
                    <a:pt x="271" y="25"/>
                  </a:lnTo>
                  <a:lnTo>
                    <a:pt x="242" y="28"/>
                  </a:lnTo>
                  <a:lnTo>
                    <a:pt x="217" y="33"/>
                  </a:lnTo>
                  <a:lnTo>
                    <a:pt x="192" y="39"/>
                  </a:lnTo>
                  <a:lnTo>
                    <a:pt x="168" y="46"/>
                  </a:lnTo>
                  <a:lnTo>
                    <a:pt x="145" y="56"/>
                  </a:lnTo>
                  <a:lnTo>
                    <a:pt x="125" y="67"/>
                  </a:lnTo>
                  <a:lnTo>
                    <a:pt x="105" y="79"/>
                  </a:lnTo>
                  <a:lnTo>
                    <a:pt x="86" y="92"/>
                  </a:lnTo>
                  <a:lnTo>
                    <a:pt x="72" y="107"/>
                  </a:lnTo>
                  <a:lnTo>
                    <a:pt x="57" y="122"/>
                  </a:lnTo>
                  <a:lnTo>
                    <a:pt x="46" y="138"/>
                  </a:lnTo>
                  <a:lnTo>
                    <a:pt x="41" y="147"/>
                  </a:lnTo>
                  <a:lnTo>
                    <a:pt x="36" y="156"/>
                  </a:lnTo>
                  <a:lnTo>
                    <a:pt x="32" y="164"/>
                  </a:lnTo>
                  <a:lnTo>
                    <a:pt x="30" y="173"/>
                  </a:lnTo>
                  <a:lnTo>
                    <a:pt x="27" y="183"/>
                  </a:lnTo>
                  <a:lnTo>
                    <a:pt x="26" y="193"/>
                  </a:lnTo>
                  <a:lnTo>
                    <a:pt x="25" y="201"/>
                  </a:lnTo>
                  <a:lnTo>
                    <a:pt x="24" y="211"/>
                  </a:lnTo>
                  <a:lnTo>
                    <a:pt x="25" y="221"/>
                  </a:lnTo>
                  <a:lnTo>
                    <a:pt x="26" y="231"/>
                  </a:lnTo>
                  <a:lnTo>
                    <a:pt x="27" y="239"/>
                  </a:lnTo>
                  <a:lnTo>
                    <a:pt x="30" y="249"/>
                  </a:lnTo>
                  <a:lnTo>
                    <a:pt x="32" y="258"/>
                  </a:lnTo>
                  <a:lnTo>
                    <a:pt x="36" y="267"/>
                  </a:lnTo>
                  <a:lnTo>
                    <a:pt x="41" y="276"/>
                  </a:lnTo>
                  <a:lnTo>
                    <a:pt x="46" y="285"/>
                  </a:lnTo>
                  <a:lnTo>
                    <a:pt x="57" y="301"/>
                  </a:lnTo>
                  <a:lnTo>
                    <a:pt x="72" y="315"/>
                  </a:lnTo>
                  <a:lnTo>
                    <a:pt x="86" y="330"/>
                  </a:lnTo>
                  <a:lnTo>
                    <a:pt x="105" y="344"/>
                  </a:lnTo>
                  <a:lnTo>
                    <a:pt x="125" y="356"/>
                  </a:lnTo>
                  <a:lnTo>
                    <a:pt x="145" y="366"/>
                  </a:lnTo>
                  <a:lnTo>
                    <a:pt x="168" y="376"/>
                  </a:lnTo>
                  <a:lnTo>
                    <a:pt x="192" y="383"/>
                  </a:lnTo>
                  <a:lnTo>
                    <a:pt x="217" y="389"/>
                  </a:lnTo>
                  <a:lnTo>
                    <a:pt x="242" y="394"/>
                  </a:lnTo>
                  <a:lnTo>
                    <a:pt x="271" y="397"/>
                  </a:lnTo>
                  <a:lnTo>
                    <a:pt x="298" y="398"/>
                  </a:lnTo>
                  <a:lnTo>
                    <a:pt x="326" y="397"/>
                  </a:lnTo>
                  <a:lnTo>
                    <a:pt x="353" y="394"/>
                  </a:lnTo>
                  <a:lnTo>
                    <a:pt x="380" y="389"/>
                  </a:lnTo>
                  <a:lnTo>
                    <a:pt x="405" y="383"/>
                  </a:lnTo>
                  <a:lnTo>
                    <a:pt x="429" y="376"/>
                  </a:lnTo>
                  <a:lnTo>
                    <a:pt x="451" y="366"/>
                  </a:lnTo>
                  <a:lnTo>
                    <a:pt x="472" y="356"/>
                  </a:lnTo>
                  <a:lnTo>
                    <a:pt x="492" y="344"/>
                  </a:lnTo>
                  <a:lnTo>
                    <a:pt x="510" y="330"/>
                  </a:lnTo>
                  <a:lnTo>
                    <a:pt x="526" y="315"/>
                  </a:lnTo>
                  <a:lnTo>
                    <a:pt x="540" y="301"/>
                  </a:lnTo>
                  <a:lnTo>
                    <a:pt x="551" y="285"/>
                  </a:lnTo>
                  <a:lnTo>
                    <a:pt x="556" y="276"/>
                  </a:lnTo>
                  <a:lnTo>
                    <a:pt x="561" y="267"/>
                  </a:lnTo>
                  <a:lnTo>
                    <a:pt x="564" y="258"/>
                  </a:lnTo>
                  <a:lnTo>
                    <a:pt x="567" y="249"/>
                  </a:lnTo>
                  <a:lnTo>
                    <a:pt x="569" y="239"/>
                  </a:lnTo>
                  <a:lnTo>
                    <a:pt x="572" y="231"/>
                  </a:lnTo>
                  <a:lnTo>
                    <a:pt x="572" y="221"/>
                  </a:lnTo>
                  <a:lnTo>
                    <a:pt x="573" y="211"/>
                  </a:lnTo>
                  <a:lnTo>
                    <a:pt x="572" y="201"/>
                  </a:lnTo>
                  <a:lnTo>
                    <a:pt x="572" y="193"/>
                  </a:lnTo>
                  <a:lnTo>
                    <a:pt x="569" y="183"/>
                  </a:lnTo>
                  <a:lnTo>
                    <a:pt x="567" y="173"/>
                  </a:lnTo>
                  <a:lnTo>
                    <a:pt x="564" y="164"/>
                  </a:lnTo>
                  <a:lnTo>
                    <a:pt x="561" y="156"/>
                  </a:lnTo>
                  <a:lnTo>
                    <a:pt x="556" y="147"/>
                  </a:lnTo>
                  <a:lnTo>
                    <a:pt x="551" y="138"/>
                  </a:lnTo>
                  <a:lnTo>
                    <a:pt x="540" y="122"/>
                  </a:lnTo>
                  <a:lnTo>
                    <a:pt x="526" y="107"/>
                  </a:lnTo>
                  <a:lnTo>
                    <a:pt x="510" y="92"/>
                  </a:lnTo>
                  <a:lnTo>
                    <a:pt x="492" y="79"/>
                  </a:lnTo>
                  <a:lnTo>
                    <a:pt x="472" y="67"/>
                  </a:lnTo>
                  <a:lnTo>
                    <a:pt x="451" y="56"/>
                  </a:lnTo>
                  <a:lnTo>
                    <a:pt x="429" y="46"/>
                  </a:lnTo>
                  <a:lnTo>
                    <a:pt x="405" y="39"/>
                  </a:lnTo>
                  <a:lnTo>
                    <a:pt x="380" y="33"/>
                  </a:lnTo>
                  <a:lnTo>
                    <a:pt x="353" y="28"/>
                  </a:lnTo>
                  <a:lnTo>
                    <a:pt x="326" y="25"/>
                  </a:lnTo>
                  <a:lnTo>
                    <a:pt x="298" y="24"/>
                  </a:lnTo>
                  <a:close/>
                  <a:moveTo>
                    <a:pt x="298" y="422"/>
                  </a:moveTo>
                  <a:lnTo>
                    <a:pt x="268" y="422"/>
                  </a:lnTo>
                  <a:lnTo>
                    <a:pt x="239" y="419"/>
                  </a:lnTo>
                  <a:lnTo>
                    <a:pt x="209" y="414"/>
                  </a:lnTo>
                  <a:lnTo>
                    <a:pt x="182" y="406"/>
                  </a:lnTo>
                  <a:lnTo>
                    <a:pt x="156" y="398"/>
                  </a:lnTo>
                  <a:lnTo>
                    <a:pt x="132" y="387"/>
                  </a:lnTo>
                  <a:lnTo>
                    <a:pt x="109" y="374"/>
                  </a:lnTo>
                  <a:lnTo>
                    <a:pt x="88" y="361"/>
                  </a:lnTo>
                  <a:lnTo>
                    <a:pt x="68" y="346"/>
                  </a:lnTo>
                  <a:lnTo>
                    <a:pt x="51" y="330"/>
                  </a:lnTo>
                  <a:lnTo>
                    <a:pt x="43" y="322"/>
                  </a:lnTo>
                  <a:lnTo>
                    <a:pt x="36" y="312"/>
                  </a:lnTo>
                  <a:lnTo>
                    <a:pt x="30" y="303"/>
                  </a:lnTo>
                  <a:lnTo>
                    <a:pt x="24" y="293"/>
                  </a:lnTo>
                  <a:lnTo>
                    <a:pt x="19" y="283"/>
                  </a:lnTo>
                  <a:lnTo>
                    <a:pt x="14" y="274"/>
                  </a:lnTo>
                  <a:lnTo>
                    <a:pt x="9" y="264"/>
                  </a:lnTo>
                  <a:lnTo>
                    <a:pt x="7" y="254"/>
                  </a:lnTo>
                  <a:lnTo>
                    <a:pt x="4" y="243"/>
                  </a:lnTo>
                  <a:lnTo>
                    <a:pt x="2" y="233"/>
                  </a:lnTo>
                  <a:lnTo>
                    <a:pt x="0" y="222"/>
                  </a:lnTo>
                  <a:lnTo>
                    <a:pt x="0" y="211"/>
                  </a:lnTo>
                  <a:lnTo>
                    <a:pt x="0" y="200"/>
                  </a:lnTo>
                  <a:lnTo>
                    <a:pt x="2" y="190"/>
                  </a:lnTo>
                  <a:lnTo>
                    <a:pt x="4" y="179"/>
                  </a:lnTo>
                  <a:lnTo>
                    <a:pt x="7" y="168"/>
                  </a:lnTo>
                  <a:lnTo>
                    <a:pt x="9" y="158"/>
                  </a:lnTo>
                  <a:lnTo>
                    <a:pt x="14" y="148"/>
                  </a:lnTo>
                  <a:lnTo>
                    <a:pt x="19" y="138"/>
                  </a:lnTo>
                  <a:lnTo>
                    <a:pt x="24" y="129"/>
                  </a:lnTo>
                  <a:lnTo>
                    <a:pt x="30" y="119"/>
                  </a:lnTo>
                  <a:lnTo>
                    <a:pt x="36" y="110"/>
                  </a:lnTo>
                  <a:lnTo>
                    <a:pt x="43" y="102"/>
                  </a:lnTo>
                  <a:lnTo>
                    <a:pt x="51" y="93"/>
                  </a:lnTo>
                  <a:lnTo>
                    <a:pt x="68" y="77"/>
                  </a:lnTo>
                  <a:lnTo>
                    <a:pt x="88" y="61"/>
                  </a:lnTo>
                  <a:lnTo>
                    <a:pt x="109" y="48"/>
                  </a:lnTo>
                  <a:lnTo>
                    <a:pt x="132" y="35"/>
                  </a:lnTo>
                  <a:lnTo>
                    <a:pt x="156" y="25"/>
                  </a:lnTo>
                  <a:lnTo>
                    <a:pt x="182" y="17"/>
                  </a:lnTo>
                  <a:lnTo>
                    <a:pt x="209" y="9"/>
                  </a:lnTo>
                  <a:lnTo>
                    <a:pt x="239" y="5"/>
                  </a:lnTo>
                  <a:lnTo>
                    <a:pt x="268" y="1"/>
                  </a:lnTo>
                  <a:lnTo>
                    <a:pt x="298" y="0"/>
                  </a:lnTo>
                  <a:lnTo>
                    <a:pt x="328" y="1"/>
                  </a:lnTo>
                  <a:lnTo>
                    <a:pt x="358" y="5"/>
                  </a:lnTo>
                  <a:lnTo>
                    <a:pt x="386" y="9"/>
                  </a:lnTo>
                  <a:lnTo>
                    <a:pt x="414" y="17"/>
                  </a:lnTo>
                  <a:lnTo>
                    <a:pt x="440" y="25"/>
                  </a:lnTo>
                  <a:lnTo>
                    <a:pt x="465" y="35"/>
                  </a:lnTo>
                  <a:lnTo>
                    <a:pt x="488" y="48"/>
                  </a:lnTo>
                  <a:lnTo>
                    <a:pt x="509" y="61"/>
                  </a:lnTo>
                  <a:lnTo>
                    <a:pt x="529" y="77"/>
                  </a:lnTo>
                  <a:lnTo>
                    <a:pt x="546" y="93"/>
                  </a:lnTo>
                  <a:lnTo>
                    <a:pt x="553" y="102"/>
                  </a:lnTo>
                  <a:lnTo>
                    <a:pt x="561" y="110"/>
                  </a:lnTo>
                  <a:lnTo>
                    <a:pt x="567" y="119"/>
                  </a:lnTo>
                  <a:lnTo>
                    <a:pt x="573" y="129"/>
                  </a:lnTo>
                  <a:lnTo>
                    <a:pt x="578" y="138"/>
                  </a:lnTo>
                  <a:lnTo>
                    <a:pt x="583" y="148"/>
                  </a:lnTo>
                  <a:lnTo>
                    <a:pt x="588" y="158"/>
                  </a:lnTo>
                  <a:lnTo>
                    <a:pt x="590" y="168"/>
                  </a:lnTo>
                  <a:lnTo>
                    <a:pt x="593" y="179"/>
                  </a:lnTo>
                  <a:lnTo>
                    <a:pt x="595" y="190"/>
                  </a:lnTo>
                  <a:lnTo>
                    <a:pt x="596" y="200"/>
                  </a:lnTo>
                  <a:lnTo>
                    <a:pt x="596" y="211"/>
                  </a:lnTo>
                  <a:lnTo>
                    <a:pt x="596" y="222"/>
                  </a:lnTo>
                  <a:lnTo>
                    <a:pt x="595" y="233"/>
                  </a:lnTo>
                  <a:lnTo>
                    <a:pt x="593" y="243"/>
                  </a:lnTo>
                  <a:lnTo>
                    <a:pt x="590" y="254"/>
                  </a:lnTo>
                  <a:lnTo>
                    <a:pt x="588" y="264"/>
                  </a:lnTo>
                  <a:lnTo>
                    <a:pt x="583" y="274"/>
                  </a:lnTo>
                  <a:lnTo>
                    <a:pt x="578" y="283"/>
                  </a:lnTo>
                  <a:lnTo>
                    <a:pt x="573" y="293"/>
                  </a:lnTo>
                  <a:lnTo>
                    <a:pt x="567" y="303"/>
                  </a:lnTo>
                  <a:lnTo>
                    <a:pt x="561" y="312"/>
                  </a:lnTo>
                  <a:lnTo>
                    <a:pt x="553" y="322"/>
                  </a:lnTo>
                  <a:lnTo>
                    <a:pt x="546" y="330"/>
                  </a:lnTo>
                  <a:lnTo>
                    <a:pt x="529" y="346"/>
                  </a:lnTo>
                  <a:lnTo>
                    <a:pt x="509" y="361"/>
                  </a:lnTo>
                  <a:lnTo>
                    <a:pt x="488" y="374"/>
                  </a:lnTo>
                  <a:lnTo>
                    <a:pt x="465" y="387"/>
                  </a:lnTo>
                  <a:lnTo>
                    <a:pt x="440" y="398"/>
                  </a:lnTo>
                  <a:lnTo>
                    <a:pt x="414" y="406"/>
                  </a:lnTo>
                  <a:lnTo>
                    <a:pt x="386" y="414"/>
                  </a:lnTo>
                  <a:lnTo>
                    <a:pt x="358" y="419"/>
                  </a:lnTo>
                  <a:lnTo>
                    <a:pt x="328" y="422"/>
                  </a:lnTo>
                  <a:lnTo>
                    <a:pt x="298" y="422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48"/>
            <p:cNvSpPr>
              <a:spLocks/>
            </p:cNvSpPr>
            <p:nvPr/>
          </p:nvSpPr>
          <p:spPr bwMode="auto">
            <a:xfrm>
              <a:off x="1065213" y="3281363"/>
              <a:ext cx="52388" cy="52388"/>
            </a:xfrm>
            <a:custGeom>
              <a:avLst/>
              <a:gdLst>
                <a:gd name="T0" fmla="*/ 134 w 134"/>
                <a:gd name="T1" fmla="*/ 65 h 133"/>
                <a:gd name="T2" fmla="*/ 134 w 134"/>
                <a:gd name="T3" fmla="*/ 73 h 133"/>
                <a:gd name="T4" fmla="*/ 133 w 134"/>
                <a:gd name="T5" fmla="*/ 80 h 133"/>
                <a:gd name="T6" fmla="*/ 132 w 134"/>
                <a:gd name="T7" fmla="*/ 86 h 133"/>
                <a:gd name="T8" fmla="*/ 129 w 134"/>
                <a:gd name="T9" fmla="*/ 92 h 133"/>
                <a:gd name="T10" fmla="*/ 127 w 134"/>
                <a:gd name="T11" fmla="*/ 99 h 133"/>
                <a:gd name="T12" fmla="*/ 123 w 134"/>
                <a:gd name="T13" fmla="*/ 103 h 133"/>
                <a:gd name="T14" fmla="*/ 119 w 134"/>
                <a:gd name="T15" fmla="*/ 110 h 133"/>
                <a:gd name="T16" fmla="*/ 114 w 134"/>
                <a:gd name="T17" fmla="*/ 115 h 133"/>
                <a:gd name="T18" fmla="*/ 110 w 134"/>
                <a:gd name="T19" fmla="*/ 118 h 133"/>
                <a:gd name="T20" fmla="*/ 105 w 134"/>
                <a:gd name="T21" fmla="*/ 122 h 133"/>
                <a:gd name="T22" fmla="*/ 100 w 134"/>
                <a:gd name="T23" fmla="*/ 126 h 133"/>
                <a:gd name="T24" fmla="*/ 94 w 134"/>
                <a:gd name="T25" fmla="*/ 128 h 133"/>
                <a:gd name="T26" fmla="*/ 87 w 134"/>
                <a:gd name="T27" fmla="*/ 131 h 133"/>
                <a:gd name="T28" fmla="*/ 81 w 134"/>
                <a:gd name="T29" fmla="*/ 132 h 133"/>
                <a:gd name="T30" fmla="*/ 74 w 134"/>
                <a:gd name="T31" fmla="*/ 133 h 133"/>
                <a:gd name="T32" fmla="*/ 68 w 134"/>
                <a:gd name="T33" fmla="*/ 133 h 133"/>
                <a:gd name="T34" fmla="*/ 60 w 134"/>
                <a:gd name="T35" fmla="*/ 133 h 133"/>
                <a:gd name="T36" fmla="*/ 54 w 134"/>
                <a:gd name="T37" fmla="*/ 132 h 133"/>
                <a:gd name="T38" fmla="*/ 47 w 134"/>
                <a:gd name="T39" fmla="*/ 131 h 133"/>
                <a:gd name="T40" fmla="*/ 41 w 134"/>
                <a:gd name="T41" fmla="*/ 128 h 133"/>
                <a:gd name="T42" fmla="*/ 36 w 134"/>
                <a:gd name="T43" fmla="*/ 126 h 133"/>
                <a:gd name="T44" fmla="*/ 30 w 134"/>
                <a:gd name="T45" fmla="*/ 122 h 133"/>
                <a:gd name="T46" fmla="*/ 25 w 134"/>
                <a:gd name="T47" fmla="*/ 118 h 133"/>
                <a:gd name="T48" fmla="*/ 20 w 134"/>
                <a:gd name="T49" fmla="*/ 115 h 133"/>
                <a:gd name="T50" fmla="*/ 16 w 134"/>
                <a:gd name="T51" fmla="*/ 110 h 133"/>
                <a:gd name="T52" fmla="*/ 11 w 134"/>
                <a:gd name="T53" fmla="*/ 103 h 133"/>
                <a:gd name="T54" fmla="*/ 9 w 134"/>
                <a:gd name="T55" fmla="*/ 99 h 133"/>
                <a:gd name="T56" fmla="*/ 5 w 134"/>
                <a:gd name="T57" fmla="*/ 92 h 133"/>
                <a:gd name="T58" fmla="*/ 4 w 134"/>
                <a:gd name="T59" fmla="*/ 86 h 133"/>
                <a:gd name="T60" fmla="*/ 1 w 134"/>
                <a:gd name="T61" fmla="*/ 80 h 133"/>
                <a:gd name="T62" fmla="*/ 0 w 134"/>
                <a:gd name="T63" fmla="*/ 73 h 133"/>
                <a:gd name="T64" fmla="*/ 0 w 134"/>
                <a:gd name="T65" fmla="*/ 65 h 133"/>
                <a:gd name="T66" fmla="*/ 0 w 134"/>
                <a:gd name="T67" fmla="*/ 59 h 133"/>
                <a:gd name="T68" fmla="*/ 1 w 134"/>
                <a:gd name="T69" fmla="*/ 53 h 133"/>
                <a:gd name="T70" fmla="*/ 4 w 134"/>
                <a:gd name="T71" fmla="*/ 47 h 133"/>
                <a:gd name="T72" fmla="*/ 5 w 134"/>
                <a:gd name="T73" fmla="*/ 41 h 133"/>
                <a:gd name="T74" fmla="*/ 9 w 134"/>
                <a:gd name="T75" fmla="*/ 35 h 133"/>
                <a:gd name="T76" fmla="*/ 11 w 134"/>
                <a:gd name="T77" fmla="*/ 30 h 133"/>
                <a:gd name="T78" fmla="*/ 16 w 134"/>
                <a:gd name="T79" fmla="*/ 25 h 133"/>
                <a:gd name="T80" fmla="*/ 20 w 134"/>
                <a:gd name="T81" fmla="*/ 20 h 133"/>
                <a:gd name="T82" fmla="*/ 30 w 134"/>
                <a:gd name="T83" fmla="*/ 11 h 133"/>
                <a:gd name="T84" fmla="*/ 41 w 134"/>
                <a:gd name="T85" fmla="*/ 5 h 133"/>
                <a:gd name="T86" fmla="*/ 47 w 134"/>
                <a:gd name="T87" fmla="*/ 4 h 133"/>
                <a:gd name="T88" fmla="*/ 54 w 134"/>
                <a:gd name="T89" fmla="*/ 1 h 133"/>
                <a:gd name="T90" fmla="*/ 60 w 134"/>
                <a:gd name="T91" fmla="*/ 1 h 133"/>
                <a:gd name="T92" fmla="*/ 68 w 134"/>
                <a:gd name="T93" fmla="*/ 0 h 133"/>
                <a:gd name="T94" fmla="*/ 74 w 134"/>
                <a:gd name="T95" fmla="*/ 1 h 133"/>
                <a:gd name="T96" fmla="*/ 81 w 134"/>
                <a:gd name="T97" fmla="*/ 1 h 133"/>
                <a:gd name="T98" fmla="*/ 87 w 134"/>
                <a:gd name="T99" fmla="*/ 4 h 133"/>
                <a:gd name="T100" fmla="*/ 94 w 134"/>
                <a:gd name="T101" fmla="*/ 5 h 133"/>
                <a:gd name="T102" fmla="*/ 105 w 134"/>
                <a:gd name="T103" fmla="*/ 11 h 133"/>
                <a:gd name="T104" fmla="*/ 114 w 134"/>
                <a:gd name="T105" fmla="*/ 20 h 133"/>
                <a:gd name="T106" fmla="*/ 119 w 134"/>
                <a:gd name="T107" fmla="*/ 25 h 133"/>
                <a:gd name="T108" fmla="*/ 123 w 134"/>
                <a:gd name="T109" fmla="*/ 30 h 133"/>
                <a:gd name="T110" fmla="*/ 127 w 134"/>
                <a:gd name="T111" fmla="*/ 35 h 133"/>
                <a:gd name="T112" fmla="*/ 129 w 134"/>
                <a:gd name="T113" fmla="*/ 41 h 133"/>
                <a:gd name="T114" fmla="*/ 132 w 134"/>
                <a:gd name="T115" fmla="*/ 47 h 133"/>
                <a:gd name="T116" fmla="*/ 133 w 134"/>
                <a:gd name="T117" fmla="*/ 53 h 133"/>
                <a:gd name="T118" fmla="*/ 134 w 134"/>
                <a:gd name="T119" fmla="*/ 59 h 133"/>
                <a:gd name="T120" fmla="*/ 134 w 134"/>
                <a:gd name="T121" fmla="*/ 6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33">
                  <a:moveTo>
                    <a:pt x="134" y="65"/>
                  </a:moveTo>
                  <a:lnTo>
                    <a:pt x="134" y="73"/>
                  </a:lnTo>
                  <a:lnTo>
                    <a:pt x="133" y="80"/>
                  </a:lnTo>
                  <a:lnTo>
                    <a:pt x="132" y="86"/>
                  </a:lnTo>
                  <a:lnTo>
                    <a:pt x="129" y="92"/>
                  </a:lnTo>
                  <a:lnTo>
                    <a:pt x="127" y="99"/>
                  </a:lnTo>
                  <a:lnTo>
                    <a:pt x="123" y="103"/>
                  </a:lnTo>
                  <a:lnTo>
                    <a:pt x="119" y="110"/>
                  </a:lnTo>
                  <a:lnTo>
                    <a:pt x="114" y="115"/>
                  </a:lnTo>
                  <a:lnTo>
                    <a:pt x="110" y="118"/>
                  </a:lnTo>
                  <a:lnTo>
                    <a:pt x="105" y="122"/>
                  </a:lnTo>
                  <a:lnTo>
                    <a:pt x="100" y="126"/>
                  </a:lnTo>
                  <a:lnTo>
                    <a:pt x="94" y="128"/>
                  </a:lnTo>
                  <a:lnTo>
                    <a:pt x="87" y="131"/>
                  </a:lnTo>
                  <a:lnTo>
                    <a:pt x="81" y="132"/>
                  </a:lnTo>
                  <a:lnTo>
                    <a:pt x="74" y="133"/>
                  </a:lnTo>
                  <a:lnTo>
                    <a:pt x="68" y="133"/>
                  </a:lnTo>
                  <a:lnTo>
                    <a:pt x="60" y="133"/>
                  </a:lnTo>
                  <a:lnTo>
                    <a:pt x="54" y="132"/>
                  </a:lnTo>
                  <a:lnTo>
                    <a:pt x="47" y="131"/>
                  </a:lnTo>
                  <a:lnTo>
                    <a:pt x="41" y="128"/>
                  </a:lnTo>
                  <a:lnTo>
                    <a:pt x="36" y="126"/>
                  </a:lnTo>
                  <a:lnTo>
                    <a:pt x="30" y="122"/>
                  </a:lnTo>
                  <a:lnTo>
                    <a:pt x="25" y="118"/>
                  </a:lnTo>
                  <a:lnTo>
                    <a:pt x="20" y="115"/>
                  </a:lnTo>
                  <a:lnTo>
                    <a:pt x="16" y="110"/>
                  </a:lnTo>
                  <a:lnTo>
                    <a:pt x="11" y="103"/>
                  </a:lnTo>
                  <a:lnTo>
                    <a:pt x="9" y="99"/>
                  </a:lnTo>
                  <a:lnTo>
                    <a:pt x="5" y="92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0" y="59"/>
                  </a:lnTo>
                  <a:lnTo>
                    <a:pt x="1" y="53"/>
                  </a:lnTo>
                  <a:lnTo>
                    <a:pt x="4" y="47"/>
                  </a:lnTo>
                  <a:lnTo>
                    <a:pt x="5" y="41"/>
                  </a:lnTo>
                  <a:lnTo>
                    <a:pt x="9" y="35"/>
                  </a:lnTo>
                  <a:lnTo>
                    <a:pt x="11" y="30"/>
                  </a:lnTo>
                  <a:lnTo>
                    <a:pt x="16" y="25"/>
                  </a:lnTo>
                  <a:lnTo>
                    <a:pt x="20" y="20"/>
                  </a:lnTo>
                  <a:lnTo>
                    <a:pt x="30" y="11"/>
                  </a:lnTo>
                  <a:lnTo>
                    <a:pt x="41" y="5"/>
                  </a:lnTo>
                  <a:lnTo>
                    <a:pt x="47" y="4"/>
                  </a:lnTo>
                  <a:lnTo>
                    <a:pt x="54" y="1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4" y="1"/>
                  </a:lnTo>
                  <a:lnTo>
                    <a:pt x="81" y="1"/>
                  </a:lnTo>
                  <a:lnTo>
                    <a:pt x="87" y="4"/>
                  </a:lnTo>
                  <a:lnTo>
                    <a:pt x="94" y="5"/>
                  </a:lnTo>
                  <a:lnTo>
                    <a:pt x="105" y="11"/>
                  </a:lnTo>
                  <a:lnTo>
                    <a:pt x="114" y="20"/>
                  </a:lnTo>
                  <a:lnTo>
                    <a:pt x="119" y="25"/>
                  </a:lnTo>
                  <a:lnTo>
                    <a:pt x="123" y="30"/>
                  </a:lnTo>
                  <a:lnTo>
                    <a:pt x="127" y="35"/>
                  </a:lnTo>
                  <a:lnTo>
                    <a:pt x="129" y="41"/>
                  </a:lnTo>
                  <a:lnTo>
                    <a:pt x="132" y="47"/>
                  </a:lnTo>
                  <a:lnTo>
                    <a:pt x="133" y="53"/>
                  </a:lnTo>
                  <a:lnTo>
                    <a:pt x="134" y="59"/>
                  </a:lnTo>
                  <a:lnTo>
                    <a:pt x="134" y="65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Freeform 49"/>
            <p:cNvSpPr>
              <a:spLocks noEditPoints="1"/>
            </p:cNvSpPr>
            <p:nvPr/>
          </p:nvSpPr>
          <p:spPr bwMode="auto">
            <a:xfrm>
              <a:off x="1058863" y="3276601"/>
              <a:ext cx="63500" cy="61913"/>
            </a:xfrm>
            <a:custGeom>
              <a:avLst/>
              <a:gdLst>
                <a:gd name="T0" fmla="*/ 67 w 158"/>
                <a:gd name="T1" fmla="*/ 26 h 157"/>
                <a:gd name="T2" fmla="*/ 48 w 158"/>
                <a:gd name="T3" fmla="*/ 34 h 157"/>
                <a:gd name="T4" fmla="*/ 33 w 158"/>
                <a:gd name="T5" fmla="*/ 49 h 157"/>
                <a:gd name="T6" fmla="*/ 26 w 158"/>
                <a:gd name="T7" fmla="*/ 69 h 157"/>
                <a:gd name="T8" fmla="*/ 26 w 158"/>
                <a:gd name="T9" fmla="*/ 91 h 157"/>
                <a:gd name="T10" fmla="*/ 33 w 158"/>
                <a:gd name="T11" fmla="*/ 110 h 157"/>
                <a:gd name="T12" fmla="*/ 48 w 158"/>
                <a:gd name="T13" fmla="*/ 125 h 157"/>
                <a:gd name="T14" fmla="*/ 67 w 158"/>
                <a:gd name="T15" fmla="*/ 134 h 157"/>
                <a:gd name="T16" fmla="*/ 91 w 158"/>
                <a:gd name="T17" fmla="*/ 134 h 157"/>
                <a:gd name="T18" fmla="*/ 110 w 158"/>
                <a:gd name="T19" fmla="*/ 125 h 157"/>
                <a:gd name="T20" fmla="*/ 125 w 158"/>
                <a:gd name="T21" fmla="*/ 110 h 157"/>
                <a:gd name="T22" fmla="*/ 133 w 158"/>
                <a:gd name="T23" fmla="*/ 91 h 157"/>
                <a:gd name="T24" fmla="*/ 133 w 158"/>
                <a:gd name="T25" fmla="*/ 69 h 157"/>
                <a:gd name="T26" fmla="*/ 125 w 158"/>
                <a:gd name="T27" fmla="*/ 49 h 157"/>
                <a:gd name="T28" fmla="*/ 110 w 158"/>
                <a:gd name="T29" fmla="*/ 34 h 157"/>
                <a:gd name="T30" fmla="*/ 91 w 158"/>
                <a:gd name="T31" fmla="*/ 26 h 157"/>
                <a:gd name="T32" fmla="*/ 80 w 158"/>
                <a:gd name="T33" fmla="*/ 157 h 157"/>
                <a:gd name="T34" fmla="*/ 64 w 158"/>
                <a:gd name="T35" fmla="*/ 156 h 157"/>
                <a:gd name="T36" fmla="*/ 49 w 158"/>
                <a:gd name="T37" fmla="*/ 152 h 157"/>
                <a:gd name="T38" fmla="*/ 36 w 158"/>
                <a:gd name="T39" fmla="*/ 145 h 157"/>
                <a:gd name="T40" fmla="*/ 23 w 158"/>
                <a:gd name="T41" fmla="*/ 135 h 157"/>
                <a:gd name="T42" fmla="*/ 13 w 158"/>
                <a:gd name="T43" fmla="*/ 124 h 157"/>
                <a:gd name="T44" fmla="*/ 6 w 158"/>
                <a:gd name="T45" fmla="*/ 110 h 157"/>
                <a:gd name="T46" fmla="*/ 2 w 158"/>
                <a:gd name="T47" fmla="*/ 96 h 157"/>
                <a:gd name="T48" fmla="*/ 0 w 158"/>
                <a:gd name="T49" fmla="*/ 78 h 157"/>
                <a:gd name="T50" fmla="*/ 2 w 158"/>
                <a:gd name="T51" fmla="*/ 64 h 157"/>
                <a:gd name="T52" fmla="*/ 6 w 158"/>
                <a:gd name="T53" fmla="*/ 49 h 157"/>
                <a:gd name="T54" fmla="*/ 13 w 158"/>
                <a:gd name="T55" fmla="*/ 35 h 157"/>
                <a:gd name="T56" fmla="*/ 23 w 158"/>
                <a:gd name="T57" fmla="*/ 23 h 157"/>
                <a:gd name="T58" fmla="*/ 36 w 158"/>
                <a:gd name="T59" fmla="*/ 13 h 157"/>
                <a:gd name="T60" fmla="*/ 49 w 158"/>
                <a:gd name="T61" fmla="*/ 6 h 157"/>
                <a:gd name="T62" fmla="*/ 64 w 158"/>
                <a:gd name="T63" fmla="*/ 2 h 157"/>
                <a:gd name="T64" fmla="*/ 80 w 158"/>
                <a:gd name="T65" fmla="*/ 0 h 157"/>
                <a:gd name="T66" fmla="*/ 94 w 158"/>
                <a:gd name="T67" fmla="*/ 2 h 157"/>
                <a:gd name="T68" fmla="*/ 109 w 158"/>
                <a:gd name="T69" fmla="*/ 6 h 157"/>
                <a:gd name="T70" fmla="*/ 123 w 158"/>
                <a:gd name="T71" fmla="*/ 13 h 157"/>
                <a:gd name="T72" fmla="*/ 135 w 158"/>
                <a:gd name="T73" fmla="*/ 23 h 157"/>
                <a:gd name="T74" fmla="*/ 145 w 158"/>
                <a:gd name="T75" fmla="*/ 35 h 157"/>
                <a:gd name="T76" fmla="*/ 152 w 158"/>
                <a:gd name="T77" fmla="*/ 49 h 157"/>
                <a:gd name="T78" fmla="*/ 157 w 158"/>
                <a:gd name="T79" fmla="*/ 64 h 157"/>
                <a:gd name="T80" fmla="*/ 158 w 158"/>
                <a:gd name="T81" fmla="*/ 78 h 157"/>
                <a:gd name="T82" fmla="*/ 157 w 158"/>
                <a:gd name="T83" fmla="*/ 96 h 157"/>
                <a:gd name="T84" fmla="*/ 152 w 158"/>
                <a:gd name="T85" fmla="*/ 110 h 157"/>
                <a:gd name="T86" fmla="*/ 145 w 158"/>
                <a:gd name="T87" fmla="*/ 124 h 157"/>
                <a:gd name="T88" fmla="*/ 135 w 158"/>
                <a:gd name="T89" fmla="*/ 135 h 157"/>
                <a:gd name="T90" fmla="*/ 123 w 158"/>
                <a:gd name="T91" fmla="*/ 145 h 157"/>
                <a:gd name="T92" fmla="*/ 109 w 158"/>
                <a:gd name="T93" fmla="*/ 152 h 157"/>
                <a:gd name="T94" fmla="*/ 94 w 158"/>
                <a:gd name="T95" fmla="*/ 156 h 157"/>
                <a:gd name="T96" fmla="*/ 80 w 158"/>
                <a:gd name="T97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" h="157">
                  <a:moveTo>
                    <a:pt x="80" y="24"/>
                  </a:moveTo>
                  <a:lnTo>
                    <a:pt x="67" y="26"/>
                  </a:lnTo>
                  <a:lnTo>
                    <a:pt x="58" y="29"/>
                  </a:lnTo>
                  <a:lnTo>
                    <a:pt x="48" y="34"/>
                  </a:lnTo>
                  <a:lnTo>
                    <a:pt x="40" y="40"/>
                  </a:lnTo>
                  <a:lnTo>
                    <a:pt x="33" y="49"/>
                  </a:lnTo>
                  <a:lnTo>
                    <a:pt x="28" y="58"/>
                  </a:lnTo>
                  <a:lnTo>
                    <a:pt x="26" y="69"/>
                  </a:lnTo>
                  <a:lnTo>
                    <a:pt x="24" y="78"/>
                  </a:lnTo>
                  <a:lnTo>
                    <a:pt x="26" y="91"/>
                  </a:lnTo>
                  <a:lnTo>
                    <a:pt x="28" y="101"/>
                  </a:lnTo>
                  <a:lnTo>
                    <a:pt x="33" y="110"/>
                  </a:lnTo>
                  <a:lnTo>
                    <a:pt x="40" y="119"/>
                  </a:lnTo>
                  <a:lnTo>
                    <a:pt x="48" y="125"/>
                  </a:lnTo>
                  <a:lnTo>
                    <a:pt x="58" y="131"/>
                  </a:lnTo>
                  <a:lnTo>
                    <a:pt x="67" y="134"/>
                  </a:lnTo>
                  <a:lnTo>
                    <a:pt x="80" y="135"/>
                  </a:lnTo>
                  <a:lnTo>
                    <a:pt x="91" y="134"/>
                  </a:lnTo>
                  <a:lnTo>
                    <a:pt x="101" y="131"/>
                  </a:lnTo>
                  <a:lnTo>
                    <a:pt x="110" y="125"/>
                  </a:lnTo>
                  <a:lnTo>
                    <a:pt x="118" y="119"/>
                  </a:lnTo>
                  <a:lnTo>
                    <a:pt x="125" y="110"/>
                  </a:lnTo>
                  <a:lnTo>
                    <a:pt x="130" y="101"/>
                  </a:lnTo>
                  <a:lnTo>
                    <a:pt x="133" y="91"/>
                  </a:lnTo>
                  <a:lnTo>
                    <a:pt x="134" y="78"/>
                  </a:lnTo>
                  <a:lnTo>
                    <a:pt x="133" y="69"/>
                  </a:lnTo>
                  <a:lnTo>
                    <a:pt x="130" y="58"/>
                  </a:lnTo>
                  <a:lnTo>
                    <a:pt x="125" y="49"/>
                  </a:lnTo>
                  <a:lnTo>
                    <a:pt x="118" y="40"/>
                  </a:lnTo>
                  <a:lnTo>
                    <a:pt x="110" y="34"/>
                  </a:lnTo>
                  <a:lnTo>
                    <a:pt x="101" y="29"/>
                  </a:lnTo>
                  <a:lnTo>
                    <a:pt x="91" y="26"/>
                  </a:lnTo>
                  <a:lnTo>
                    <a:pt x="80" y="24"/>
                  </a:lnTo>
                  <a:close/>
                  <a:moveTo>
                    <a:pt x="80" y="157"/>
                  </a:moveTo>
                  <a:lnTo>
                    <a:pt x="71" y="157"/>
                  </a:lnTo>
                  <a:lnTo>
                    <a:pt x="64" y="156"/>
                  </a:lnTo>
                  <a:lnTo>
                    <a:pt x="55" y="155"/>
                  </a:lnTo>
                  <a:lnTo>
                    <a:pt x="49" y="152"/>
                  </a:lnTo>
                  <a:lnTo>
                    <a:pt x="42" y="148"/>
                  </a:lnTo>
                  <a:lnTo>
                    <a:pt x="36" y="145"/>
                  </a:lnTo>
                  <a:lnTo>
                    <a:pt x="29" y="140"/>
                  </a:lnTo>
                  <a:lnTo>
                    <a:pt x="23" y="135"/>
                  </a:lnTo>
                  <a:lnTo>
                    <a:pt x="18" y="130"/>
                  </a:lnTo>
                  <a:lnTo>
                    <a:pt x="13" y="124"/>
                  </a:lnTo>
                  <a:lnTo>
                    <a:pt x="10" y="116"/>
                  </a:lnTo>
                  <a:lnTo>
                    <a:pt x="6" y="110"/>
                  </a:lnTo>
                  <a:lnTo>
                    <a:pt x="4" y="103"/>
                  </a:lnTo>
                  <a:lnTo>
                    <a:pt x="2" y="96"/>
                  </a:lnTo>
                  <a:lnTo>
                    <a:pt x="1" y="87"/>
                  </a:lnTo>
                  <a:lnTo>
                    <a:pt x="0" y="78"/>
                  </a:lnTo>
                  <a:lnTo>
                    <a:pt x="1" y="71"/>
                  </a:lnTo>
                  <a:lnTo>
                    <a:pt x="2" y="64"/>
                  </a:lnTo>
                  <a:lnTo>
                    <a:pt x="4" y="56"/>
                  </a:lnTo>
                  <a:lnTo>
                    <a:pt x="6" y="49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6" y="13"/>
                  </a:lnTo>
                  <a:lnTo>
                    <a:pt x="42" y="10"/>
                  </a:lnTo>
                  <a:lnTo>
                    <a:pt x="49" y="6"/>
                  </a:lnTo>
                  <a:lnTo>
                    <a:pt x="55" y="3"/>
                  </a:lnTo>
                  <a:lnTo>
                    <a:pt x="64" y="2"/>
                  </a:lnTo>
                  <a:lnTo>
                    <a:pt x="71" y="1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2"/>
                  </a:lnTo>
                  <a:lnTo>
                    <a:pt x="103" y="3"/>
                  </a:lnTo>
                  <a:lnTo>
                    <a:pt x="109" y="6"/>
                  </a:lnTo>
                  <a:lnTo>
                    <a:pt x="117" y="10"/>
                  </a:lnTo>
                  <a:lnTo>
                    <a:pt x="123" y="13"/>
                  </a:lnTo>
                  <a:lnTo>
                    <a:pt x="129" y="18"/>
                  </a:lnTo>
                  <a:lnTo>
                    <a:pt x="135" y="23"/>
                  </a:lnTo>
                  <a:lnTo>
                    <a:pt x="140" y="29"/>
                  </a:lnTo>
                  <a:lnTo>
                    <a:pt x="145" y="35"/>
                  </a:lnTo>
                  <a:lnTo>
                    <a:pt x="149" y="42"/>
                  </a:lnTo>
                  <a:lnTo>
                    <a:pt x="152" y="49"/>
                  </a:lnTo>
                  <a:lnTo>
                    <a:pt x="155" y="56"/>
                  </a:lnTo>
                  <a:lnTo>
                    <a:pt x="157" y="64"/>
                  </a:lnTo>
                  <a:lnTo>
                    <a:pt x="157" y="71"/>
                  </a:lnTo>
                  <a:lnTo>
                    <a:pt x="158" y="78"/>
                  </a:lnTo>
                  <a:lnTo>
                    <a:pt x="157" y="87"/>
                  </a:lnTo>
                  <a:lnTo>
                    <a:pt x="157" y="96"/>
                  </a:lnTo>
                  <a:lnTo>
                    <a:pt x="155" y="103"/>
                  </a:lnTo>
                  <a:lnTo>
                    <a:pt x="152" y="110"/>
                  </a:lnTo>
                  <a:lnTo>
                    <a:pt x="149" y="116"/>
                  </a:lnTo>
                  <a:lnTo>
                    <a:pt x="145" y="124"/>
                  </a:lnTo>
                  <a:lnTo>
                    <a:pt x="140" y="130"/>
                  </a:lnTo>
                  <a:lnTo>
                    <a:pt x="135" y="135"/>
                  </a:lnTo>
                  <a:lnTo>
                    <a:pt x="129" y="140"/>
                  </a:lnTo>
                  <a:lnTo>
                    <a:pt x="123" y="145"/>
                  </a:lnTo>
                  <a:lnTo>
                    <a:pt x="117" y="148"/>
                  </a:lnTo>
                  <a:lnTo>
                    <a:pt x="109" y="152"/>
                  </a:lnTo>
                  <a:lnTo>
                    <a:pt x="103" y="155"/>
                  </a:lnTo>
                  <a:lnTo>
                    <a:pt x="94" y="156"/>
                  </a:lnTo>
                  <a:lnTo>
                    <a:pt x="87" y="157"/>
                  </a:lnTo>
                  <a:lnTo>
                    <a:pt x="80" y="157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50"/>
            <p:cNvSpPr>
              <a:spLocks/>
            </p:cNvSpPr>
            <p:nvPr/>
          </p:nvSpPr>
          <p:spPr bwMode="auto">
            <a:xfrm>
              <a:off x="1028701" y="3338513"/>
              <a:ext cx="30163" cy="30163"/>
            </a:xfrm>
            <a:custGeom>
              <a:avLst/>
              <a:gdLst>
                <a:gd name="T0" fmla="*/ 74 w 74"/>
                <a:gd name="T1" fmla="*/ 39 h 75"/>
                <a:gd name="T2" fmla="*/ 73 w 74"/>
                <a:gd name="T3" fmla="*/ 47 h 75"/>
                <a:gd name="T4" fmla="*/ 71 w 74"/>
                <a:gd name="T5" fmla="*/ 53 h 75"/>
                <a:gd name="T6" fmla="*/ 68 w 74"/>
                <a:gd name="T7" fmla="*/ 59 h 75"/>
                <a:gd name="T8" fmla="*/ 63 w 74"/>
                <a:gd name="T9" fmla="*/ 64 h 75"/>
                <a:gd name="T10" fmla="*/ 57 w 74"/>
                <a:gd name="T11" fmla="*/ 69 h 75"/>
                <a:gd name="T12" fmla="*/ 51 w 74"/>
                <a:gd name="T13" fmla="*/ 73 h 75"/>
                <a:gd name="T14" fmla="*/ 45 w 74"/>
                <a:gd name="T15" fmla="*/ 74 h 75"/>
                <a:gd name="T16" fmla="*/ 37 w 74"/>
                <a:gd name="T17" fmla="*/ 75 h 75"/>
                <a:gd name="T18" fmla="*/ 30 w 74"/>
                <a:gd name="T19" fmla="*/ 74 h 75"/>
                <a:gd name="T20" fmla="*/ 23 w 74"/>
                <a:gd name="T21" fmla="*/ 73 h 75"/>
                <a:gd name="T22" fmla="*/ 16 w 74"/>
                <a:gd name="T23" fmla="*/ 69 h 75"/>
                <a:gd name="T24" fmla="*/ 12 w 74"/>
                <a:gd name="T25" fmla="*/ 64 h 75"/>
                <a:gd name="T26" fmla="*/ 7 w 74"/>
                <a:gd name="T27" fmla="*/ 59 h 75"/>
                <a:gd name="T28" fmla="*/ 3 w 74"/>
                <a:gd name="T29" fmla="*/ 53 h 75"/>
                <a:gd name="T30" fmla="*/ 0 w 74"/>
                <a:gd name="T31" fmla="*/ 47 h 75"/>
                <a:gd name="T32" fmla="*/ 0 w 74"/>
                <a:gd name="T33" fmla="*/ 39 h 75"/>
                <a:gd name="T34" fmla="*/ 0 w 74"/>
                <a:gd name="T35" fmla="*/ 32 h 75"/>
                <a:gd name="T36" fmla="*/ 3 w 74"/>
                <a:gd name="T37" fmla="*/ 25 h 75"/>
                <a:gd name="T38" fmla="*/ 7 w 74"/>
                <a:gd name="T39" fmla="*/ 18 h 75"/>
                <a:gd name="T40" fmla="*/ 12 w 74"/>
                <a:gd name="T41" fmla="*/ 12 h 75"/>
                <a:gd name="T42" fmla="*/ 16 w 74"/>
                <a:gd name="T43" fmla="*/ 7 h 75"/>
                <a:gd name="T44" fmla="*/ 23 w 74"/>
                <a:gd name="T45" fmla="*/ 4 h 75"/>
                <a:gd name="T46" fmla="*/ 30 w 74"/>
                <a:gd name="T47" fmla="*/ 1 h 75"/>
                <a:gd name="T48" fmla="*/ 37 w 74"/>
                <a:gd name="T49" fmla="*/ 0 h 75"/>
                <a:gd name="T50" fmla="*/ 45 w 74"/>
                <a:gd name="T51" fmla="*/ 1 h 75"/>
                <a:gd name="T52" fmla="*/ 51 w 74"/>
                <a:gd name="T53" fmla="*/ 4 h 75"/>
                <a:gd name="T54" fmla="*/ 57 w 74"/>
                <a:gd name="T55" fmla="*/ 7 h 75"/>
                <a:gd name="T56" fmla="*/ 63 w 74"/>
                <a:gd name="T57" fmla="*/ 12 h 75"/>
                <a:gd name="T58" fmla="*/ 68 w 74"/>
                <a:gd name="T59" fmla="*/ 18 h 75"/>
                <a:gd name="T60" fmla="*/ 71 w 74"/>
                <a:gd name="T61" fmla="*/ 25 h 75"/>
                <a:gd name="T62" fmla="*/ 73 w 74"/>
                <a:gd name="T63" fmla="*/ 32 h 75"/>
                <a:gd name="T64" fmla="*/ 74 w 74"/>
                <a:gd name="T65" fmla="*/ 3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75">
                  <a:moveTo>
                    <a:pt x="74" y="39"/>
                  </a:moveTo>
                  <a:lnTo>
                    <a:pt x="73" y="47"/>
                  </a:lnTo>
                  <a:lnTo>
                    <a:pt x="71" y="53"/>
                  </a:lnTo>
                  <a:lnTo>
                    <a:pt x="68" y="59"/>
                  </a:lnTo>
                  <a:lnTo>
                    <a:pt x="63" y="64"/>
                  </a:lnTo>
                  <a:lnTo>
                    <a:pt x="57" y="69"/>
                  </a:lnTo>
                  <a:lnTo>
                    <a:pt x="51" y="73"/>
                  </a:lnTo>
                  <a:lnTo>
                    <a:pt x="45" y="74"/>
                  </a:lnTo>
                  <a:lnTo>
                    <a:pt x="37" y="75"/>
                  </a:lnTo>
                  <a:lnTo>
                    <a:pt x="30" y="74"/>
                  </a:lnTo>
                  <a:lnTo>
                    <a:pt x="23" y="73"/>
                  </a:lnTo>
                  <a:lnTo>
                    <a:pt x="16" y="69"/>
                  </a:lnTo>
                  <a:lnTo>
                    <a:pt x="12" y="64"/>
                  </a:lnTo>
                  <a:lnTo>
                    <a:pt x="7" y="59"/>
                  </a:lnTo>
                  <a:lnTo>
                    <a:pt x="3" y="53"/>
                  </a:lnTo>
                  <a:lnTo>
                    <a:pt x="0" y="47"/>
                  </a:lnTo>
                  <a:lnTo>
                    <a:pt x="0" y="39"/>
                  </a:lnTo>
                  <a:lnTo>
                    <a:pt x="0" y="32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2" y="12"/>
                  </a:lnTo>
                  <a:lnTo>
                    <a:pt x="16" y="7"/>
                  </a:lnTo>
                  <a:lnTo>
                    <a:pt x="23" y="4"/>
                  </a:lnTo>
                  <a:lnTo>
                    <a:pt x="30" y="1"/>
                  </a:lnTo>
                  <a:lnTo>
                    <a:pt x="37" y="0"/>
                  </a:lnTo>
                  <a:lnTo>
                    <a:pt x="45" y="1"/>
                  </a:lnTo>
                  <a:lnTo>
                    <a:pt x="51" y="4"/>
                  </a:lnTo>
                  <a:lnTo>
                    <a:pt x="57" y="7"/>
                  </a:lnTo>
                  <a:lnTo>
                    <a:pt x="63" y="12"/>
                  </a:lnTo>
                  <a:lnTo>
                    <a:pt x="68" y="18"/>
                  </a:lnTo>
                  <a:lnTo>
                    <a:pt x="71" y="25"/>
                  </a:lnTo>
                  <a:lnTo>
                    <a:pt x="73" y="32"/>
                  </a:lnTo>
                  <a:lnTo>
                    <a:pt x="74" y="39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Freeform 51"/>
            <p:cNvSpPr>
              <a:spLocks noEditPoints="1"/>
            </p:cNvSpPr>
            <p:nvPr/>
          </p:nvSpPr>
          <p:spPr bwMode="auto">
            <a:xfrm>
              <a:off x="1023938" y="3333751"/>
              <a:ext cx="38100" cy="39688"/>
            </a:xfrm>
            <a:custGeom>
              <a:avLst/>
              <a:gdLst>
                <a:gd name="T0" fmla="*/ 44 w 97"/>
                <a:gd name="T1" fmla="*/ 26 h 97"/>
                <a:gd name="T2" fmla="*/ 35 w 97"/>
                <a:gd name="T3" fmla="*/ 29 h 97"/>
                <a:gd name="T4" fmla="*/ 28 w 97"/>
                <a:gd name="T5" fmla="*/ 36 h 97"/>
                <a:gd name="T6" fmla="*/ 25 w 97"/>
                <a:gd name="T7" fmla="*/ 45 h 97"/>
                <a:gd name="T8" fmla="*/ 25 w 97"/>
                <a:gd name="T9" fmla="*/ 55 h 97"/>
                <a:gd name="T10" fmla="*/ 28 w 97"/>
                <a:gd name="T11" fmla="*/ 64 h 97"/>
                <a:gd name="T12" fmla="*/ 35 w 97"/>
                <a:gd name="T13" fmla="*/ 70 h 97"/>
                <a:gd name="T14" fmla="*/ 44 w 97"/>
                <a:gd name="T15" fmla="*/ 74 h 97"/>
                <a:gd name="T16" fmla="*/ 54 w 97"/>
                <a:gd name="T17" fmla="*/ 74 h 97"/>
                <a:gd name="T18" fmla="*/ 63 w 97"/>
                <a:gd name="T19" fmla="*/ 70 h 97"/>
                <a:gd name="T20" fmla="*/ 69 w 97"/>
                <a:gd name="T21" fmla="*/ 64 h 97"/>
                <a:gd name="T22" fmla="*/ 73 w 97"/>
                <a:gd name="T23" fmla="*/ 55 h 97"/>
                <a:gd name="T24" fmla="*/ 73 w 97"/>
                <a:gd name="T25" fmla="*/ 45 h 97"/>
                <a:gd name="T26" fmla="*/ 69 w 97"/>
                <a:gd name="T27" fmla="*/ 36 h 97"/>
                <a:gd name="T28" fmla="*/ 63 w 97"/>
                <a:gd name="T29" fmla="*/ 29 h 97"/>
                <a:gd name="T30" fmla="*/ 54 w 97"/>
                <a:gd name="T31" fmla="*/ 26 h 97"/>
                <a:gd name="T32" fmla="*/ 49 w 97"/>
                <a:gd name="T33" fmla="*/ 97 h 97"/>
                <a:gd name="T34" fmla="*/ 30 w 97"/>
                <a:gd name="T35" fmla="*/ 93 h 97"/>
                <a:gd name="T36" fmla="*/ 15 w 97"/>
                <a:gd name="T37" fmla="*/ 84 h 97"/>
                <a:gd name="T38" fmla="*/ 4 w 97"/>
                <a:gd name="T39" fmla="*/ 69 h 97"/>
                <a:gd name="T40" fmla="*/ 0 w 97"/>
                <a:gd name="T41" fmla="*/ 50 h 97"/>
                <a:gd name="T42" fmla="*/ 4 w 97"/>
                <a:gd name="T43" fmla="*/ 31 h 97"/>
                <a:gd name="T44" fmla="*/ 15 w 97"/>
                <a:gd name="T45" fmla="*/ 15 h 97"/>
                <a:gd name="T46" fmla="*/ 30 w 97"/>
                <a:gd name="T47" fmla="*/ 5 h 97"/>
                <a:gd name="T48" fmla="*/ 49 w 97"/>
                <a:gd name="T49" fmla="*/ 0 h 97"/>
                <a:gd name="T50" fmla="*/ 68 w 97"/>
                <a:gd name="T51" fmla="*/ 5 h 97"/>
                <a:gd name="T52" fmla="*/ 84 w 97"/>
                <a:gd name="T53" fmla="*/ 15 h 97"/>
                <a:gd name="T54" fmla="*/ 94 w 97"/>
                <a:gd name="T55" fmla="*/ 31 h 97"/>
                <a:gd name="T56" fmla="*/ 97 w 97"/>
                <a:gd name="T57" fmla="*/ 50 h 97"/>
                <a:gd name="T58" fmla="*/ 94 w 97"/>
                <a:gd name="T59" fmla="*/ 69 h 97"/>
                <a:gd name="T60" fmla="*/ 84 w 97"/>
                <a:gd name="T61" fmla="*/ 84 h 97"/>
                <a:gd name="T62" fmla="*/ 68 w 97"/>
                <a:gd name="T63" fmla="*/ 93 h 97"/>
                <a:gd name="T64" fmla="*/ 49 w 97"/>
                <a:gd name="T6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7" h="97">
                  <a:moveTo>
                    <a:pt x="49" y="25"/>
                  </a:moveTo>
                  <a:lnTo>
                    <a:pt x="44" y="26"/>
                  </a:lnTo>
                  <a:lnTo>
                    <a:pt x="40" y="27"/>
                  </a:lnTo>
                  <a:lnTo>
                    <a:pt x="35" y="29"/>
                  </a:lnTo>
                  <a:lnTo>
                    <a:pt x="31" y="32"/>
                  </a:lnTo>
                  <a:lnTo>
                    <a:pt x="28" y="36"/>
                  </a:lnTo>
                  <a:lnTo>
                    <a:pt x="26" y="41"/>
                  </a:lnTo>
                  <a:lnTo>
                    <a:pt x="25" y="45"/>
                  </a:lnTo>
                  <a:lnTo>
                    <a:pt x="25" y="50"/>
                  </a:lnTo>
                  <a:lnTo>
                    <a:pt x="25" y="55"/>
                  </a:lnTo>
                  <a:lnTo>
                    <a:pt x="26" y="59"/>
                  </a:lnTo>
                  <a:lnTo>
                    <a:pt x="28" y="64"/>
                  </a:lnTo>
                  <a:lnTo>
                    <a:pt x="31" y="68"/>
                  </a:lnTo>
                  <a:lnTo>
                    <a:pt x="35" y="70"/>
                  </a:lnTo>
                  <a:lnTo>
                    <a:pt x="40" y="72"/>
                  </a:lnTo>
                  <a:lnTo>
                    <a:pt x="44" y="74"/>
                  </a:lnTo>
                  <a:lnTo>
                    <a:pt x="49" y="75"/>
                  </a:lnTo>
                  <a:lnTo>
                    <a:pt x="54" y="74"/>
                  </a:lnTo>
                  <a:lnTo>
                    <a:pt x="59" y="72"/>
                  </a:lnTo>
                  <a:lnTo>
                    <a:pt x="63" y="70"/>
                  </a:lnTo>
                  <a:lnTo>
                    <a:pt x="67" y="68"/>
                  </a:lnTo>
                  <a:lnTo>
                    <a:pt x="69" y="64"/>
                  </a:lnTo>
                  <a:lnTo>
                    <a:pt x="71" y="59"/>
                  </a:lnTo>
                  <a:lnTo>
                    <a:pt x="73" y="55"/>
                  </a:lnTo>
                  <a:lnTo>
                    <a:pt x="74" y="50"/>
                  </a:lnTo>
                  <a:lnTo>
                    <a:pt x="73" y="45"/>
                  </a:lnTo>
                  <a:lnTo>
                    <a:pt x="71" y="41"/>
                  </a:lnTo>
                  <a:lnTo>
                    <a:pt x="69" y="36"/>
                  </a:lnTo>
                  <a:lnTo>
                    <a:pt x="67" y="32"/>
                  </a:lnTo>
                  <a:lnTo>
                    <a:pt x="63" y="29"/>
                  </a:lnTo>
                  <a:lnTo>
                    <a:pt x="59" y="27"/>
                  </a:lnTo>
                  <a:lnTo>
                    <a:pt x="54" y="26"/>
                  </a:lnTo>
                  <a:lnTo>
                    <a:pt x="49" y="25"/>
                  </a:lnTo>
                  <a:close/>
                  <a:moveTo>
                    <a:pt x="49" y="97"/>
                  </a:moveTo>
                  <a:lnTo>
                    <a:pt x="40" y="96"/>
                  </a:lnTo>
                  <a:lnTo>
                    <a:pt x="30" y="93"/>
                  </a:lnTo>
                  <a:lnTo>
                    <a:pt x="22" y="90"/>
                  </a:lnTo>
                  <a:lnTo>
                    <a:pt x="15" y="84"/>
                  </a:lnTo>
                  <a:lnTo>
                    <a:pt x="9" y="76"/>
                  </a:lnTo>
                  <a:lnTo>
                    <a:pt x="4" y="69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1" y="41"/>
                  </a:lnTo>
                  <a:lnTo>
                    <a:pt x="4" y="31"/>
                  </a:lnTo>
                  <a:lnTo>
                    <a:pt x="9" y="22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49" y="0"/>
                  </a:lnTo>
                  <a:lnTo>
                    <a:pt x="59" y="1"/>
                  </a:lnTo>
                  <a:lnTo>
                    <a:pt x="68" y="5"/>
                  </a:lnTo>
                  <a:lnTo>
                    <a:pt x="76" y="9"/>
                  </a:lnTo>
                  <a:lnTo>
                    <a:pt x="84" y="15"/>
                  </a:lnTo>
                  <a:lnTo>
                    <a:pt x="90" y="22"/>
                  </a:lnTo>
                  <a:lnTo>
                    <a:pt x="94" y="31"/>
                  </a:lnTo>
                  <a:lnTo>
                    <a:pt x="97" y="41"/>
                  </a:lnTo>
                  <a:lnTo>
                    <a:pt x="97" y="50"/>
                  </a:lnTo>
                  <a:lnTo>
                    <a:pt x="97" y="60"/>
                  </a:lnTo>
                  <a:lnTo>
                    <a:pt x="94" y="69"/>
                  </a:lnTo>
                  <a:lnTo>
                    <a:pt x="90" y="76"/>
                  </a:lnTo>
                  <a:lnTo>
                    <a:pt x="84" y="84"/>
                  </a:lnTo>
                  <a:lnTo>
                    <a:pt x="76" y="90"/>
                  </a:lnTo>
                  <a:lnTo>
                    <a:pt x="68" y="93"/>
                  </a:lnTo>
                  <a:lnTo>
                    <a:pt x="59" y="96"/>
                  </a:lnTo>
                  <a:lnTo>
                    <a:pt x="49" y="97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87" name="gost_z"/>
          <p:cNvGrpSpPr>
            <a:grpSpLocks noChangeAspect="1"/>
          </p:cNvGrpSpPr>
          <p:nvPr/>
        </p:nvGrpSpPr>
        <p:grpSpPr>
          <a:xfrm>
            <a:off x="919149" y="3842153"/>
            <a:ext cx="525463" cy="249238"/>
            <a:chOff x="7881938" y="4543425"/>
            <a:chExt cx="525463" cy="249238"/>
          </a:xfrm>
        </p:grpSpPr>
        <p:sp>
          <p:nvSpPr>
            <p:cNvPr id="88" name="Freeform 58"/>
            <p:cNvSpPr>
              <a:spLocks/>
            </p:cNvSpPr>
            <p:nvPr/>
          </p:nvSpPr>
          <p:spPr bwMode="auto">
            <a:xfrm>
              <a:off x="7886700" y="4548188"/>
              <a:ext cx="515938" cy="239713"/>
            </a:xfrm>
            <a:custGeom>
              <a:avLst/>
              <a:gdLst>
                <a:gd name="T0" fmla="*/ 1256 w 1300"/>
                <a:gd name="T1" fmla="*/ 603 h 603"/>
                <a:gd name="T2" fmla="*/ 44 w 1300"/>
                <a:gd name="T3" fmla="*/ 603 h 603"/>
                <a:gd name="T4" fmla="*/ 35 w 1300"/>
                <a:gd name="T5" fmla="*/ 603 h 603"/>
                <a:gd name="T6" fmla="*/ 27 w 1300"/>
                <a:gd name="T7" fmla="*/ 600 h 603"/>
                <a:gd name="T8" fmla="*/ 19 w 1300"/>
                <a:gd name="T9" fmla="*/ 596 h 603"/>
                <a:gd name="T10" fmla="*/ 13 w 1300"/>
                <a:gd name="T11" fmla="*/ 591 h 603"/>
                <a:gd name="T12" fmla="*/ 7 w 1300"/>
                <a:gd name="T13" fmla="*/ 584 h 603"/>
                <a:gd name="T14" fmla="*/ 4 w 1300"/>
                <a:gd name="T15" fmla="*/ 577 h 603"/>
                <a:gd name="T16" fmla="*/ 1 w 1300"/>
                <a:gd name="T17" fmla="*/ 570 h 603"/>
                <a:gd name="T18" fmla="*/ 0 w 1300"/>
                <a:gd name="T19" fmla="*/ 560 h 603"/>
                <a:gd name="T20" fmla="*/ 0 w 1300"/>
                <a:gd name="T21" fmla="*/ 43 h 603"/>
                <a:gd name="T22" fmla="*/ 1 w 1300"/>
                <a:gd name="T23" fmla="*/ 35 h 603"/>
                <a:gd name="T24" fmla="*/ 4 w 1300"/>
                <a:gd name="T25" fmla="*/ 26 h 603"/>
                <a:gd name="T26" fmla="*/ 7 w 1300"/>
                <a:gd name="T27" fmla="*/ 19 h 603"/>
                <a:gd name="T28" fmla="*/ 13 w 1300"/>
                <a:gd name="T29" fmla="*/ 12 h 603"/>
                <a:gd name="T30" fmla="*/ 19 w 1300"/>
                <a:gd name="T31" fmla="*/ 7 h 603"/>
                <a:gd name="T32" fmla="*/ 27 w 1300"/>
                <a:gd name="T33" fmla="*/ 3 h 603"/>
                <a:gd name="T34" fmla="*/ 35 w 1300"/>
                <a:gd name="T35" fmla="*/ 1 h 603"/>
                <a:gd name="T36" fmla="*/ 44 w 1300"/>
                <a:gd name="T37" fmla="*/ 0 h 603"/>
                <a:gd name="T38" fmla="*/ 1256 w 1300"/>
                <a:gd name="T39" fmla="*/ 0 h 603"/>
                <a:gd name="T40" fmla="*/ 1265 w 1300"/>
                <a:gd name="T41" fmla="*/ 1 h 603"/>
                <a:gd name="T42" fmla="*/ 1273 w 1300"/>
                <a:gd name="T43" fmla="*/ 3 h 603"/>
                <a:gd name="T44" fmla="*/ 1281 w 1300"/>
                <a:gd name="T45" fmla="*/ 7 h 603"/>
                <a:gd name="T46" fmla="*/ 1288 w 1300"/>
                <a:gd name="T47" fmla="*/ 12 h 603"/>
                <a:gd name="T48" fmla="*/ 1293 w 1300"/>
                <a:gd name="T49" fmla="*/ 19 h 603"/>
                <a:gd name="T50" fmla="*/ 1296 w 1300"/>
                <a:gd name="T51" fmla="*/ 26 h 603"/>
                <a:gd name="T52" fmla="*/ 1299 w 1300"/>
                <a:gd name="T53" fmla="*/ 35 h 603"/>
                <a:gd name="T54" fmla="*/ 1300 w 1300"/>
                <a:gd name="T55" fmla="*/ 43 h 603"/>
                <a:gd name="T56" fmla="*/ 1300 w 1300"/>
                <a:gd name="T57" fmla="*/ 560 h 603"/>
                <a:gd name="T58" fmla="*/ 1299 w 1300"/>
                <a:gd name="T59" fmla="*/ 570 h 603"/>
                <a:gd name="T60" fmla="*/ 1296 w 1300"/>
                <a:gd name="T61" fmla="*/ 577 h 603"/>
                <a:gd name="T62" fmla="*/ 1293 w 1300"/>
                <a:gd name="T63" fmla="*/ 584 h 603"/>
                <a:gd name="T64" fmla="*/ 1288 w 1300"/>
                <a:gd name="T65" fmla="*/ 591 h 603"/>
                <a:gd name="T66" fmla="*/ 1281 w 1300"/>
                <a:gd name="T67" fmla="*/ 596 h 603"/>
                <a:gd name="T68" fmla="*/ 1273 w 1300"/>
                <a:gd name="T69" fmla="*/ 600 h 603"/>
                <a:gd name="T70" fmla="*/ 1265 w 1300"/>
                <a:gd name="T71" fmla="*/ 603 h 603"/>
                <a:gd name="T72" fmla="*/ 1256 w 1300"/>
                <a:gd name="T73" fmla="*/ 60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00" h="603">
                  <a:moveTo>
                    <a:pt x="1256" y="603"/>
                  </a:moveTo>
                  <a:lnTo>
                    <a:pt x="44" y="603"/>
                  </a:lnTo>
                  <a:lnTo>
                    <a:pt x="35" y="603"/>
                  </a:lnTo>
                  <a:lnTo>
                    <a:pt x="27" y="600"/>
                  </a:lnTo>
                  <a:lnTo>
                    <a:pt x="19" y="596"/>
                  </a:lnTo>
                  <a:lnTo>
                    <a:pt x="13" y="591"/>
                  </a:lnTo>
                  <a:lnTo>
                    <a:pt x="7" y="584"/>
                  </a:lnTo>
                  <a:lnTo>
                    <a:pt x="4" y="577"/>
                  </a:lnTo>
                  <a:lnTo>
                    <a:pt x="1" y="570"/>
                  </a:lnTo>
                  <a:lnTo>
                    <a:pt x="0" y="560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4" y="26"/>
                  </a:lnTo>
                  <a:lnTo>
                    <a:pt x="7" y="19"/>
                  </a:lnTo>
                  <a:lnTo>
                    <a:pt x="13" y="12"/>
                  </a:lnTo>
                  <a:lnTo>
                    <a:pt x="19" y="7"/>
                  </a:lnTo>
                  <a:lnTo>
                    <a:pt x="27" y="3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1256" y="0"/>
                  </a:lnTo>
                  <a:lnTo>
                    <a:pt x="1265" y="1"/>
                  </a:lnTo>
                  <a:lnTo>
                    <a:pt x="1273" y="3"/>
                  </a:lnTo>
                  <a:lnTo>
                    <a:pt x="1281" y="7"/>
                  </a:lnTo>
                  <a:lnTo>
                    <a:pt x="1288" y="12"/>
                  </a:lnTo>
                  <a:lnTo>
                    <a:pt x="1293" y="19"/>
                  </a:lnTo>
                  <a:lnTo>
                    <a:pt x="1296" y="26"/>
                  </a:lnTo>
                  <a:lnTo>
                    <a:pt x="1299" y="35"/>
                  </a:lnTo>
                  <a:lnTo>
                    <a:pt x="1300" y="43"/>
                  </a:lnTo>
                  <a:lnTo>
                    <a:pt x="1300" y="560"/>
                  </a:lnTo>
                  <a:lnTo>
                    <a:pt x="1299" y="570"/>
                  </a:lnTo>
                  <a:lnTo>
                    <a:pt x="1296" y="577"/>
                  </a:lnTo>
                  <a:lnTo>
                    <a:pt x="1293" y="584"/>
                  </a:lnTo>
                  <a:lnTo>
                    <a:pt x="1288" y="591"/>
                  </a:lnTo>
                  <a:lnTo>
                    <a:pt x="1281" y="596"/>
                  </a:lnTo>
                  <a:lnTo>
                    <a:pt x="1273" y="600"/>
                  </a:lnTo>
                  <a:lnTo>
                    <a:pt x="1265" y="603"/>
                  </a:lnTo>
                  <a:lnTo>
                    <a:pt x="1256" y="603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" name="Freeform 59"/>
            <p:cNvSpPr>
              <a:spLocks noEditPoints="1"/>
            </p:cNvSpPr>
            <p:nvPr/>
          </p:nvSpPr>
          <p:spPr bwMode="auto">
            <a:xfrm>
              <a:off x="7881938" y="4543425"/>
              <a:ext cx="525463" cy="249238"/>
            </a:xfrm>
            <a:custGeom>
              <a:avLst/>
              <a:gdLst>
                <a:gd name="T0" fmla="*/ 50 w 1324"/>
                <a:gd name="T1" fmla="*/ 25 h 629"/>
                <a:gd name="T2" fmla="*/ 39 w 1324"/>
                <a:gd name="T3" fmla="*/ 29 h 629"/>
                <a:gd name="T4" fmla="*/ 30 w 1324"/>
                <a:gd name="T5" fmla="*/ 38 h 629"/>
                <a:gd name="T6" fmla="*/ 25 w 1324"/>
                <a:gd name="T7" fmla="*/ 50 h 629"/>
                <a:gd name="T8" fmla="*/ 24 w 1324"/>
                <a:gd name="T9" fmla="*/ 573 h 629"/>
                <a:gd name="T10" fmla="*/ 27 w 1324"/>
                <a:gd name="T11" fmla="*/ 585 h 629"/>
                <a:gd name="T12" fmla="*/ 34 w 1324"/>
                <a:gd name="T13" fmla="*/ 596 h 629"/>
                <a:gd name="T14" fmla="*/ 44 w 1324"/>
                <a:gd name="T15" fmla="*/ 602 h 629"/>
                <a:gd name="T16" fmla="*/ 56 w 1324"/>
                <a:gd name="T17" fmla="*/ 604 h 629"/>
                <a:gd name="T18" fmla="*/ 1274 w 1324"/>
                <a:gd name="T19" fmla="*/ 604 h 629"/>
                <a:gd name="T20" fmla="*/ 1287 w 1324"/>
                <a:gd name="T21" fmla="*/ 600 h 629"/>
                <a:gd name="T22" fmla="*/ 1295 w 1324"/>
                <a:gd name="T23" fmla="*/ 591 h 629"/>
                <a:gd name="T24" fmla="*/ 1300 w 1324"/>
                <a:gd name="T25" fmla="*/ 580 h 629"/>
                <a:gd name="T26" fmla="*/ 1300 w 1324"/>
                <a:gd name="T27" fmla="*/ 56 h 629"/>
                <a:gd name="T28" fmla="*/ 1297 w 1324"/>
                <a:gd name="T29" fmla="*/ 44 h 629"/>
                <a:gd name="T30" fmla="*/ 1291 w 1324"/>
                <a:gd name="T31" fmla="*/ 33 h 629"/>
                <a:gd name="T32" fmla="*/ 1281 w 1324"/>
                <a:gd name="T33" fmla="*/ 27 h 629"/>
                <a:gd name="T34" fmla="*/ 1268 w 1324"/>
                <a:gd name="T35" fmla="*/ 25 h 629"/>
                <a:gd name="T36" fmla="*/ 1268 w 1324"/>
                <a:gd name="T37" fmla="*/ 629 h 629"/>
                <a:gd name="T38" fmla="*/ 45 w 1324"/>
                <a:gd name="T39" fmla="*/ 627 h 629"/>
                <a:gd name="T40" fmla="*/ 25 w 1324"/>
                <a:gd name="T41" fmla="*/ 619 h 629"/>
                <a:gd name="T42" fmla="*/ 10 w 1324"/>
                <a:gd name="T43" fmla="*/ 604 h 629"/>
                <a:gd name="T44" fmla="*/ 1 w 1324"/>
                <a:gd name="T45" fmla="*/ 585 h 629"/>
                <a:gd name="T46" fmla="*/ 0 w 1324"/>
                <a:gd name="T47" fmla="*/ 56 h 629"/>
                <a:gd name="T48" fmla="*/ 5 w 1324"/>
                <a:gd name="T49" fmla="*/ 34 h 629"/>
                <a:gd name="T50" fmla="*/ 17 w 1324"/>
                <a:gd name="T51" fmla="*/ 16 h 629"/>
                <a:gd name="T52" fmla="*/ 34 w 1324"/>
                <a:gd name="T53" fmla="*/ 5 h 629"/>
                <a:gd name="T54" fmla="*/ 56 w 1324"/>
                <a:gd name="T55" fmla="*/ 0 h 629"/>
                <a:gd name="T56" fmla="*/ 1279 w 1324"/>
                <a:gd name="T57" fmla="*/ 2 h 629"/>
                <a:gd name="T58" fmla="*/ 1300 w 1324"/>
                <a:gd name="T59" fmla="*/ 10 h 629"/>
                <a:gd name="T60" fmla="*/ 1314 w 1324"/>
                <a:gd name="T61" fmla="*/ 25 h 629"/>
                <a:gd name="T62" fmla="*/ 1323 w 1324"/>
                <a:gd name="T63" fmla="*/ 45 h 629"/>
                <a:gd name="T64" fmla="*/ 1324 w 1324"/>
                <a:gd name="T65" fmla="*/ 573 h 629"/>
                <a:gd name="T66" fmla="*/ 1319 w 1324"/>
                <a:gd name="T67" fmla="*/ 595 h 629"/>
                <a:gd name="T68" fmla="*/ 1308 w 1324"/>
                <a:gd name="T69" fmla="*/ 613 h 629"/>
                <a:gd name="T70" fmla="*/ 1290 w 1324"/>
                <a:gd name="T71" fmla="*/ 625 h 629"/>
                <a:gd name="T72" fmla="*/ 1268 w 1324"/>
                <a:gd name="T73" fmla="*/ 629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24" h="629">
                  <a:moveTo>
                    <a:pt x="56" y="25"/>
                  </a:moveTo>
                  <a:lnTo>
                    <a:pt x="50" y="25"/>
                  </a:lnTo>
                  <a:lnTo>
                    <a:pt x="44" y="27"/>
                  </a:lnTo>
                  <a:lnTo>
                    <a:pt x="39" y="29"/>
                  </a:lnTo>
                  <a:lnTo>
                    <a:pt x="34" y="33"/>
                  </a:lnTo>
                  <a:lnTo>
                    <a:pt x="30" y="38"/>
                  </a:lnTo>
                  <a:lnTo>
                    <a:pt x="27" y="44"/>
                  </a:lnTo>
                  <a:lnTo>
                    <a:pt x="25" y="50"/>
                  </a:lnTo>
                  <a:lnTo>
                    <a:pt x="24" y="56"/>
                  </a:lnTo>
                  <a:lnTo>
                    <a:pt x="24" y="573"/>
                  </a:lnTo>
                  <a:lnTo>
                    <a:pt x="25" y="580"/>
                  </a:lnTo>
                  <a:lnTo>
                    <a:pt x="27" y="585"/>
                  </a:lnTo>
                  <a:lnTo>
                    <a:pt x="30" y="591"/>
                  </a:lnTo>
                  <a:lnTo>
                    <a:pt x="34" y="596"/>
                  </a:lnTo>
                  <a:lnTo>
                    <a:pt x="39" y="600"/>
                  </a:lnTo>
                  <a:lnTo>
                    <a:pt x="44" y="602"/>
                  </a:lnTo>
                  <a:lnTo>
                    <a:pt x="50" y="604"/>
                  </a:lnTo>
                  <a:lnTo>
                    <a:pt x="56" y="604"/>
                  </a:lnTo>
                  <a:lnTo>
                    <a:pt x="1268" y="604"/>
                  </a:lnTo>
                  <a:lnTo>
                    <a:pt x="1274" y="604"/>
                  </a:lnTo>
                  <a:lnTo>
                    <a:pt x="1281" y="602"/>
                  </a:lnTo>
                  <a:lnTo>
                    <a:pt x="1287" y="600"/>
                  </a:lnTo>
                  <a:lnTo>
                    <a:pt x="1291" y="596"/>
                  </a:lnTo>
                  <a:lnTo>
                    <a:pt x="1295" y="591"/>
                  </a:lnTo>
                  <a:lnTo>
                    <a:pt x="1297" y="585"/>
                  </a:lnTo>
                  <a:lnTo>
                    <a:pt x="1300" y="580"/>
                  </a:lnTo>
                  <a:lnTo>
                    <a:pt x="1300" y="573"/>
                  </a:lnTo>
                  <a:lnTo>
                    <a:pt x="1300" y="56"/>
                  </a:lnTo>
                  <a:lnTo>
                    <a:pt x="1300" y="50"/>
                  </a:lnTo>
                  <a:lnTo>
                    <a:pt x="1297" y="44"/>
                  </a:lnTo>
                  <a:lnTo>
                    <a:pt x="1295" y="38"/>
                  </a:lnTo>
                  <a:lnTo>
                    <a:pt x="1291" y="33"/>
                  </a:lnTo>
                  <a:lnTo>
                    <a:pt x="1287" y="29"/>
                  </a:lnTo>
                  <a:lnTo>
                    <a:pt x="1281" y="27"/>
                  </a:lnTo>
                  <a:lnTo>
                    <a:pt x="1274" y="25"/>
                  </a:lnTo>
                  <a:lnTo>
                    <a:pt x="1268" y="25"/>
                  </a:lnTo>
                  <a:lnTo>
                    <a:pt x="56" y="25"/>
                  </a:lnTo>
                  <a:close/>
                  <a:moveTo>
                    <a:pt x="1268" y="629"/>
                  </a:moveTo>
                  <a:lnTo>
                    <a:pt x="56" y="629"/>
                  </a:lnTo>
                  <a:lnTo>
                    <a:pt x="45" y="627"/>
                  </a:lnTo>
                  <a:lnTo>
                    <a:pt x="34" y="625"/>
                  </a:lnTo>
                  <a:lnTo>
                    <a:pt x="25" y="619"/>
                  </a:lnTo>
                  <a:lnTo>
                    <a:pt x="17" y="613"/>
                  </a:lnTo>
                  <a:lnTo>
                    <a:pt x="10" y="604"/>
                  </a:lnTo>
                  <a:lnTo>
                    <a:pt x="5" y="595"/>
                  </a:lnTo>
                  <a:lnTo>
                    <a:pt x="1" y="585"/>
                  </a:lnTo>
                  <a:lnTo>
                    <a:pt x="0" y="573"/>
                  </a:lnTo>
                  <a:lnTo>
                    <a:pt x="0" y="56"/>
                  </a:lnTo>
                  <a:lnTo>
                    <a:pt x="1" y="45"/>
                  </a:lnTo>
                  <a:lnTo>
                    <a:pt x="5" y="34"/>
                  </a:lnTo>
                  <a:lnTo>
                    <a:pt x="10" y="25"/>
                  </a:lnTo>
                  <a:lnTo>
                    <a:pt x="17" y="16"/>
                  </a:lnTo>
                  <a:lnTo>
                    <a:pt x="25" y="10"/>
                  </a:lnTo>
                  <a:lnTo>
                    <a:pt x="34" y="5"/>
                  </a:lnTo>
                  <a:lnTo>
                    <a:pt x="45" y="2"/>
                  </a:lnTo>
                  <a:lnTo>
                    <a:pt x="56" y="0"/>
                  </a:lnTo>
                  <a:lnTo>
                    <a:pt x="1268" y="0"/>
                  </a:lnTo>
                  <a:lnTo>
                    <a:pt x="1279" y="2"/>
                  </a:lnTo>
                  <a:lnTo>
                    <a:pt x="1290" y="5"/>
                  </a:lnTo>
                  <a:lnTo>
                    <a:pt x="1300" y="10"/>
                  </a:lnTo>
                  <a:lnTo>
                    <a:pt x="1308" y="16"/>
                  </a:lnTo>
                  <a:lnTo>
                    <a:pt x="1314" y="25"/>
                  </a:lnTo>
                  <a:lnTo>
                    <a:pt x="1319" y="34"/>
                  </a:lnTo>
                  <a:lnTo>
                    <a:pt x="1323" y="45"/>
                  </a:lnTo>
                  <a:lnTo>
                    <a:pt x="1324" y="56"/>
                  </a:lnTo>
                  <a:lnTo>
                    <a:pt x="1324" y="573"/>
                  </a:lnTo>
                  <a:lnTo>
                    <a:pt x="1323" y="585"/>
                  </a:lnTo>
                  <a:lnTo>
                    <a:pt x="1319" y="595"/>
                  </a:lnTo>
                  <a:lnTo>
                    <a:pt x="1314" y="604"/>
                  </a:lnTo>
                  <a:lnTo>
                    <a:pt x="1308" y="613"/>
                  </a:lnTo>
                  <a:lnTo>
                    <a:pt x="1300" y="619"/>
                  </a:lnTo>
                  <a:lnTo>
                    <a:pt x="1290" y="625"/>
                  </a:lnTo>
                  <a:lnTo>
                    <a:pt x="1279" y="627"/>
                  </a:lnTo>
                  <a:lnTo>
                    <a:pt x="1268" y="62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" name="Freeform 60"/>
            <p:cNvSpPr>
              <a:spLocks noEditPoints="1"/>
            </p:cNvSpPr>
            <p:nvPr/>
          </p:nvSpPr>
          <p:spPr bwMode="auto">
            <a:xfrm>
              <a:off x="7962900" y="4605338"/>
              <a:ext cx="371475" cy="122238"/>
            </a:xfrm>
            <a:custGeom>
              <a:avLst/>
              <a:gdLst>
                <a:gd name="T0" fmla="*/ 13 w 936"/>
                <a:gd name="T1" fmla="*/ 3 h 307"/>
                <a:gd name="T2" fmla="*/ 180 w 936"/>
                <a:gd name="T3" fmla="*/ 14 h 307"/>
                <a:gd name="T4" fmla="*/ 23 w 936"/>
                <a:gd name="T5" fmla="*/ 23 h 307"/>
                <a:gd name="T6" fmla="*/ 17 w 936"/>
                <a:gd name="T7" fmla="*/ 305 h 307"/>
                <a:gd name="T8" fmla="*/ 5 w 936"/>
                <a:gd name="T9" fmla="*/ 303 h 307"/>
                <a:gd name="T10" fmla="*/ 822 w 936"/>
                <a:gd name="T11" fmla="*/ 23 h 307"/>
                <a:gd name="T12" fmla="*/ 730 w 936"/>
                <a:gd name="T13" fmla="*/ 14 h 307"/>
                <a:gd name="T14" fmla="*/ 921 w 936"/>
                <a:gd name="T15" fmla="*/ 3 h 307"/>
                <a:gd name="T16" fmla="*/ 935 w 936"/>
                <a:gd name="T17" fmla="*/ 17 h 307"/>
                <a:gd name="T18" fmla="*/ 845 w 936"/>
                <a:gd name="T19" fmla="*/ 290 h 307"/>
                <a:gd name="T20" fmla="*/ 835 w 936"/>
                <a:gd name="T21" fmla="*/ 306 h 307"/>
                <a:gd name="T22" fmla="*/ 824 w 936"/>
                <a:gd name="T23" fmla="*/ 301 h 307"/>
                <a:gd name="T24" fmla="*/ 527 w 936"/>
                <a:gd name="T25" fmla="*/ 23 h 307"/>
                <a:gd name="T26" fmla="*/ 572 w 936"/>
                <a:gd name="T27" fmla="*/ 3 h 307"/>
                <a:gd name="T28" fmla="*/ 632 w 936"/>
                <a:gd name="T29" fmla="*/ 8 h 307"/>
                <a:gd name="T30" fmla="*/ 675 w 936"/>
                <a:gd name="T31" fmla="*/ 40 h 307"/>
                <a:gd name="T32" fmla="*/ 692 w 936"/>
                <a:gd name="T33" fmla="*/ 85 h 307"/>
                <a:gd name="T34" fmla="*/ 674 w 936"/>
                <a:gd name="T35" fmla="*/ 88 h 307"/>
                <a:gd name="T36" fmla="*/ 650 w 936"/>
                <a:gd name="T37" fmla="*/ 45 h 307"/>
                <a:gd name="T38" fmla="*/ 593 w 936"/>
                <a:gd name="T39" fmla="*/ 21 h 307"/>
                <a:gd name="T40" fmla="*/ 555 w 936"/>
                <a:gd name="T41" fmla="*/ 29 h 307"/>
                <a:gd name="T42" fmla="*/ 523 w 936"/>
                <a:gd name="T43" fmla="*/ 62 h 307"/>
                <a:gd name="T44" fmla="*/ 512 w 936"/>
                <a:gd name="T45" fmla="*/ 132 h 307"/>
                <a:gd name="T46" fmla="*/ 516 w 936"/>
                <a:gd name="T47" fmla="*/ 224 h 307"/>
                <a:gd name="T48" fmla="*/ 541 w 936"/>
                <a:gd name="T49" fmla="*/ 268 h 307"/>
                <a:gd name="T50" fmla="*/ 576 w 936"/>
                <a:gd name="T51" fmla="*/ 285 h 307"/>
                <a:gd name="T52" fmla="*/ 631 w 936"/>
                <a:gd name="T53" fmla="*/ 277 h 307"/>
                <a:gd name="T54" fmla="*/ 669 w 936"/>
                <a:gd name="T55" fmla="*/ 229 h 307"/>
                <a:gd name="T56" fmla="*/ 686 w 936"/>
                <a:gd name="T57" fmla="*/ 216 h 307"/>
                <a:gd name="T58" fmla="*/ 688 w 936"/>
                <a:gd name="T59" fmla="*/ 245 h 307"/>
                <a:gd name="T60" fmla="*/ 653 w 936"/>
                <a:gd name="T61" fmla="*/ 289 h 307"/>
                <a:gd name="T62" fmla="*/ 593 w 936"/>
                <a:gd name="T63" fmla="*/ 307 h 307"/>
                <a:gd name="T64" fmla="*/ 543 w 936"/>
                <a:gd name="T65" fmla="*/ 295 h 307"/>
                <a:gd name="T66" fmla="*/ 503 w 936"/>
                <a:gd name="T67" fmla="*/ 256 h 307"/>
                <a:gd name="T68" fmla="*/ 489 w 936"/>
                <a:gd name="T69" fmla="*/ 179 h 307"/>
                <a:gd name="T70" fmla="*/ 494 w 936"/>
                <a:gd name="T71" fmla="*/ 74 h 307"/>
                <a:gd name="T72" fmla="*/ 398 w 936"/>
                <a:gd name="T73" fmla="*/ 154 h 307"/>
                <a:gd name="T74" fmla="*/ 390 w 936"/>
                <a:gd name="T75" fmla="*/ 72 h 307"/>
                <a:gd name="T76" fmla="*/ 361 w 936"/>
                <a:gd name="T77" fmla="*/ 34 h 307"/>
                <a:gd name="T78" fmla="*/ 325 w 936"/>
                <a:gd name="T79" fmla="*/ 21 h 307"/>
                <a:gd name="T80" fmla="*/ 286 w 936"/>
                <a:gd name="T81" fmla="*/ 27 h 307"/>
                <a:gd name="T82" fmla="*/ 253 w 936"/>
                <a:gd name="T83" fmla="*/ 52 h 307"/>
                <a:gd name="T84" fmla="*/ 237 w 936"/>
                <a:gd name="T85" fmla="*/ 113 h 307"/>
                <a:gd name="T86" fmla="*/ 238 w 936"/>
                <a:gd name="T87" fmla="*/ 210 h 307"/>
                <a:gd name="T88" fmla="*/ 260 w 936"/>
                <a:gd name="T89" fmla="*/ 264 h 307"/>
                <a:gd name="T90" fmla="*/ 294 w 936"/>
                <a:gd name="T91" fmla="*/ 283 h 307"/>
                <a:gd name="T92" fmla="*/ 332 w 936"/>
                <a:gd name="T93" fmla="*/ 285 h 307"/>
                <a:gd name="T94" fmla="*/ 367 w 936"/>
                <a:gd name="T95" fmla="*/ 268 h 307"/>
                <a:gd name="T96" fmla="*/ 394 w 936"/>
                <a:gd name="T97" fmla="*/ 224 h 307"/>
                <a:gd name="T98" fmla="*/ 317 w 936"/>
                <a:gd name="T99" fmla="*/ 307 h 307"/>
                <a:gd name="T100" fmla="*/ 267 w 936"/>
                <a:gd name="T101" fmla="*/ 295 h 307"/>
                <a:gd name="T102" fmla="*/ 227 w 936"/>
                <a:gd name="T103" fmla="*/ 256 h 307"/>
                <a:gd name="T104" fmla="*/ 214 w 936"/>
                <a:gd name="T105" fmla="*/ 179 h 307"/>
                <a:gd name="T106" fmla="*/ 219 w 936"/>
                <a:gd name="T107" fmla="*/ 74 h 307"/>
                <a:gd name="T108" fmla="*/ 250 w 936"/>
                <a:gd name="T109" fmla="*/ 23 h 307"/>
                <a:gd name="T110" fmla="*/ 295 w 936"/>
                <a:gd name="T111" fmla="*/ 3 h 307"/>
                <a:gd name="T112" fmla="*/ 348 w 936"/>
                <a:gd name="T113" fmla="*/ 5 h 307"/>
                <a:gd name="T114" fmla="*/ 390 w 936"/>
                <a:gd name="T115" fmla="*/ 29 h 307"/>
                <a:gd name="T116" fmla="*/ 418 w 936"/>
                <a:gd name="T117" fmla="*/ 90 h 307"/>
                <a:gd name="T118" fmla="*/ 419 w 936"/>
                <a:gd name="T119" fmla="*/ 200 h 307"/>
                <a:gd name="T120" fmla="*/ 399 w 936"/>
                <a:gd name="T121" fmla="*/ 267 h 307"/>
                <a:gd name="T122" fmla="*/ 358 w 936"/>
                <a:gd name="T123" fmla="*/ 299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6" h="307">
                  <a:moveTo>
                    <a:pt x="0" y="16"/>
                  </a:moveTo>
                  <a:lnTo>
                    <a:pt x="1" y="11"/>
                  </a:lnTo>
                  <a:lnTo>
                    <a:pt x="4" y="6"/>
                  </a:lnTo>
                  <a:lnTo>
                    <a:pt x="9" y="4"/>
                  </a:lnTo>
                  <a:lnTo>
                    <a:pt x="13" y="3"/>
                  </a:lnTo>
                  <a:lnTo>
                    <a:pt x="166" y="3"/>
                  </a:lnTo>
                  <a:lnTo>
                    <a:pt x="173" y="4"/>
                  </a:lnTo>
                  <a:lnTo>
                    <a:pt x="177" y="5"/>
                  </a:lnTo>
                  <a:lnTo>
                    <a:pt x="180" y="9"/>
                  </a:lnTo>
                  <a:lnTo>
                    <a:pt x="180" y="14"/>
                  </a:lnTo>
                  <a:lnTo>
                    <a:pt x="180" y="17"/>
                  </a:lnTo>
                  <a:lnTo>
                    <a:pt x="177" y="21"/>
                  </a:lnTo>
                  <a:lnTo>
                    <a:pt x="173" y="23"/>
                  </a:lnTo>
                  <a:lnTo>
                    <a:pt x="166" y="23"/>
                  </a:lnTo>
                  <a:lnTo>
                    <a:pt x="23" y="23"/>
                  </a:lnTo>
                  <a:lnTo>
                    <a:pt x="23" y="290"/>
                  </a:lnTo>
                  <a:lnTo>
                    <a:pt x="23" y="297"/>
                  </a:lnTo>
                  <a:lnTo>
                    <a:pt x="21" y="301"/>
                  </a:lnTo>
                  <a:lnTo>
                    <a:pt x="20" y="303"/>
                  </a:lnTo>
                  <a:lnTo>
                    <a:pt x="17" y="305"/>
                  </a:lnTo>
                  <a:lnTo>
                    <a:pt x="15" y="306"/>
                  </a:lnTo>
                  <a:lnTo>
                    <a:pt x="12" y="306"/>
                  </a:lnTo>
                  <a:lnTo>
                    <a:pt x="9" y="306"/>
                  </a:lnTo>
                  <a:lnTo>
                    <a:pt x="6" y="305"/>
                  </a:lnTo>
                  <a:lnTo>
                    <a:pt x="5" y="303"/>
                  </a:lnTo>
                  <a:lnTo>
                    <a:pt x="3" y="301"/>
                  </a:lnTo>
                  <a:lnTo>
                    <a:pt x="1" y="297"/>
                  </a:lnTo>
                  <a:lnTo>
                    <a:pt x="0" y="290"/>
                  </a:lnTo>
                  <a:lnTo>
                    <a:pt x="0" y="16"/>
                  </a:lnTo>
                  <a:close/>
                  <a:moveTo>
                    <a:pt x="822" y="23"/>
                  </a:moveTo>
                  <a:lnTo>
                    <a:pt x="744" y="23"/>
                  </a:lnTo>
                  <a:lnTo>
                    <a:pt x="738" y="23"/>
                  </a:lnTo>
                  <a:lnTo>
                    <a:pt x="733" y="21"/>
                  </a:lnTo>
                  <a:lnTo>
                    <a:pt x="731" y="17"/>
                  </a:lnTo>
                  <a:lnTo>
                    <a:pt x="730" y="14"/>
                  </a:lnTo>
                  <a:lnTo>
                    <a:pt x="731" y="9"/>
                  </a:lnTo>
                  <a:lnTo>
                    <a:pt x="733" y="5"/>
                  </a:lnTo>
                  <a:lnTo>
                    <a:pt x="738" y="4"/>
                  </a:lnTo>
                  <a:lnTo>
                    <a:pt x="744" y="3"/>
                  </a:lnTo>
                  <a:lnTo>
                    <a:pt x="921" y="3"/>
                  </a:lnTo>
                  <a:lnTo>
                    <a:pt x="928" y="4"/>
                  </a:lnTo>
                  <a:lnTo>
                    <a:pt x="932" y="5"/>
                  </a:lnTo>
                  <a:lnTo>
                    <a:pt x="935" y="9"/>
                  </a:lnTo>
                  <a:lnTo>
                    <a:pt x="936" y="14"/>
                  </a:lnTo>
                  <a:lnTo>
                    <a:pt x="935" y="17"/>
                  </a:lnTo>
                  <a:lnTo>
                    <a:pt x="932" y="21"/>
                  </a:lnTo>
                  <a:lnTo>
                    <a:pt x="928" y="23"/>
                  </a:lnTo>
                  <a:lnTo>
                    <a:pt x="921" y="23"/>
                  </a:lnTo>
                  <a:lnTo>
                    <a:pt x="845" y="23"/>
                  </a:lnTo>
                  <a:lnTo>
                    <a:pt x="845" y="290"/>
                  </a:lnTo>
                  <a:lnTo>
                    <a:pt x="843" y="297"/>
                  </a:lnTo>
                  <a:lnTo>
                    <a:pt x="841" y="301"/>
                  </a:lnTo>
                  <a:lnTo>
                    <a:pt x="840" y="303"/>
                  </a:lnTo>
                  <a:lnTo>
                    <a:pt x="837" y="305"/>
                  </a:lnTo>
                  <a:lnTo>
                    <a:pt x="835" y="306"/>
                  </a:lnTo>
                  <a:lnTo>
                    <a:pt x="832" y="306"/>
                  </a:lnTo>
                  <a:lnTo>
                    <a:pt x="830" y="306"/>
                  </a:lnTo>
                  <a:lnTo>
                    <a:pt x="828" y="305"/>
                  </a:lnTo>
                  <a:lnTo>
                    <a:pt x="825" y="303"/>
                  </a:lnTo>
                  <a:lnTo>
                    <a:pt x="824" y="301"/>
                  </a:lnTo>
                  <a:lnTo>
                    <a:pt x="822" y="297"/>
                  </a:lnTo>
                  <a:lnTo>
                    <a:pt x="822" y="290"/>
                  </a:lnTo>
                  <a:lnTo>
                    <a:pt x="822" y="23"/>
                  </a:lnTo>
                  <a:close/>
                  <a:moveTo>
                    <a:pt x="520" y="29"/>
                  </a:moveTo>
                  <a:lnTo>
                    <a:pt x="527" y="23"/>
                  </a:lnTo>
                  <a:lnTo>
                    <a:pt x="534" y="17"/>
                  </a:lnTo>
                  <a:lnTo>
                    <a:pt x="543" y="12"/>
                  </a:lnTo>
                  <a:lnTo>
                    <a:pt x="551" y="9"/>
                  </a:lnTo>
                  <a:lnTo>
                    <a:pt x="561" y="5"/>
                  </a:lnTo>
                  <a:lnTo>
                    <a:pt x="572" y="3"/>
                  </a:lnTo>
                  <a:lnTo>
                    <a:pt x="581" y="1"/>
                  </a:lnTo>
                  <a:lnTo>
                    <a:pt x="593" y="0"/>
                  </a:lnTo>
                  <a:lnTo>
                    <a:pt x="607" y="1"/>
                  </a:lnTo>
                  <a:lnTo>
                    <a:pt x="620" y="4"/>
                  </a:lnTo>
                  <a:lnTo>
                    <a:pt x="632" y="8"/>
                  </a:lnTo>
                  <a:lnTo>
                    <a:pt x="643" y="12"/>
                  </a:lnTo>
                  <a:lnTo>
                    <a:pt x="653" y="17"/>
                  </a:lnTo>
                  <a:lnTo>
                    <a:pt x="661" y="24"/>
                  </a:lnTo>
                  <a:lnTo>
                    <a:pt x="668" y="32"/>
                  </a:lnTo>
                  <a:lnTo>
                    <a:pt x="675" y="40"/>
                  </a:lnTo>
                  <a:lnTo>
                    <a:pt x="683" y="51"/>
                  </a:lnTo>
                  <a:lnTo>
                    <a:pt x="688" y="62"/>
                  </a:lnTo>
                  <a:lnTo>
                    <a:pt x="691" y="73"/>
                  </a:lnTo>
                  <a:lnTo>
                    <a:pt x="692" y="80"/>
                  </a:lnTo>
                  <a:lnTo>
                    <a:pt x="692" y="85"/>
                  </a:lnTo>
                  <a:lnTo>
                    <a:pt x="690" y="88"/>
                  </a:lnTo>
                  <a:lnTo>
                    <a:pt x="686" y="91"/>
                  </a:lnTo>
                  <a:lnTo>
                    <a:pt x="683" y="92"/>
                  </a:lnTo>
                  <a:lnTo>
                    <a:pt x="678" y="91"/>
                  </a:lnTo>
                  <a:lnTo>
                    <a:pt x="674" y="88"/>
                  </a:lnTo>
                  <a:lnTo>
                    <a:pt x="672" y="85"/>
                  </a:lnTo>
                  <a:lnTo>
                    <a:pt x="669" y="78"/>
                  </a:lnTo>
                  <a:lnTo>
                    <a:pt x="665" y="66"/>
                  </a:lnTo>
                  <a:lnTo>
                    <a:pt x="659" y="55"/>
                  </a:lnTo>
                  <a:lnTo>
                    <a:pt x="650" y="45"/>
                  </a:lnTo>
                  <a:lnTo>
                    <a:pt x="642" y="37"/>
                  </a:lnTo>
                  <a:lnTo>
                    <a:pt x="631" y="29"/>
                  </a:lnTo>
                  <a:lnTo>
                    <a:pt x="619" y="24"/>
                  </a:lnTo>
                  <a:lnTo>
                    <a:pt x="607" y="22"/>
                  </a:lnTo>
                  <a:lnTo>
                    <a:pt x="593" y="21"/>
                  </a:lnTo>
                  <a:lnTo>
                    <a:pt x="585" y="21"/>
                  </a:lnTo>
                  <a:lnTo>
                    <a:pt x="576" y="22"/>
                  </a:lnTo>
                  <a:lnTo>
                    <a:pt x="569" y="24"/>
                  </a:lnTo>
                  <a:lnTo>
                    <a:pt x="562" y="27"/>
                  </a:lnTo>
                  <a:lnTo>
                    <a:pt x="555" y="29"/>
                  </a:lnTo>
                  <a:lnTo>
                    <a:pt x="549" y="34"/>
                  </a:lnTo>
                  <a:lnTo>
                    <a:pt x="541" y="39"/>
                  </a:lnTo>
                  <a:lnTo>
                    <a:pt x="535" y="44"/>
                  </a:lnTo>
                  <a:lnTo>
                    <a:pt x="528" y="52"/>
                  </a:lnTo>
                  <a:lnTo>
                    <a:pt x="523" y="62"/>
                  </a:lnTo>
                  <a:lnTo>
                    <a:pt x="518" y="72"/>
                  </a:lnTo>
                  <a:lnTo>
                    <a:pt x="516" y="84"/>
                  </a:lnTo>
                  <a:lnTo>
                    <a:pt x="514" y="97"/>
                  </a:lnTo>
                  <a:lnTo>
                    <a:pt x="514" y="113"/>
                  </a:lnTo>
                  <a:lnTo>
                    <a:pt x="512" y="132"/>
                  </a:lnTo>
                  <a:lnTo>
                    <a:pt x="512" y="154"/>
                  </a:lnTo>
                  <a:lnTo>
                    <a:pt x="512" y="175"/>
                  </a:lnTo>
                  <a:lnTo>
                    <a:pt x="514" y="195"/>
                  </a:lnTo>
                  <a:lnTo>
                    <a:pt x="514" y="210"/>
                  </a:lnTo>
                  <a:lnTo>
                    <a:pt x="516" y="224"/>
                  </a:lnTo>
                  <a:lnTo>
                    <a:pt x="518" y="236"/>
                  </a:lnTo>
                  <a:lnTo>
                    <a:pt x="523" y="245"/>
                  </a:lnTo>
                  <a:lnTo>
                    <a:pt x="528" y="255"/>
                  </a:lnTo>
                  <a:lnTo>
                    <a:pt x="535" y="264"/>
                  </a:lnTo>
                  <a:lnTo>
                    <a:pt x="541" y="268"/>
                  </a:lnTo>
                  <a:lnTo>
                    <a:pt x="549" y="273"/>
                  </a:lnTo>
                  <a:lnTo>
                    <a:pt x="555" y="277"/>
                  </a:lnTo>
                  <a:lnTo>
                    <a:pt x="562" y="281"/>
                  </a:lnTo>
                  <a:lnTo>
                    <a:pt x="569" y="283"/>
                  </a:lnTo>
                  <a:lnTo>
                    <a:pt x="576" y="285"/>
                  </a:lnTo>
                  <a:lnTo>
                    <a:pt x="585" y="285"/>
                  </a:lnTo>
                  <a:lnTo>
                    <a:pt x="593" y="287"/>
                  </a:lnTo>
                  <a:lnTo>
                    <a:pt x="607" y="285"/>
                  </a:lnTo>
                  <a:lnTo>
                    <a:pt x="619" y="282"/>
                  </a:lnTo>
                  <a:lnTo>
                    <a:pt x="631" y="277"/>
                  </a:lnTo>
                  <a:lnTo>
                    <a:pt x="642" y="271"/>
                  </a:lnTo>
                  <a:lnTo>
                    <a:pt x="650" y="262"/>
                  </a:lnTo>
                  <a:lnTo>
                    <a:pt x="659" y="253"/>
                  </a:lnTo>
                  <a:lnTo>
                    <a:pt x="665" y="242"/>
                  </a:lnTo>
                  <a:lnTo>
                    <a:pt x="669" y="229"/>
                  </a:lnTo>
                  <a:lnTo>
                    <a:pt x="672" y="223"/>
                  </a:lnTo>
                  <a:lnTo>
                    <a:pt x="674" y="218"/>
                  </a:lnTo>
                  <a:lnTo>
                    <a:pt x="678" y="216"/>
                  </a:lnTo>
                  <a:lnTo>
                    <a:pt x="683" y="215"/>
                  </a:lnTo>
                  <a:lnTo>
                    <a:pt x="686" y="216"/>
                  </a:lnTo>
                  <a:lnTo>
                    <a:pt x="690" y="218"/>
                  </a:lnTo>
                  <a:lnTo>
                    <a:pt x="692" y="221"/>
                  </a:lnTo>
                  <a:lnTo>
                    <a:pt x="692" y="226"/>
                  </a:lnTo>
                  <a:lnTo>
                    <a:pt x="691" y="235"/>
                  </a:lnTo>
                  <a:lnTo>
                    <a:pt x="688" y="245"/>
                  </a:lnTo>
                  <a:lnTo>
                    <a:pt x="683" y="256"/>
                  </a:lnTo>
                  <a:lnTo>
                    <a:pt x="675" y="267"/>
                  </a:lnTo>
                  <a:lnTo>
                    <a:pt x="668" y="276"/>
                  </a:lnTo>
                  <a:lnTo>
                    <a:pt x="661" y="283"/>
                  </a:lnTo>
                  <a:lnTo>
                    <a:pt x="653" y="289"/>
                  </a:lnTo>
                  <a:lnTo>
                    <a:pt x="643" y="295"/>
                  </a:lnTo>
                  <a:lnTo>
                    <a:pt x="632" y="300"/>
                  </a:lnTo>
                  <a:lnTo>
                    <a:pt x="620" y="303"/>
                  </a:lnTo>
                  <a:lnTo>
                    <a:pt x="607" y="306"/>
                  </a:lnTo>
                  <a:lnTo>
                    <a:pt x="593" y="307"/>
                  </a:lnTo>
                  <a:lnTo>
                    <a:pt x="581" y="306"/>
                  </a:lnTo>
                  <a:lnTo>
                    <a:pt x="572" y="305"/>
                  </a:lnTo>
                  <a:lnTo>
                    <a:pt x="561" y="302"/>
                  </a:lnTo>
                  <a:lnTo>
                    <a:pt x="551" y="299"/>
                  </a:lnTo>
                  <a:lnTo>
                    <a:pt x="543" y="295"/>
                  </a:lnTo>
                  <a:lnTo>
                    <a:pt x="534" y="290"/>
                  </a:lnTo>
                  <a:lnTo>
                    <a:pt x="527" y="284"/>
                  </a:lnTo>
                  <a:lnTo>
                    <a:pt x="520" y="278"/>
                  </a:lnTo>
                  <a:lnTo>
                    <a:pt x="510" y="267"/>
                  </a:lnTo>
                  <a:lnTo>
                    <a:pt x="503" y="256"/>
                  </a:lnTo>
                  <a:lnTo>
                    <a:pt x="498" y="245"/>
                  </a:lnTo>
                  <a:lnTo>
                    <a:pt x="494" y="232"/>
                  </a:lnTo>
                  <a:lnTo>
                    <a:pt x="492" y="218"/>
                  </a:lnTo>
                  <a:lnTo>
                    <a:pt x="491" y="200"/>
                  </a:lnTo>
                  <a:lnTo>
                    <a:pt x="489" y="179"/>
                  </a:lnTo>
                  <a:lnTo>
                    <a:pt x="489" y="154"/>
                  </a:lnTo>
                  <a:lnTo>
                    <a:pt x="489" y="128"/>
                  </a:lnTo>
                  <a:lnTo>
                    <a:pt x="491" y="107"/>
                  </a:lnTo>
                  <a:lnTo>
                    <a:pt x="492" y="90"/>
                  </a:lnTo>
                  <a:lnTo>
                    <a:pt x="494" y="74"/>
                  </a:lnTo>
                  <a:lnTo>
                    <a:pt x="498" y="62"/>
                  </a:lnTo>
                  <a:lnTo>
                    <a:pt x="503" y="50"/>
                  </a:lnTo>
                  <a:lnTo>
                    <a:pt x="510" y="40"/>
                  </a:lnTo>
                  <a:lnTo>
                    <a:pt x="520" y="29"/>
                  </a:lnTo>
                  <a:close/>
                  <a:moveTo>
                    <a:pt x="398" y="154"/>
                  </a:moveTo>
                  <a:lnTo>
                    <a:pt x="398" y="132"/>
                  </a:lnTo>
                  <a:lnTo>
                    <a:pt x="396" y="113"/>
                  </a:lnTo>
                  <a:lnTo>
                    <a:pt x="395" y="97"/>
                  </a:lnTo>
                  <a:lnTo>
                    <a:pt x="394" y="84"/>
                  </a:lnTo>
                  <a:lnTo>
                    <a:pt x="390" y="72"/>
                  </a:lnTo>
                  <a:lnTo>
                    <a:pt x="387" y="62"/>
                  </a:lnTo>
                  <a:lnTo>
                    <a:pt x="381" y="52"/>
                  </a:lnTo>
                  <a:lnTo>
                    <a:pt x="373" y="44"/>
                  </a:lnTo>
                  <a:lnTo>
                    <a:pt x="367" y="39"/>
                  </a:lnTo>
                  <a:lnTo>
                    <a:pt x="361" y="34"/>
                  </a:lnTo>
                  <a:lnTo>
                    <a:pt x="355" y="29"/>
                  </a:lnTo>
                  <a:lnTo>
                    <a:pt x="348" y="27"/>
                  </a:lnTo>
                  <a:lnTo>
                    <a:pt x="341" y="24"/>
                  </a:lnTo>
                  <a:lnTo>
                    <a:pt x="332" y="22"/>
                  </a:lnTo>
                  <a:lnTo>
                    <a:pt x="325" y="21"/>
                  </a:lnTo>
                  <a:lnTo>
                    <a:pt x="317" y="21"/>
                  </a:lnTo>
                  <a:lnTo>
                    <a:pt x="308" y="21"/>
                  </a:lnTo>
                  <a:lnTo>
                    <a:pt x="301" y="22"/>
                  </a:lnTo>
                  <a:lnTo>
                    <a:pt x="294" y="24"/>
                  </a:lnTo>
                  <a:lnTo>
                    <a:pt x="286" y="27"/>
                  </a:lnTo>
                  <a:lnTo>
                    <a:pt x="279" y="29"/>
                  </a:lnTo>
                  <a:lnTo>
                    <a:pt x="272" y="34"/>
                  </a:lnTo>
                  <a:lnTo>
                    <a:pt x="266" y="39"/>
                  </a:lnTo>
                  <a:lnTo>
                    <a:pt x="260" y="44"/>
                  </a:lnTo>
                  <a:lnTo>
                    <a:pt x="253" y="52"/>
                  </a:lnTo>
                  <a:lnTo>
                    <a:pt x="247" y="62"/>
                  </a:lnTo>
                  <a:lnTo>
                    <a:pt x="243" y="72"/>
                  </a:lnTo>
                  <a:lnTo>
                    <a:pt x="241" y="84"/>
                  </a:lnTo>
                  <a:lnTo>
                    <a:pt x="238" y="97"/>
                  </a:lnTo>
                  <a:lnTo>
                    <a:pt x="237" y="113"/>
                  </a:lnTo>
                  <a:lnTo>
                    <a:pt x="237" y="132"/>
                  </a:lnTo>
                  <a:lnTo>
                    <a:pt x="237" y="154"/>
                  </a:lnTo>
                  <a:lnTo>
                    <a:pt x="237" y="175"/>
                  </a:lnTo>
                  <a:lnTo>
                    <a:pt x="237" y="195"/>
                  </a:lnTo>
                  <a:lnTo>
                    <a:pt x="238" y="210"/>
                  </a:lnTo>
                  <a:lnTo>
                    <a:pt x="241" y="224"/>
                  </a:lnTo>
                  <a:lnTo>
                    <a:pt x="243" y="236"/>
                  </a:lnTo>
                  <a:lnTo>
                    <a:pt x="247" y="245"/>
                  </a:lnTo>
                  <a:lnTo>
                    <a:pt x="253" y="255"/>
                  </a:lnTo>
                  <a:lnTo>
                    <a:pt x="260" y="264"/>
                  </a:lnTo>
                  <a:lnTo>
                    <a:pt x="266" y="268"/>
                  </a:lnTo>
                  <a:lnTo>
                    <a:pt x="272" y="273"/>
                  </a:lnTo>
                  <a:lnTo>
                    <a:pt x="279" y="277"/>
                  </a:lnTo>
                  <a:lnTo>
                    <a:pt x="286" y="281"/>
                  </a:lnTo>
                  <a:lnTo>
                    <a:pt x="294" y="283"/>
                  </a:lnTo>
                  <a:lnTo>
                    <a:pt x="301" y="285"/>
                  </a:lnTo>
                  <a:lnTo>
                    <a:pt x="308" y="285"/>
                  </a:lnTo>
                  <a:lnTo>
                    <a:pt x="317" y="287"/>
                  </a:lnTo>
                  <a:lnTo>
                    <a:pt x="325" y="285"/>
                  </a:lnTo>
                  <a:lnTo>
                    <a:pt x="332" y="285"/>
                  </a:lnTo>
                  <a:lnTo>
                    <a:pt x="341" y="283"/>
                  </a:lnTo>
                  <a:lnTo>
                    <a:pt x="348" y="281"/>
                  </a:lnTo>
                  <a:lnTo>
                    <a:pt x="355" y="277"/>
                  </a:lnTo>
                  <a:lnTo>
                    <a:pt x="361" y="273"/>
                  </a:lnTo>
                  <a:lnTo>
                    <a:pt x="367" y="268"/>
                  </a:lnTo>
                  <a:lnTo>
                    <a:pt x="373" y="264"/>
                  </a:lnTo>
                  <a:lnTo>
                    <a:pt x="381" y="255"/>
                  </a:lnTo>
                  <a:lnTo>
                    <a:pt x="387" y="245"/>
                  </a:lnTo>
                  <a:lnTo>
                    <a:pt x="390" y="236"/>
                  </a:lnTo>
                  <a:lnTo>
                    <a:pt x="394" y="224"/>
                  </a:lnTo>
                  <a:lnTo>
                    <a:pt x="395" y="210"/>
                  </a:lnTo>
                  <a:lnTo>
                    <a:pt x="396" y="195"/>
                  </a:lnTo>
                  <a:lnTo>
                    <a:pt x="398" y="175"/>
                  </a:lnTo>
                  <a:lnTo>
                    <a:pt x="398" y="154"/>
                  </a:lnTo>
                  <a:close/>
                  <a:moveTo>
                    <a:pt x="317" y="307"/>
                  </a:moveTo>
                  <a:lnTo>
                    <a:pt x="306" y="306"/>
                  </a:lnTo>
                  <a:lnTo>
                    <a:pt x="295" y="305"/>
                  </a:lnTo>
                  <a:lnTo>
                    <a:pt x="285" y="302"/>
                  </a:lnTo>
                  <a:lnTo>
                    <a:pt x="276" y="299"/>
                  </a:lnTo>
                  <a:lnTo>
                    <a:pt x="267" y="295"/>
                  </a:lnTo>
                  <a:lnTo>
                    <a:pt x="259" y="290"/>
                  </a:lnTo>
                  <a:lnTo>
                    <a:pt x="250" y="284"/>
                  </a:lnTo>
                  <a:lnTo>
                    <a:pt x="244" y="278"/>
                  </a:lnTo>
                  <a:lnTo>
                    <a:pt x="235" y="267"/>
                  </a:lnTo>
                  <a:lnTo>
                    <a:pt x="227" y="256"/>
                  </a:lnTo>
                  <a:lnTo>
                    <a:pt x="222" y="245"/>
                  </a:lnTo>
                  <a:lnTo>
                    <a:pt x="219" y="232"/>
                  </a:lnTo>
                  <a:lnTo>
                    <a:pt x="216" y="218"/>
                  </a:lnTo>
                  <a:lnTo>
                    <a:pt x="214" y="200"/>
                  </a:lnTo>
                  <a:lnTo>
                    <a:pt x="214" y="179"/>
                  </a:lnTo>
                  <a:lnTo>
                    <a:pt x="214" y="154"/>
                  </a:lnTo>
                  <a:lnTo>
                    <a:pt x="214" y="128"/>
                  </a:lnTo>
                  <a:lnTo>
                    <a:pt x="214" y="107"/>
                  </a:lnTo>
                  <a:lnTo>
                    <a:pt x="216" y="90"/>
                  </a:lnTo>
                  <a:lnTo>
                    <a:pt x="219" y="74"/>
                  </a:lnTo>
                  <a:lnTo>
                    <a:pt x="222" y="62"/>
                  </a:lnTo>
                  <a:lnTo>
                    <a:pt x="227" y="50"/>
                  </a:lnTo>
                  <a:lnTo>
                    <a:pt x="235" y="40"/>
                  </a:lnTo>
                  <a:lnTo>
                    <a:pt x="244" y="29"/>
                  </a:lnTo>
                  <a:lnTo>
                    <a:pt x="250" y="23"/>
                  </a:lnTo>
                  <a:lnTo>
                    <a:pt x="259" y="17"/>
                  </a:lnTo>
                  <a:lnTo>
                    <a:pt x="267" y="12"/>
                  </a:lnTo>
                  <a:lnTo>
                    <a:pt x="276" y="9"/>
                  </a:lnTo>
                  <a:lnTo>
                    <a:pt x="285" y="5"/>
                  </a:lnTo>
                  <a:lnTo>
                    <a:pt x="295" y="3"/>
                  </a:lnTo>
                  <a:lnTo>
                    <a:pt x="306" y="1"/>
                  </a:lnTo>
                  <a:lnTo>
                    <a:pt x="317" y="0"/>
                  </a:lnTo>
                  <a:lnTo>
                    <a:pt x="328" y="1"/>
                  </a:lnTo>
                  <a:lnTo>
                    <a:pt x="338" y="3"/>
                  </a:lnTo>
                  <a:lnTo>
                    <a:pt x="348" y="5"/>
                  </a:lnTo>
                  <a:lnTo>
                    <a:pt x="358" y="9"/>
                  </a:lnTo>
                  <a:lnTo>
                    <a:pt x="367" y="12"/>
                  </a:lnTo>
                  <a:lnTo>
                    <a:pt x="376" y="17"/>
                  </a:lnTo>
                  <a:lnTo>
                    <a:pt x="383" y="23"/>
                  </a:lnTo>
                  <a:lnTo>
                    <a:pt x="390" y="29"/>
                  </a:lnTo>
                  <a:lnTo>
                    <a:pt x="399" y="40"/>
                  </a:lnTo>
                  <a:lnTo>
                    <a:pt x="406" y="50"/>
                  </a:lnTo>
                  <a:lnTo>
                    <a:pt x="412" y="62"/>
                  </a:lnTo>
                  <a:lnTo>
                    <a:pt x="416" y="74"/>
                  </a:lnTo>
                  <a:lnTo>
                    <a:pt x="418" y="90"/>
                  </a:lnTo>
                  <a:lnTo>
                    <a:pt x="419" y="107"/>
                  </a:lnTo>
                  <a:lnTo>
                    <a:pt x="419" y="128"/>
                  </a:lnTo>
                  <a:lnTo>
                    <a:pt x="421" y="154"/>
                  </a:lnTo>
                  <a:lnTo>
                    <a:pt x="419" y="179"/>
                  </a:lnTo>
                  <a:lnTo>
                    <a:pt x="419" y="200"/>
                  </a:lnTo>
                  <a:lnTo>
                    <a:pt x="418" y="218"/>
                  </a:lnTo>
                  <a:lnTo>
                    <a:pt x="416" y="232"/>
                  </a:lnTo>
                  <a:lnTo>
                    <a:pt x="412" y="245"/>
                  </a:lnTo>
                  <a:lnTo>
                    <a:pt x="406" y="256"/>
                  </a:lnTo>
                  <a:lnTo>
                    <a:pt x="399" y="267"/>
                  </a:lnTo>
                  <a:lnTo>
                    <a:pt x="390" y="278"/>
                  </a:lnTo>
                  <a:lnTo>
                    <a:pt x="383" y="284"/>
                  </a:lnTo>
                  <a:lnTo>
                    <a:pt x="376" y="290"/>
                  </a:lnTo>
                  <a:lnTo>
                    <a:pt x="367" y="295"/>
                  </a:lnTo>
                  <a:lnTo>
                    <a:pt x="358" y="299"/>
                  </a:lnTo>
                  <a:lnTo>
                    <a:pt x="348" y="302"/>
                  </a:lnTo>
                  <a:lnTo>
                    <a:pt x="338" y="305"/>
                  </a:lnTo>
                  <a:lnTo>
                    <a:pt x="328" y="306"/>
                  </a:lnTo>
                  <a:lnTo>
                    <a:pt x="317" y="307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92" name="think_z"/>
          <p:cNvGrpSpPr>
            <a:grpSpLocks noChangeAspect="1"/>
          </p:cNvGrpSpPr>
          <p:nvPr/>
        </p:nvGrpSpPr>
        <p:grpSpPr>
          <a:xfrm>
            <a:off x="4530332" y="3630007"/>
            <a:ext cx="731816" cy="919627"/>
            <a:chOff x="784226" y="3117851"/>
            <a:chExt cx="538163" cy="676275"/>
          </a:xfrm>
        </p:grpSpPr>
        <p:sp>
          <p:nvSpPr>
            <p:cNvPr id="93" name="Freeform 32"/>
            <p:cNvSpPr>
              <a:spLocks/>
            </p:cNvSpPr>
            <p:nvPr/>
          </p:nvSpPr>
          <p:spPr bwMode="auto">
            <a:xfrm>
              <a:off x="820738" y="3551238"/>
              <a:ext cx="293688" cy="238125"/>
            </a:xfrm>
            <a:custGeom>
              <a:avLst/>
              <a:gdLst>
                <a:gd name="T0" fmla="*/ 7 w 738"/>
                <a:gd name="T1" fmla="*/ 603 h 603"/>
                <a:gd name="T2" fmla="*/ 4 w 738"/>
                <a:gd name="T3" fmla="*/ 521 h 603"/>
                <a:gd name="T4" fmla="*/ 1 w 738"/>
                <a:gd name="T5" fmla="*/ 437 h 603"/>
                <a:gd name="T6" fmla="*/ 0 w 738"/>
                <a:gd name="T7" fmla="*/ 357 h 603"/>
                <a:gd name="T8" fmla="*/ 0 w 738"/>
                <a:gd name="T9" fmla="*/ 282 h 603"/>
                <a:gd name="T10" fmla="*/ 1 w 738"/>
                <a:gd name="T11" fmla="*/ 216 h 603"/>
                <a:gd name="T12" fmla="*/ 4 w 738"/>
                <a:gd name="T13" fmla="*/ 161 h 603"/>
                <a:gd name="T14" fmla="*/ 6 w 738"/>
                <a:gd name="T15" fmla="*/ 138 h 603"/>
                <a:gd name="T16" fmla="*/ 9 w 738"/>
                <a:gd name="T17" fmla="*/ 120 h 603"/>
                <a:gd name="T18" fmla="*/ 12 w 738"/>
                <a:gd name="T19" fmla="*/ 105 h 603"/>
                <a:gd name="T20" fmla="*/ 16 w 738"/>
                <a:gd name="T21" fmla="*/ 95 h 603"/>
                <a:gd name="T22" fmla="*/ 21 w 738"/>
                <a:gd name="T23" fmla="*/ 89 h 603"/>
                <a:gd name="T24" fmla="*/ 27 w 738"/>
                <a:gd name="T25" fmla="*/ 83 h 603"/>
                <a:gd name="T26" fmla="*/ 34 w 738"/>
                <a:gd name="T27" fmla="*/ 78 h 603"/>
                <a:gd name="T28" fmla="*/ 40 w 738"/>
                <a:gd name="T29" fmla="*/ 72 h 603"/>
                <a:gd name="T30" fmla="*/ 58 w 738"/>
                <a:gd name="T31" fmla="*/ 62 h 603"/>
                <a:gd name="T32" fmla="*/ 75 w 738"/>
                <a:gd name="T33" fmla="*/ 52 h 603"/>
                <a:gd name="T34" fmla="*/ 95 w 738"/>
                <a:gd name="T35" fmla="*/ 44 h 603"/>
                <a:gd name="T36" fmla="*/ 114 w 738"/>
                <a:gd name="T37" fmla="*/ 35 h 603"/>
                <a:gd name="T38" fmla="*/ 134 w 738"/>
                <a:gd name="T39" fmla="*/ 29 h 603"/>
                <a:gd name="T40" fmla="*/ 155 w 738"/>
                <a:gd name="T41" fmla="*/ 22 h 603"/>
                <a:gd name="T42" fmla="*/ 193 w 738"/>
                <a:gd name="T43" fmla="*/ 12 h 603"/>
                <a:gd name="T44" fmla="*/ 225 w 738"/>
                <a:gd name="T45" fmla="*/ 5 h 603"/>
                <a:gd name="T46" fmla="*/ 247 w 738"/>
                <a:gd name="T47" fmla="*/ 1 h 603"/>
                <a:gd name="T48" fmla="*/ 254 w 738"/>
                <a:gd name="T49" fmla="*/ 0 h 603"/>
                <a:gd name="T50" fmla="*/ 370 w 738"/>
                <a:gd name="T51" fmla="*/ 81 h 603"/>
                <a:gd name="T52" fmla="*/ 475 w 738"/>
                <a:gd name="T53" fmla="*/ 0 h 603"/>
                <a:gd name="T54" fmla="*/ 484 w 738"/>
                <a:gd name="T55" fmla="*/ 1 h 603"/>
                <a:gd name="T56" fmla="*/ 507 w 738"/>
                <a:gd name="T57" fmla="*/ 5 h 603"/>
                <a:gd name="T58" fmla="*/ 540 w 738"/>
                <a:gd name="T59" fmla="*/ 12 h 603"/>
                <a:gd name="T60" fmla="*/ 580 w 738"/>
                <a:gd name="T61" fmla="*/ 22 h 603"/>
                <a:gd name="T62" fmla="*/ 601 w 738"/>
                <a:gd name="T63" fmla="*/ 29 h 603"/>
                <a:gd name="T64" fmla="*/ 622 w 738"/>
                <a:gd name="T65" fmla="*/ 35 h 603"/>
                <a:gd name="T66" fmla="*/ 642 w 738"/>
                <a:gd name="T67" fmla="*/ 44 h 603"/>
                <a:gd name="T68" fmla="*/ 662 w 738"/>
                <a:gd name="T69" fmla="*/ 52 h 603"/>
                <a:gd name="T70" fmla="*/ 681 w 738"/>
                <a:gd name="T71" fmla="*/ 62 h 603"/>
                <a:gd name="T72" fmla="*/ 698 w 738"/>
                <a:gd name="T73" fmla="*/ 72 h 603"/>
                <a:gd name="T74" fmla="*/ 705 w 738"/>
                <a:gd name="T75" fmla="*/ 78 h 603"/>
                <a:gd name="T76" fmla="*/ 711 w 738"/>
                <a:gd name="T77" fmla="*/ 83 h 603"/>
                <a:gd name="T78" fmla="*/ 717 w 738"/>
                <a:gd name="T79" fmla="*/ 89 h 603"/>
                <a:gd name="T80" fmla="*/ 722 w 738"/>
                <a:gd name="T81" fmla="*/ 95 h 603"/>
                <a:gd name="T82" fmla="*/ 726 w 738"/>
                <a:gd name="T83" fmla="*/ 105 h 603"/>
                <a:gd name="T84" fmla="*/ 730 w 738"/>
                <a:gd name="T85" fmla="*/ 120 h 603"/>
                <a:gd name="T86" fmla="*/ 732 w 738"/>
                <a:gd name="T87" fmla="*/ 138 h 603"/>
                <a:gd name="T88" fmla="*/ 735 w 738"/>
                <a:gd name="T89" fmla="*/ 161 h 603"/>
                <a:gd name="T90" fmla="*/ 737 w 738"/>
                <a:gd name="T91" fmla="*/ 216 h 603"/>
                <a:gd name="T92" fmla="*/ 738 w 738"/>
                <a:gd name="T93" fmla="*/ 282 h 603"/>
                <a:gd name="T94" fmla="*/ 738 w 738"/>
                <a:gd name="T95" fmla="*/ 357 h 603"/>
                <a:gd name="T96" fmla="*/ 737 w 738"/>
                <a:gd name="T97" fmla="*/ 437 h 603"/>
                <a:gd name="T98" fmla="*/ 735 w 738"/>
                <a:gd name="T99" fmla="*/ 521 h 603"/>
                <a:gd name="T100" fmla="*/ 732 w 738"/>
                <a:gd name="T101" fmla="*/ 603 h 603"/>
                <a:gd name="T102" fmla="*/ 7 w 738"/>
                <a:gd name="T103" fmla="*/ 603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38" h="603">
                  <a:moveTo>
                    <a:pt x="7" y="603"/>
                  </a:moveTo>
                  <a:lnTo>
                    <a:pt x="4" y="521"/>
                  </a:lnTo>
                  <a:lnTo>
                    <a:pt x="1" y="437"/>
                  </a:lnTo>
                  <a:lnTo>
                    <a:pt x="0" y="357"/>
                  </a:lnTo>
                  <a:lnTo>
                    <a:pt x="0" y="282"/>
                  </a:lnTo>
                  <a:lnTo>
                    <a:pt x="1" y="216"/>
                  </a:lnTo>
                  <a:lnTo>
                    <a:pt x="4" y="161"/>
                  </a:lnTo>
                  <a:lnTo>
                    <a:pt x="6" y="138"/>
                  </a:lnTo>
                  <a:lnTo>
                    <a:pt x="9" y="120"/>
                  </a:lnTo>
                  <a:lnTo>
                    <a:pt x="12" y="105"/>
                  </a:lnTo>
                  <a:lnTo>
                    <a:pt x="16" y="95"/>
                  </a:lnTo>
                  <a:lnTo>
                    <a:pt x="21" y="89"/>
                  </a:lnTo>
                  <a:lnTo>
                    <a:pt x="27" y="83"/>
                  </a:lnTo>
                  <a:lnTo>
                    <a:pt x="34" y="78"/>
                  </a:lnTo>
                  <a:lnTo>
                    <a:pt x="40" y="72"/>
                  </a:lnTo>
                  <a:lnTo>
                    <a:pt x="58" y="62"/>
                  </a:lnTo>
                  <a:lnTo>
                    <a:pt x="75" y="52"/>
                  </a:lnTo>
                  <a:lnTo>
                    <a:pt x="95" y="44"/>
                  </a:lnTo>
                  <a:lnTo>
                    <a:pt x="114" y="35"/>
                  </a:lnTo>
                  <a:lnTo>
                    <a:pt x="134" y="29"/>
                  </a:lnTo>
                  <a:lnTo>
                    <a:pt x="155" y="22"/>
                  </a:lnTo>
                  <a:lnTo>
                    <a:pt x="193" y="12"/>
                  </a:lnTo>
                  <a:lnTo>
                    <a:pt x="225" y="5"/>
                  </a:lnTo>
                  <a:lnTo>
                    <a:pt x="247" y="1"/>
                  </a:lnTo>
                  <a:lnTo>
                    <a:pt x="254" y="0"/>
                  </a:lnTo>
                  <a:lnTo>
                    <a:pt x="370" y="81"/>
                  </a:lnTo>
                  <a:lnTo>
                    <a:pt x="475" y="0"/>
                  </a:lnTo>
                  <a:lnTo>
                    <a:pt x="484" y="1"/>
                  </a:lnTo>
                  <a:lnTo>
                    <a:pt x="507" y="5"/>
                  </a:lnTo>
                  <a:lnTo>
                    <a:pt x="540" y="12"/>
                  </a:lnTo>
                  <a:lnTo>
                    <a:pt x="580" y="22"/>
                  </a:lnTo>
                  <a:lnTo>
                    <a:pt x="601" y="29"/>
                  </a:lnTo>
                  <a:lnTo>
                    <a:pt x="622" y="35"/>
                  </a:lnTo>
                  <a:lnTo>
                    <a:pt x="642" y="44"/>
                  </a:lnTo>
                  <a:lnTo>
                    <a:pt x="662" y="52"/>
                  </a:lnTo>
                  <a:lnTo>
                    <a:pt x="681" y="62"/>
                  </a:lnTo>
                  <a:lnTo>
                    <a:pt x="698" y="72"/>
                  </a:lnTo>
                  <a:lnTo>
                    <a:pt x="705" y="78"/>
                  </a:lnTo>
                  <a:lnTo>
                    <a:pt x="711" y="83"/>
                  </a:lnTo>
                  <a:lnTo>
                    <a:pt x="717" y="89"/>
                  </a:lnTo>
                  <a:lnTo>
                    <a:pt x="722" y="95"/>
                  </a:lnTo>
                  <a:lnTo>
                    <a:pt x="726" y="105"/>
                  </a:lnTo>
                  <a:lnTo>
                    <a:pt x="730" y="120"/>
                  </a:lnTo>
                  <a:lnTo>
                    <a:pt x="732" y="138"/>
                  </a:lnTo>
                  <a:lnTo>
                    <a:pt x="735" y="161"/>
                  </a:lnTo>
                  <a:lnTo>
                    <a:pt x="737" y="216"/>
                  </a:lnTo>
                  <a:lnTo>
                    <a:pt x="738" y="282"/>
                  </a:lnTo>
                  <a:lnTo>
                    <a:pt x="738" y="357"/>
                  </a:lnTo>
                  <a:lnTo>
                    <a:pt x="737" y="437"/>
                  </a:lnTo>
                  <a:lnTo>
                    <a:pt x="735" y="521"/>
                  </a:lnTo>
                  <a:lnTo>
                    <a:pt x="732" y="603"/>
                  </a:lnTo>
                  <a:lnTo>
                    <a:pt x="7" y="603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" name="Freeform 33"/>
            <p:cNvSpPr>
              <a:spLocks/>
            </p:cNvSpPr>
            <p:nvPr/>
          </p:nvSpPr>
          <p:spPr bwMode="auto">
            <a:xfrm>
              <a:off x="815976" y="3544888"/>
              <a:ext cx="303213" cy="249238"/>
            </a:xfrm>
            <a:custGeom>
              <a:avLst/>
              <a:gdLst>
                <a:gd name="T0" fmla="*/ 744 w 763"/>
                <a:gd name="T1" fmla="*/ 628 h 628"/>
                <a:gd name="T2" fmla="*/ 739 w 763"/>
                <a:gd name="T3" fmla="*/ 627 h 628"/>
                <a:gd name="T4" fmla="*/ 733 w 763"/>
                <a:gd name="T5" fmla="*/ 619 h 628"/>
                <a:gd name="T6" fmla="*/ 737 w 763"/>
                <a:gd name="T7" fmla="*/ 476 h 628"/>
                <a:gd name="T8" fmla="*/ 738 w 763"/>
                <a:gd name="T9" fmla="*/ 279 h 628"/>
                <a:gd name="T10" fmla="*/ 734 w 763"/>
                <a:gd name="T11" fmla="*/ 171 h 628"/>
                <a:gd name="T12" fmla="*/ 727 w 763"/>
                <a:gd name="T13" fmla="*/ 125 h 628"/>
                <a:gd name="T14" fmla="*/ 715 w 763"/>
                <a:gd name="T15" fmla="*/ 106 h 628"/>
                <a:gd name="T16" fmla="*/ 690 w 763"/>
                <a:gd name="T17" fmla="*/ 87 h 628"/>
                <a:gd name="T18" fmla="*/ 657 w 763"/>
                <a:gd name="T19" fmla="*/ 70 h 628"/>
                <a:gd name="T20" fmla="*/ 621 w 763"/>
                <a:gd name="T21" fmla="*/ 57 h 628"/>
                <a:gd name="T22" fmla="*/ 567 w 763"/>
                <a:gd name="T23" fmla="*/ 41 h 628"/>
                <a:gd name="T24" fmla="*/ 508 w 763"/>
                <a:gd name="T25" fmla="*/ 27 h 628"/>
                <a:gd name="T26" fmla="*/ 389 w 763"/>
                <a:gd name="T27" fmla="*/ 103 h 628"/>
                <a:gd name="T28" fmla="*/ 382 w 763"/>
                <a:gd name="T29" fmla="*/ 107 h 628"/>
                <a:gd name="T30" fmla="*/ 374 w 763"/>
                <a:gd name="T31" fmla="*/ 103 h 628"/>
                <a:gd name="T32" fmla="*/ 248 w 763"/>
                <a:gd name="T33" fmla="*/ 27 h 628"/>
                <a:gd name="T34" fmla="*/ 191 w 763"/>
                <a:gd name="T35" fmla="*/ 41 h 628"/>
                <a:gd name="T36" fmla="*/ 138 w 763"/>
                <a:gd name="T37" fmla="*/ 58 h 628"/>
                <a:gd name="T38" fmla="*/ 103 w 763"/>
                <a:gd name="T39" fmla="*/ 71 h 628"/>
                <a:gd name="T40" fmla="*/ 72 w 763"/>
                <a:gd name="T41" fmla="*/ 87 h 628"/>
                <a:gd name="T42" fmla="*/ 46 w 763"/>
                <a:gd name="T43" fmla="*/ 107 h 628"/>
                <a:gd name="T44" fmla="*/ 34 w 763"/>
                <a:gd name="T45" fmla="*/ 125 h 628"/>
                <a:gd name="T46" fmla="*/ 28 w 763"/>
                <a:gd name="T47" fmla="*/ 171 h 628"/>
                <a:gd name="T48" fmla="*/ 24 w 763"/>
                <a:gd name="T49" fmla="*/ 279 h 628"/>
                <a:gd name="T50" fmla="*/ 27 w 763"/>
                <a:gd name="T51" fmla="*/ 476 h 628"/>
                <a:gd name="T52" fmla="*/ 30 w 763"/>
                <a:gd name="T53" fmla="*/ 619 h 628"/>
                <a:gd name="T54" fmla="*/ 24 w 763"/>
                <a:gd name="T55" fmla="*/ 627 h 628"/>
                <a:gd name="T56" fmla="*/ 14 w 763"/>
                <a:gd name="T57" fmla="*/ 627 h 628"/>
                <a:gd name="T58" fmla="*/ 8 w 763"/>
                <a:gd name="T59" fmla="*/ 621 h 628"/>
                <a:gd name="T60" fmla="*/ 2 w 763"/>
                <a:gd name="T61" fmla="*/ 462 h 628"/>
                <a:gd name="T62" fmla="*/ 1 w 763"/>
                <a:gd name="T63" fmla="*/ 254 h 628"/>
                <a:gd name="T64" fmla="*/ 7 w 763"/>
                <a:gd name="T65" fmla="*/ 150 h 628"/>
                <a:gd name="T66" fmla="*/ 14 w 763"/>
                <a:gd name="T67" fmla="*/ 112 h 628"/>
                <a:gd name="T68" fmla="*/ 23 w 763"/>
                <a:gd name="T69" fmla="*/ 98 h 628"/>
                <a:gd name="T70" fmla="*/ 36 w 763"/>
                <a:gd name="T71" fmla="*/ 86 h 628"/>
                <a:gd name="T72" fmla="*/ 60 w 763"/>
                <a:gd name="T73" fmla="*/ 69 h 628"/>
                <a:gd name="T74" fmla="*/ 98 w 763"/>
                <a:gd name="T75" fmla="*/ 48 h 628"/>
                <a:gd name="T76" fmla="*/ 138 w 763"/>
                <a:gd name="T77" fmla="*/ 32 h 628"/>
                <a:gd name="T78" fmla="*/ 197 w 763"/>
                <a:gd name="T79" fmla="*/ 15 h 628"/>
                <a:gd name="T80" fmla="*/ 254 w 763"/>
                <a:gd name="T81" fmla="*/ 1 h 628"/>
                <a:gd name="T82" fmla="*/ 270 w 763"/>
                <a:gd name="T83" fmla="*/ 0 h 628"/>
                <a:gd name="T84" fmla="*/ 382 w 763"/>
                <a:gd name="T85" fmla="*/ 79 h 628"/>
                <a:gd name="T86" fmla="*/ 485 w 763"/>
                <a:gd name="T87" fmla="*/ 0 h 628"/>
                <a:gd name="T88" fmla="*/ 501 w 763"/>
                <a:gd name="T89" fmla="*/ 1 h 628"/>
                <a:gd name="T90" fmla="*/ 560 w 763"/>
                <a:gd name="T91" fmla="*/ 15 h 628"/>
                <a:gd name="T92" fmla="*/ 621 w 763"/>
                <a:gd name="T93" fmla="*/ 32 h 628"/>
                <a:gd name="T94" fmla="*/ 663 w 763"/>
                <a:gd name="T95" fmla="*/ 48 h 628"/>
                <a:gd name="T96" fmla="*/ 701 w 763"/>
                <a:gd name="T97" fmla="*/ 68 h 628"/>
                <a:gd name="T98" fmla="*/ 726 w 763"/>
                <a:gd name="T99" fmla="*/ 84 h 628"/>
                <a:gd name="T100" fmla="*/ 739 w 763"/>
                <a:gd name="T101" fmla="*/ 97 h 628"/>
                <a:gd name="T102" fmla="*/ 748 w 763"/>
                <a:gd name="T103" fmla="*/ 111 h 628"/>
                <a:gd name="T104" fmla="*/ 756 w 763"/>
                <a:gd name="T105" fmla="*/ 149 h 628"/>
                <a:gd name="T106" fmla="*/ 761 w 763"/>
                <a:gd name="T107" fmla="*/ 253 h 628"/>
                <a:gd name="T108" fmla="*/ 760 w 763"/>
                <a:gd name="T109" fmla="*/ 462 h 628"/>
                <a:gd name="T110" fmla="*/ 755 w 763"/>
                <a:gd name="T111" fmla="*/ 621 h 628"/>
                <a:gd name="T112" fmla="*/ 749 w 763"/>
                <a:gd name="T113" fmla="*/ 627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63" h="628">
                  <a:moveTo>
                    <a:pt x="744" y="628"/>
                  </a:moveTo>
                  <a:lnTo>
                    <a:pt x="744" y="628"/>
                  </a:lnTo>
                  <a:lnTo>
                    <a:pt x="743" y="628"/>
                  </a:lnTo>
                  <a:lnTo>
                    <a:pt x="739" y="627"/>
                  </a:lnTo>
                  <a:lnTo>
                    <a:pt x="736" y="623"/>
                  </a:lnTo>
                  <a:lnTo>
                    <a:pt x="733" y="619"/>
                  </a:lnTo>
                  <a:lnTo>
                    <a:pt x="732" y="615"/>
                  </a:lnTo>
                  <a:lnTo>
                    <a:pt x="737" y="476"/>
                  </a:lnTo>
                  <a:lnTo>
                    <a:pt x="738" y="365"/>
                  </a:lnTo>
                  <a:lnTo>
                    <a:pt x="738" y="279"/>
                  </a:lnTo>
                  <a:lnTo>
                    <a:pt x="737" y="216"/>
                  </a:lnTo>
                  <a:lnTo>
                    <a:pt x="734" y="171"/>
                  </a:lnTo>
                  <a:lnTo>
                    <a:pt x="731" y="143"/>
                  </a:lnTo>
                  <a:lnTo>
                    <a:pt x="727" y="125"/>
                  </a:lnTo>
                  <a:lnTo>
                    <a:pt x="724" y="117"/>
                  </a:lnTo>
                  <a:lnTo>
                    <a:pt x="715" y="106"/>
                  </a:lnTo>
                  <a:lnTo>
                    <a:pt x="704" y="96"/>
                  </a:lnTo>
                  <a:lnTo>
                    <a:pt x="690" y="87"/>
                  </a:lnTo>
                  <a:lnTo>
                    <a:pt x="674" y="79"/>
                  </a:lnTo>
                  <a:lnTo>
                    <a:pt x="657" y="70"/>
                  </a:lnTo>
                  <a:lnTo>
                    <a:pt x="640" y="63"/>
                  </a:lnTo>
                  <a:lnTo>
                    <a:pt x="621" y="57"/>
                  </a:lnTo>
                  <a:lnTo>
                    <a:pt x="603" y="50"/>
                  </a:lnTo>
                  <a:lnTo>
                    <a:pt x="567" y="41"/>
                  </a:lnTo>
                  <a:lnTo>
                    <a:pt x="534" y="32"/>
                  </a:lnTo>
                  <a:lnTo>
                    <a:pt x="508" y="27"/>
                  </a:lnTo>
                  <a:lnTo>
                    <a:pt x="491" y="25"/>
                  </a:lnTo>
                  <a:lnTo>
                    <a:pt x="389" y="103"/>
                  </a:lnTo>
                  <a:lnTo>
                    <a:pt x="385" y="106"/>
                  </a:lnTo>
                  <a:lnTo>
                    <a:pt x="382" y="107"/>
                  </a:lnTo>
                  <a:lnTo>
                    <a:pt x="378" y="106"/>
                  </a:lnTo>
                  <a:lnTo>
                    <a:pt x="374" y="103"/>
                  </a:lnTo>
                  <a:lnTo>
                    <a:pt x="264" y="25"/>
                  </a:lnTo>
                  <a:lnTo>
                    <a:pt x="248" y="27"/>
                  </a:lnTo>
                  <a:lnTo>
                    <a:pt x="222" y="33"/>
                  </a:lnTo>
                  <a:lnTo>
                    <a:pt x="191" y="41"/>
                  </a:lnTo>
                  <a:lnTo>
                    <a:pt x="156" y="52"/>
                  </a:lnTo>
                  <a:lnTo>
                    <a:pt x="138" y="58"/>
                  </a:lnTo>
                  <a:lnTo>
                    <a:pt x="120" y="64"/>
                  </a:lnTo>
                  <a:lnTo>
                    <a:pt x="103" y="71"/>
                  </a:lnTo>
                  <a:lnTo>
                    <a:pt x="87" y="79"/>
                  </a:lnTo>
                  <a:lnTo>
                    <a:pt x="72" y="87"/>
                  </a:lnTo>
                  <a:lnTo>
                    <a:pt x="59" y="97"/>
                  </a:lnTo>
                  <a:lnTo>
                    <a:pt x="46" y="107"/>
                  </a:lnTo>
                  <a:lnTo>
                    <a:pt x="38" y="117"/>
                  </a:lnTo>
                  <a:lnTo>
                    <a:pt x="34" y="125"/>
                  </a:lnTo>
                  <a:lnTo>
                    <a:pt x="32" y="143"/>
                  </a:lnTo>
                  <a:lnTo>
                    <a:pt x="28" y="171"/>
                  </a:lnTo>
                  <a:lnTo>
                    <a:pt x="25" y="216"/>
                  </a:lnTo>
                  <a:lnTo>
                    <a:pt x="24" y="279"/>
                  </a:lnTo>
                  <a:lnTo>
                    <a:pt x="24" y="365"/>
                  </a:lnTo>
                  <a:lnTo>
                    <a:pt x="27" y="476"/>
                  </a:lnTo>
                  <a:lnTo>
                    <a:pt x="30" y="615"/>
                  </a:lnTo>
                  <a:lnTo>
                    <a:pt x="30" y="619"/>
                  </a:lnTo>
                  <a:lnTo>
                    <a:pt x="28" y="623"/>
                  </a:lnTo>
                  <a:lnTo>
                    <a:pt x="24" y="627"/>
                  </a:lnTo>
                  <a:lnTo>
                    <a:pt x="19" y="628"/>
                  </a:lnTo>
                  <a:lnTo>
                    <a:pt x="14" y="627"/>
                  </a:lnTo>
                  <a:lnTo>
                    <a:pt x="11" y="624"/>
                  </a:lnTo>
                  <a:lnTo>
                    <a:pt x="8" y="621"/>
                  </a:lnTo>
                  <a:lnTo>
                    <a:pt x="7" y="617"/>
                  </a:lnTo>
                  <a:lnTo>
                    <a:pt x="2" y="462"/>
                  </a:lnTo>
                  <a:lnTo>
                    <a:pt x="0" y="343"/>
                  </a:lnTo>
                  <a:lnTo>
                    <a:pt x="1" y="254"/>
                  </a:lnTo>
                  <a:lnTo>
                    <a:pt x="3" y="192"/>
                  </a:lnTo>
                  <a:lnTo>
                    <a:pt x="7" y="150"/>
                  </a:lnTo>
                  <a:lnTo>
                    <a:pt x="11" y="125"/>
                  </a:lnTo>
                  <a:lnTo>
                    <a:pt x="14" y="112"/>
                  </a:lnTo>
                  <a:lnTo>
                    <a:pt x="18" y="106"/>
                  </a:lnTo>
                  <a:lnTo>
                    <a:pt x="23" y="98"/>
                  </a:lnTo>
                  <a:lnTo>
                    <a:pt x="29" y="92"/>
                  </a:lnTo>
                  <a:lnTo>
                    <a:pt x="36" y="86"/>
                  </a:lnTo>
                  <a:lnTo>
                    <a:pt x="44" y="80"/>
                  </a:lnTo>
                  <a:lnTo>
                    <a:pt x="60" y="69"/>
                  </a:lnTo>
                  <a:lnTo>
                    <a:pt x="78" y="58"/>
                  </a:lnTo>
                  <a:lnTo>
                    <a:pt x="98" y="48"/>
                  </a:lnTo>
                  <a:lnTo>
                    <a:pt x="118" y="39"/>
                  </a:lnTo>
                  <a:lnTo>
                    <a:pt x="138" y="32"/>
                  </a:lnTo>
                  <a:lnTo>
                    <a:pt x="158" y="26"/>
                  </a:lnTo>
                  <a:lnTo>
                    <a:pt x="197" y="15"/>
                  </a:lnTo>
                  <a:lnTo>
                    <a:pt x="231" y="6"/>
                  </a:lnTo>
                  <a:lnTo>
                    <a:pt x="254" y="1"/>
                  </a:lnTo>
                  <a:lnTo>
                    <a:pt x="265" y="0"/>
                  </a:lnTo>
                  <a:lnTo>
                    <a:pt x="270" y="0"/>
                  </a:lnTo>
                  <a:lnTo>
                    <a:pt x="274" y="1"/>
                  </a:lnTo>
                  <a:lnTo>
                    <a:pt x="382" y="79"/>
                  </a:lnTo>
                  <a:lnTo>
                    <a:pt x="480" y="1"/>
                  </a:lnTo>
                  <a:lnTo>
                    <a:pt x="485" y="0"/>
                  </a:lnTo>
                  <a:lnTo>
                    <a:pt x="490" y="0"/>
                  </a:lnTo>
                  <a:lnTo>
                    <a:pt x="501" y="1"/>
                  </a:lnTo>
                  <a:lnTo>
                    <a:pt x="525" y="6"/>
                  </a:lnTo>
                  <a:lnTo>
                    <a:pt x="560" y="15"/>
                  </a:lnTo>
                  <a:lnTo>
                    <a:pt x="600" y="25"/>
                  </a:lnTo>
                  <a:lnTo>
                    <a:pt x="621" y="32"/>
                  </a:lnTo>
                  <a:lnTo>
                    <a:pt x="642" y="39"/>
                  </a:lnTo>
                  <a:lnTo>
                    <a:pt x="663" y="48"/>
                  </a:lnTo>
                  <a:lnTo>
                    <a:pt x="683" y="57"/>
                  </a:lnTo>
                  <a:lnTo>
                    <a:pt x="701" y="68"/>
                  </a:lnTo>
                  <a:lnTo>
                    <a:pt x="718" y="79"/>
                  </a:lnTo>
                  <a:lnTo>
                    <a:pt x="726" y="84"/>
                  </a:lnTo>
                  <a:lnTo>
                    <a:pt x="733" y="90"/>
                  </a:lnTo>
                  <a:lnTo>
                    <a:pt x="739" y="97"/>
                  </a:lnTo>
                  <a:lnTo>
                    <a:pt x="744" y="103"/>
                  </a:lnTo>
                  <a:lnTo>
                    <a:pt x="748" y="111"/>
                  </a:lnTo>
                  <a:lnTo>
                    <a:pt x="751" y="124"/>
                  </a:lnTo>
                  <a:lnTo>
                    <a:pt x="756" y="149"/>
                  </a:lnTo>
                  <a:lnTo>
                    <a:pt x="759" y="191"/>
                  </a:lnTo>
                  <a:lnTo>
                    <a:pt x="761" y="253"/>
                  </a:lnTo>
                  <a:lnTo>
                    <a:pt x="763" y="343"/>
                  </a:lnTo>
                  <a:lnTo>
                    <a:pt x="760" y="462"/>
                  </a:lnTo>
                  <a:lnTo>
                    <a:pt x="756" y="617"/>
                  </a:lnTo>
                  <a:lnTo>
                    <a:pt x="755" y="621"/>
                  </a:lnTo>
                  <a:lnTo>
                    <a:pt x="753" y="624"/>
                  </a:lnTo>
                  <a:lnTo>
                    <a:pt x="749" y="627"/>
                  </a:lnTo>
                  <a:lnTo>
                    <a:pt x="744" y="628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" name="Freeform 34"/>
            <p:cNvSpPr>
              <a:spLocks/>
            </p:cNvSpPr>
            <p:nvPr/>
          </p:nvSpPr>
          <p:spPr bwMode="auto">
            <a:xfrm>
              <a:off x="942976" y="3582988"/>
              <a:ext cx="49213" cy="36513"/>
            </a:xfrm>
            <a:custGeom>
              <a:avLst/>
              <a:gdLst>
                <a:gd name="T0" fmla="*/ 0 w 122"/>
                <a:gd name="T1" fmla="*/ 46 h 92"/>
                <a:gd name="T2" fmla="*/ 28 w 122"/>
                <a:gd name="T3" fmla="*/ 92 h 92"/>
                <a:gd name="T4" fmla="*/ 92 w 122"/>
                <a:gd name="T5" fmla="*/ 92 h 92"/>
                <a:gd name="T6" fmla="*/ 122 w 122"/>
                <a:gd name="T7" fmla="*/ 46 h 92"/>
                <a:gd name="T8" fmla="*/ 60 w 122"/>
                <a:gd name="T9" fmla="*/ 0 h 92"/>
                <a:gd name="T10" fmla="*/ 0 w 122"/>
                <a:gd name="T11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2" h="92">
                  <a:moveTo>
                    <a:pt x="0" y="46"/>
                  </a:moveTo>
                  <a:lnTo>
                    <a:pt x="28" y="92"/>
                  </a:lnTo>
                  <a:lnTo>
                    <a:pt x="92" y="92"/>
                  </a:lnTo>
                  <a:lnTo>
                    <a:pt x="122" y="46"/>
                  </a:lnTo>
                  <a:lnTo>
                    <a:pt x="60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" name="Freeform 35"/>
            <p:cNvSpPr>
              <a:spLocks noEditPoints="1"/>
            </p:cNvSpPr>
            <p:nvPr/>
          </p:nvSpPr>
          <p:spPr bwMode="auto">
            <a:xfrm>
              <a:off x="938213" y="3578226"/>
              <a:ext cx="58738" cy="46038"/>
            </a:xfrm>
            <a:custGeom>
              <a:avLst/>
              <a:gdLst>
                <a:gd name="T0" fmla="*/ 47 w 148"/>
                <a:gd name="T1" fmla="*/ 91 h 116"/>
                <a:gd name="T2" fmla="*/ 98 w 148"/>
                <a:gd name="T3" fmla="*/ 91 h 116"/>
                <a:gd name="T4" fmla="*/ 119 w 148"/>
                <a:gd name="T5" fmla="*/ 64 h 116"/>
                <a:gd name="T6" fmla="*/ 73 w 148"/>
                <a:gd name="T7" fmla="*/ 27 h 116"/>
                <a:gd name="T8" fmla="*/ 28 w 148"/>
                <a:gd name="T9" fmla="*/ 64 h 116"/>
                <a:gd name="T10" fmla="*/ 47 w 148"/>
                <a:gd name="T11" fmla="*/ 91 h 116"/>
                <a:gd name="T12" fmla="*/ 105 w 148"/>
                <a:gd name="T13" fmla="*/ 116 h 116"/>
                <a:gd name="T14" fmla="*/ 41 w 148"/>
                <a:gd name="T15" fmla="*/ 116 h 116"/>
                <a:gd name="T16" fmla="*/ 36 w 148"/>
                <a:gd name="T17" fmla="*/ 115 h 116"/>
                <a:gd name="T18" fmla="*/ 31 w 148"/>
                <a:gd name="T19" fmla="*/ 111 h 116"/>
                <a:gd name="T20" fmla="*/ 1 w 148"/>
                <a:gd name="T21" fmla="*/ 67 h 116"/>
                <a:gd name="T22" fmla="*/ 0 w 148"/>
                <a:gd name="T23" fmla="*/ 63 h 116"/>
                <a:gd name="T24" fmla="*/ 0 w 148"/>
                <a:gd name="T25" fmla="*/ 58 h 116"/>
                <a:gd name="T26" fmla="*/ 1 w 148"/>
                <a:gd name="T27" fmla="*/ 54 h 116"/>
                <a:gd name="T28" fmla="*/ 5 w 148"/>
                <a:gd name="T29" fmla="*/ 51 h 116"/>
                <a:gd name="T30" fmla="*/ 65 w 148"/>
                <a:gd name="T31" fmla="*/ 3 h 116"/>
                <a:gd name="T32" fmla="*/ 68 w 148"/>
                <a:gd name="T33" fmla="*/ 0 h 116"/>
                <a:gd name="T34" fmla="*/ 71 w 148"/>
                <a:gd name="T35" fmla="*/ 0 h 116"/>
                <a:gd name="T36" fmla="*/ 76 w 148"/>
                <a:gd name="T37" fmla="*/ 0 h 116"/>
                <a:gd name="T38" fmla="*/ 80 w 148"/>
                <a:gd name="T39" fmla="*/ 3 h 116"/>
                <a:gd name="T40" fmla="*/ 143 w 148"/>
                <a:gd name="T41" fmla="*/ 51 h 116"/>
                <a:gd name="T42" fmla="*/ 146 w 148"/>
                <a:gd name="T43" fmla="*/ 54 h 116"/>
                <a:gd name="T44" fmla="*/ 148 w 148"/>
                <a:gd name="T45" fmla="*/ 58 h 116"/>
                <a:gd name="T46" fmla="*/ 148 w 148"/>
                <a:gd name="T47" fmla="*/ 63 h 116"/>
                <a:gd name="T48" fmla="*/ 145 w 148"/>
                <a:gd name="T49" fmla="*/ 68 h 116"/>
                <a:gd name="T50" fmla="*/ 114 w 148"/>
                <a:gd name="T51" fmla="*/ 111 h 116"/>
                <a:gd name="T52" fmla="*/ 111 w 148"/>
                <a:gd name="T53" fmla="*/ 115 h 116"/>
                <a:gd name="T54" fmla="*/ 105 w 148"/>
                <a:gd name="T5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16">
                  <a:moveTo>
                    <a:pt x="47" y="91"/>
                  </a:moveTo>
                  <a:lnTo>
                    <a:pt x="98" y="91"/>
                  </a:lnTo>
                  <a:lnTo>
                    <a:pt x="119" y="64"/>
                  </a:lnTo>
                  <a:lnTo>
                    <a:pt x="73" y="27"/>
                  </a:lnTo>
                  <a:lnTo>
                    <a:pt x="28" y="64"/>
                  </a:lnTo>
                  <a:lnTo>
                    <a:pt x="47" y="91"/>
                  </a:lnTo>
                  <a:close/>
                  <a:moveTo>
                    <a:pt x="105" y="116"/>
                  </a:moveTo>
                  <a:lnTo>
                    <a:pt x="41" y="116"/>
                  </a:lnTo>
                  <a:lnTo>
                    <a:pt x="36" y="115"/>
                  </a:lnTo>
                  <a:lnTo>
                    <a:pt x="31" y="111"/>
                  </a:lnTo>
                  <a:lnTo>
                    <a:pt x="1" y="67"/>
                  </a:lnTo>
                  <a:lnTo>
                    <a:pt x="0" y="63"/>
                  </a:lnTo>
                  <a:lnTo>
                    <a:pt x="0" y="58"/>
                  </a:lnTo>
                  <a:lnTo>
                    <a:pt x="1" y="54"/>
                  </a:lnTo>
                  <a:lnTo>
                    <a:pt x="5" y="51"/>
                  </a:lnTo>
                  <a:lnTo>
                    <a:pt x="65" y="3"/>
                  </a:lnTo>
                  <a:lnTo>
                    <a:pt x="68" y="0"/>
                  </a:lnTo>
                  <a:lnTo>
                    <a:pt x="71" y="0"/>
                  </a:lnTo>
                  <a:lnTo>
                    <a:pt x="76" y="0"/>
                  </a:lnTo>
                  <a:lnTo>
                    <a:pt x="80" y="3"/>
                  </a:lnTo>
                  <a:lnTo>
                    <a:pt x="143" y="51"/>
                  </a:lnTo>
                  <a:lnTo>
                    <a:pt x="146" y="54"/>
                  </a:lnTo>
                  <a:lnTo>
                    <a:pt x="148" y="58"/>
                  </a:lnTo>
                  <a:lnTo>
                    <a:pt x="148" y="63"/>
                  </a:lnTo>
                  <a:lnTo>
                    <a:pt x="145" y="68"/>
                  </a:lnTo>
                  <a:lnTo>
                    <a:pt x="114" y="111"/>
                  </a:lnTo>
                  <a:lnTo>
                    <a:pt x="111" y="115"/>
                  </a:lnTo>
                  <a:lnTo>
                    <a:pt x="105" y="116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" name="Freeform 36"/>
            <p:cNvSpPr>
              <a:spLocks noEditPoints="1"/>
            </p:cNvSpPr>
            <p:nvPr/>
          </p:nvSpPr>
          <p:spPr bwMode="auto">
            <a:xfrm>
              <a:off x="896938" y="3365501"/>
              <a:ext cx="136525" cy="179388"/>
            </a:xfrm>
            <a:custGeom>
              <a:avLst/>
              <a:gdLst>
                <a:gd name="T0" fmla="*/ 127 w 342"/>
                <a:gd name="T1" fmla="*/ 29 h 451"/>
                <a:gd name="T2" fmla="*/ 75 w 342"/>
                <a:gd name="T3" fmla="*/ 48 h 451"/>
                <a:gd name="T4" fmla="*/ 50 w 342"/>
                <a:gd name="T5" fmla="*/ 81 h 451"/>
                <a:gd name="T6" fmla="*/ 40 w 342"/>
                <a:gd name="T7" fmla="*/ 107 h 451"/>
                <a:gd name="T8" fmla="*/ 29 w 342"/>
                <a:gd name="T9" fmla="*/ 153 h 451"/>
                <a:gd name="T10" fmla="*/ 32 w 342"/>
                <a:gd name="T11" fmla="*/ 234 h 451"/>
                <a:gd name="T12" fmla="*/ 33 w 342"/>
                <a:gd name="T13" fmla="*/ 256 h 451"/>
                <a:gd name="T14" fmla="*/ 23 w 342"/>
                <a:gd name="T15" fmla="*/ 270 h 451"/>
                <a:gd name="T16" fmla="*/ 33 w 342"/>
                <a:gd name="T17" fmla="*/ 296 h 451"/>
                <a:gd name="T18" fmla="*/ 61 w 342"/>
                <a:gd name="T19" fmla="*/ 325 h 451"/>
                <a:gd name="T20" fmla="*/ 76 w 342"/>
                <a:gd name="T21" fmla="*/ 362 h 451"/>
                <a:gd name="T22" fmla="*/ 110 w 342"/>
                <a:gd name="T23" fmla="*/ 406 h 451"/>
                <a:gd name="T24" fmla="*/ 158 w 342"/>
                <a:gd name="T25" fmla="*/ 427 h 451"/>
                <a:gd name="T26" fmla="*/ 215 w 342"/>
                <a:gd name="T27" fmla="*/ 419 h 451"/>
                <a:gd name="T28" fmla="*/ 250 w 342"/>
                <a:gd name="T29" fmla="*/ 389 h 451"/>
                <a:gd name="T30" fmla="*/ 276 w 342"/>
                <a:gd name="T31" fmla="*/ 336 h 451"/>
                <a:gd name="T32" fmla="*/ 292 w 342"/>
                <a:gd name="T33" fmla="*/ 314 h 451"/>
                <a:gd name="T34" fmla="*/ 317 w 342"/>
                <a:gd name="T35" fmla="*/ 282 h 451"/>
                <a:gd name="T36" fmla="*/ 314 w 342"/>
                <a:gd name="T37" fmla="*/ 263 h 451"/>
                <a:gd name="T38" fmla="*/ 307 w 342"/>
                <a:gd name="T39" fmla="*/ 252 h 451"/>
                <a:gd name="T40" fmla="*/ 313 w 342"/>
                <a:gd name="T41" fmla="*/ 195 h 451"/>
                <a:gd name="T42" fmla="*/ 307 w 342"/>
                <a:gd name="T43" fmla="*/ 119 h 451"/>
                <a:gd name="T44" fmla="*/ 293 w 342"/>
                <a:gd name="T45" fmla="*/ 92 h 451"/>
                <a:gd name="T46" fmla="*/ 285 w 342"/>
                <a:gd name="T47" fmla="*/ 65 h 451"/>
                <a:gd name="T48" fmla="*/ 259 w 342"/>
                <a:gd name="T49" fmla="*/ 43 h 451"/>
                <a:gd name="T50" fmla="*/ 194 w 342"/>
                <a:gd name="T51" fmla="*/ 25 h 451"/>
                <a:gd name="T52" fmla="*/ 141 w 342"/>
                <a:gd name="T53" fmla="*/ 447 h 451"/>
                <a:gd name="T54" fmla="*/ 93 w 342"/>
                <a:gd name="T55" fmla="*/ 421 h 451"/>
                <a:gd name="T56" fmla="*/ 61 w 342"/>
                <a:gd name="T57" fmla="*/ 384 h 451"/>
                <a:gd name="T58" fmla="*/ 41 w 342"/>
                <a:gd name="T59" fmla="*/ 340 h 451"/>
                <a:gd name="T60" fmla="*/ 4 w 342"/>
                <a:gd name="T61" fmla="*/ 296 h 451"/>
                <a:gd name="T62" fmla="*/ 1 w 342"/>
                <a:gd name="T63" fmla="*/ 260 h 451"/>
                <a:gd name="T64" fmla="*/ 6 w 342"/>
                <a:gd name="T65" fmla="*/ 218 h 451"/>
                <a:gd name="T66" fmla="*/ 8 w 342"/>
                <a:gd name="T67" fmla="*/ 126 h 451"/>
                <a:gd name="T68" fmla="*/ 24 w 342"/>
                <a:gd name="T69" fmla="*/ 86 h 451"/>
                <a:gd name="T70" fmla="*/ 40 w 342"/>
                <a:gd name="T71" fmla="*/ 46 h 451"/>
                <a:gd name="T72" fmla="*/ 76 w 342"/>
                <a:gd name="T73" fmla="*/ 19 h 451"/>
                <a:gd name="T74" fmla="*/ 124 w 342"/>
                <a:gd name="T75" fmla="*/ 5 h 451"/>
                <a:gd name="T76" fmla="*/ 201 w 342"/>
                <a:gd name="T77" fmla="*/ 1 h 451"/>
                <a:gd name="T78" fmla="*/ 248 w 342"/>
                <a:gd name="T79" fmla="*/ 12 h 451"/>
                <a:gd name="T80" fmla="*/ 287 w 342"/>
                <a:gd name="T81" fmla="*/ 33 h 451"/>
                <a:gd name="T82" fmla="*/ 312 w 342"/>
                <a:gd name="T83" fmla="*/ 64 h 451"/>
                <a:gd name="T84" fmla="*/ 326 w 342"/>
                <a:gd name="T85" fmla="*/ 103 h 451"/>
                <a:gd name="T86" fmla="*/ 336 w 342"/>
                <a:gd name="T87" fmla="*/ 173 h 451"/>
                <a:gd name="T88" fmla="*/ 331 w 342"/>
                <a:gd name="T89" fmla="*/ 248 h 451"/>
                <a:gd name="T90" fmla="*/ 342 w 342"/>
                <a:gd name="T91" fmla="*/ 275 h 451"/>
                <a:gd name="T92" fmla="*/ 324 w 342"/>
                <a:gd name="T93" fmla="*/ 315 h 451"/>
                <a:gd name="T94" fmla="*/ 291 w 342"/>
                <a:gd name="T95" fmla="*/ 366 h 451"/>
                <a:gd name="T96" fmla="*/ 270 w 342"/>
                <a:gd name="T97" fmla="*/ 403 h 451"/>
                <a:gd name="T98" fmla="*/ 232 w 342"/>
                <a:gd name="T99" fmla="*/ 436 h 451"/>
                <a:gd name="T100" fmla="*/ 174 w 342"/>
                <a:gd name="T101" fmla="*/ 451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2" h="451">
                  <a:moveTo>
                    <a:pt x="176" y="25"/>
                  </a:moveTo>
                  <a:lnTo>
                    <a:pt x="164" y="25"/>
                  </a:lnTo>
                  <a:lnTo>
                    <a:pt x="148" y="27"/>
                  </a:lnTo>
                  <a:lnTo>
                    <a:pt x="127" y="29"/>
                  </a:lnTo>
                  <a:lnTo>
                    <a:pt x="105" y="34"/>
                  </a:lnTo>
                  <a:lnTo>
                    <a:pt x="94" y="38"/>
                  </a:lnTo>
                  <a:lnTo>
                    <a:pt x="84" y="43"/>
                  </a:lnTo>
                  <a:lnTo>
                    <a:pt x="75" y="48"/>
                  </a:lnTo>
                  <a:lnTo>
                    <a:pt x="66" y="55"/>
                  </a:lnTo>
                  <a:lnTo>
                    <a:pt x="59" y="62"/>
                  </a:lnTo>
                  <a:lnTo>
                    <a:pt x="54" y="71"/>
                  </a:lnTo>
                  <a:lnTo>
                    <a:pt x="50" y="81"/>
                  </a:lnTo>
                  <a:lnTo>
                    <a:pt x="47" y="93"/>
                  </a:lnTo>
                  <a:lnTo>
                    <a:pt x="47" y="95"/>
                  </a:lnTo>
                  <a:lnTo>
                    <a:pt x="45" y="99"/>
                  </a:lnTo>
                  <a:lnTo>
                    <a:pt x="40" y="107"/>
                  </a:lnTo>
                  <a:lnTo>
                    <a:pt x="38" y="114"/>
                  </a:lnTo>
                  <a:lnTo>
                    <a:pt x="34" y="123"/>
                  </a:lnTo>
                  <a:lnTo>
                    <a:pt x="32" y="132"/>
                  </a:lnTo>
                  <a:lnTo>
                    <a:pt x="29" y="153"/>
                  </a:lnTo>
                  <a:lnTo>
                    <a:pt x="28" y="175"/>
                  </a:lnTo>
                  <a:lnTo>
                    <a:pt x="28" y="196"/>
                  </a:lnTo>
                  <a:lnTo>
                    <a:pt x="30" y="217"/>
                  </a:lnTo>
                  <a:lnTo>
                    <a:pt x="32" y="234"/>
                  </a:lnTo>
                  <a:lnTo>
                    <a:pt x="34" y="248"/>
                  </a:lnTo>
                  <a:lnTo>
                    <a:pt x="34" y="252"/>
                  </a:lnTo>
                  <a:lnTo>
                    <a:pt x="34" y="254"/>
                  </a:lnTo>
                  <a:lnTo>
                    <a:pt x="33" y="256"/>
                  </a:lnTo>
                  <a:lnTo>
                    <a:pt x="30" y="259"/>
                  </a:lnTo>
                  <a:lnTo>
                    <a:pt x="27" y="263"/>
                  </a:lnTo>
                  <a:lnTo>
                    <a:pt x="24" y="266"/>
                  </a:lnTo>
                  <a:lnTo>
                    <a:pt x="23" y="270"/>
                  </a:lnTo>
                  <a:lnTo>
                    <a:pt x="23" y="275"/>
                  </a:lnTo>
                  <a:lnTo>
                    <a:pt x="24" y="282"/>
                  </a:lnTo>
                  <a:lnTo>
                    <a:pt x="28" y="288"/>
                  </a:lnTo>
                  <a:lnTo>
                    <a:pt x="33" y="296"/>
                  </a:lnTo>
                  <a:lnTo>
                    <a:pt x="38" y="303"/>
                  </a:lnTo>
                  <a:lnTo>
                    <a:pt x="49" y="314"/>
                  </a:lnTo>
                  <a:lnTo>
                    <a:pt x="59" y="322"/>
                  </a:lnTo>
                  <a:lnTo>
                    <a:pt x="61" y="325"/>
                  </a:lnTo>
                  <a:lnTo>
                    <a:pt x="63" y="329"/>
                  </a:lnTo>
                  <a:lnTo>
                    <a:pt x="65" y="334"/>
                  </a:lnTo>
                  <a:lnTo>
                    <a:pt x="68" y="346"/>
                  </a:lnTo>
                  <a:lnTo>
                    <a:pt x="76" y="362"/>
                  </a:lnTo>
                  <a:lnTo>
                    <a:pt x="87" y="381"/>
                  </a:lnTo>
                  <a:lnTo>
                    <a:pt x="93" y="389"/>
                  </a:lnTo>
                  <a:lnTo>
                    <a:pt x="102" y="398"/>
                  </a:lnTo>
                  <a:lnTo>
                    <a:pt x="110" y="406"/>
                  </a:lnTo>
                  <a:lnTo>
                    <a:pt x="120" y="413"/>
                  </a:lnTo>
                  <a:lnTo>
                    <a:pt x="131" y="419"/>
                  </a:lnTo>
                  <a:lnTo>
                    <a:pt x="145" y="424"/>
                  </a:lnTo>
                  <a:lnTo>
                    <a:pt x="158" y="427"/>
                  </a:lnTo>
                  <a:lnTo>
                    <a:pt x="174" y="427"/>
                  </a:lnTo>
                  <a:lnTo>
                    <a:pt x="189" y="427"/>
                  </a:lnTo>
                  <a:lnTo>
                    <a:pt x="202" y="424"/>
                  </a:lnTo>
                  <a:lnTo>
                    <a:pt x="215" y="419"/>
                  </a:lnTo>
                  <a:lnTo>
                    <a:pt x="226" y="413"/>
                  </a:lnTo>
                  <a:lnTo>
                    <a:pt x="235" y="406"/>
                  </a:lnTo>
                  <a:lnTo>
                    <a:pt x="243" y="398"/>
                  </a:lnTo>
                  <a:lnTo>
                    <a:pt x="250" y="389"/>
                  </a:lnTo>
                  <a:lnTo>
                    <a:pt x="256" y="381"/>
                  </a:lnTo>
                  <a:lnTo>
                    <a:pt x="266" y="362"/>
                  </a:lnTo>
                  <a:lnTo>
                    <a:pt x="272" y="347"/>
                  </a:lnTo>
                  <a:lnTo>
                    <a:pt x="276" y="336"/>
                  </a:lnTo>
                  <a:lnTo>
                    <a:pt x="277" y="331"/>
                  </a:lnTo>
                  <a:lnTo>
                    <a:pt x="280" y="325"/>
                  </a:lnTo>
                  <a:lnTo>
                    <a:pt x="282" y="322"/>
                  </a:lnTo>
                  <a:lnTo>
                    <a:pt x="292" y="314"/>
                  </a:lnTo>
                  <a:lnTo>
                    <a:pt x="303" y="303"/>
                  </a:lnTo>
                  <a:lnTo>
                    <a:pt x="309" y="296"/>
                  </a:lnTo>
                  <a:lnTo>
                    <a:pt x="313" y="288"/>
                  </a:lnTo>
                  <a:lnTo>
                    <a:pt x="317" y="282"/>
                  </a:lnTo>
                  <a:lnTo>
                    <a:pt x="318" y="275"/>
                  </a:lnTo>
                  <a:lnTo>
                    <a:pt x="318" y="270"/>
                  </a:lnTo>
                  <a:lnTo>
                    <a:pt x="317" y="266"/>
                  </a:lnTo>
                  <a:lnTo>
                    <a:pt x="314" y="263"/>
                  </a:lnTo>
                  <a:lnTo>
                    <a:pt x="310" y="259"/>
                  </a:lnTo>
                  <a:lnTo>
                    <a:pt x="309" y="256"/>
                  </a:lnTo>
                  <a:lnTo>
                    <a:pt x="307" y="254"/>
                  </a:lnTo>
                  <a:lnTo>
                    <a:pt x="307" y="252"/>
                  </a:lnTo>
                  <a:lnTo>
                    <a:pt x="307" y="248"/>
                  </a:lnTo>
                  <a:lnTo>
                    <a:pt x="309" y="234"/>
                  </a:lnTo>
                  <a:lnTo>
                    <a:pt x="310" y="216"/>
                  </a:lnTo>
                  <a:lnTo>
                    <a:pt x="313" y="195"/>
                  </a:lnTo>
                  <a:lnTo>
                    <a:pt x="313" y="173"/>
                  </a:lnTo>
                  <a:lnTo>
                    <a:pt x="312" y="151"/>
                  </a:lnTo>
                  <a:lnTo>
                    <a:pt x="308" y="129"/>
                  </a:lnTo>
                  <a:lnTo>
                    <a:pt x="307" y="119"/>
                  </a:lnTo>
                  <a:lnTo>
                    <a:pt x="303" y="110"/>
                  </a:lnTo>
                  <a:lnTo>
                    <a:pt x="299" y="102"/>
                  </a:lnTo>
                  <a:lnTo>
                    <a:pt x="294" y="94"/>
                  </a:lnTo>
                  <a:lnTo>
                    <a:pt x="293" y="92"/>
                  </a:lnTo>
                  <a:lnTo>
                    <a:pt x="292" y="88"/>
                  </a:lnTo>
                  <a:lnTo>
                    <a:pt x="291" y="80"/>
                  </a:lnTo>
                  <a:lnTo>
                    <a:pt x="288" y="72"/>
                  </a:lnTo>
                  <a:lnTo>
                    <a:pt x="285" y="65"/>
                  </a:lnTo>
                  <a:lnTo>
                    <a:pt x="280" y="59"/>
                  </a:lnTo>
                  <a:lnTo>
                    <a:pt x="274" y="52"/>
                  </a:lnTo>
                  <a:lnTo>
                    <a:pt x="267" y="48"/>
                  </a:lnTo>
                  <a:lnTo>
                    <a:pt x="259" y="43"/>
                  </a:lnTo>
                  <a:lnTo>
                    <a:pt x="251" y="39"/>
                  </a:lnTo>
                  <a:lnTo>
                    <a:pt x="233" y="33"/>
                  </a:lnTo>
                  <a:lnTo>
                    <a:pt x="213" y="28"/>
                  </a:lnTo>
                  <a:lnTo>
                    <a:pt x="194" y="25"/>
                  </a:lnTo>
                  <a:lnTo>
                    <a:pt x="176" y="25"/>
                  </a:lnTo>
                  <a:close/>
                  <a:moveTo>
                    <a:pt x="174" y="451"/>
                  </a:moveTo>
                  <a:lnTo>
                    <a:pt x="157" y="449"/>
                  </a:lnTo>
                  <a:lnTo>
                    <a:pt x="141" y="447"/>
                  </a:lnTo>
                  <a:lnTo>
                    <a:pt x="127" y="442"/>
                  </a:lnTo>
                  <a:lnTo>
                    <a:pt x="115" y="436"/>
                  </a:lnTo>
                  <a:lnTo>
                    <a:pt x="103" y="429"/>
                  </a:lnTo>
                  <a:lnTo>
                    <a:pt x="93" y="421"/>
                  </a:lnTo>
                  <a:lnTo>
                    <a:pt x="83" y="413"/>
                  </a:lnTo>
                  <a:lnTo>
                    <a:pt x="75" y="403"/>
                  </a:lnTo>
                  <a:lnTo>
                    <a:pt x="67" y="393"/>
                  </a:lnTo>
                  <a:lnTo>
                    <a:pt x="61" y="384"/>
                  </a:lnTo>
                  <a:lnTo>
                    <a:pt x="56" y="374"/>
                  </a:lnTo>
                  <a:lnTo>
                    <a:pt x="51" y="366"/>
                  </a:lnTo>
                  <a:lnTo>
                    <a:pt x="45" y="351"/>
                  </a:lnTo>
                  <a:lnTo>
                    <a:pt x="41" y="340"/>
                  </a:lnTo>
                  <a:lnTo>
                    <a:pt x="30" y="330"/>
                  </a:lnTo>
                  <a:lnTo>
                    <a:pt x="17" y="315"/>
                  </a:lnTo>
                  <a:lnTo>
                    <a:pt x="11" y="306"/>
                  </a:lnTo>
                  <a:lnTo>
                    <a:pt x="4" y="296"/>
                  </a:lnTo>
                  <a:lnTo>
                    <a:pt x="1" y="286"/>
                  </a:lnTo>
                  <a:lnTo>
                    <a:pt x="0" y="275"/>
                  </a:lnTo>
                  <a:lnTo>
                    <a:pt x="0" y="268"/>
                  </a:lnTo>
                  <a:lnTo>
                    <a:pt x="1" y="260"/>
                  </a:lnTo>
                  <a:lnTo>
                    <a:pt x="4" y="254"/>
                  </a:lnTo>
                  <a:lnTo>
                    <a:pt x="9" y="248"/>
                  </a:lnTo>
                  <a:lnTo>
                    <a:pt x="8" y="236"/>
                  </a:lnTo>
                  <a:lnTo>
                    <a:pt x="6" y="218"/>
                  </a:lnTo>
                  <a:lnTo>
                    <a:pt x="4" y="197"/>
                  </a:lnTo>
                  <a:lnTo>
                    <a:pt x="3" y="174"/>
                  </a:lnTo>
                  <a:lnTo>
                    <a:pt x="4" y="151"/>
                  </a:lnTo>
                  <a:lnTo>
                    <a:pt x="8" y="126"/>
                  </a:lnTo>
                  <a:lnTo>
                    <a:pt x="11" y="115"/>
                  </a:lnTo>
                  <a:lnTo>
                    <a:pt x="14" y="104"/>
                  </a:lnTo>
                  <a:lnTo>
                    <a:pt x="18" y="94"/>
                  </a:lnTo>
                  <a:lnTo>
                    <a:pt x="24" y="86"/>
                  </a:lnTo>
                  <a:lnTo>
                    <a:pt x="25" y="75"/>
                  </a:lnTo>
                  <a:lnTo>
                    <a:pt x="29" y="64"/>
                  </a:lnTo>
                  <a:lnTo>
                    <a:pt x="34" y="55"/>
                  </a:lnTo>
                  <a:lnTo>
                    <a:pt x="40" y="46"/>
                  </a:lnTo>
                  <a:lnTo>
                    <a:pt x="47" y="38"/>
                  </a:lnTo>
                  <a:lnTo>
                    <a:pt x="56" y="30"/>
                  </a:lnTo>
                  <a:lnTo>
                    <a:pt x="66" y="24"/>
                  </a:lnTo>
                  <a:lnTo>
                    <a:pt x="76" y="19"/>
                  </a:lnTo>
                  <a:lnTo>
                    <a:pt x="87" y="14"/>
                  </a:lnTo>
                  <a:lnTo>
                    <a:pt x="99" y="11"/>
                  </a:lnTo>
                  <a:lnTo>
                    <a:pt x="111" y="7"/>
                  </a:lnTo>
                  <a:lnTo>
                    <a:pt x="124" y="5"/>
                  </a:lnTo>
                  <a:lnTo>
                    <a:pt x="149" y="1"/>
                  </a:lnTo>
                  <a:lnTo>
                    <a:pt x="176" y="0"/>
                  </a:lnTo>
                  <a:lnTo>
                    <a:pt x="189" y="1"/>
                  </a:lnTo>
                  <a:lnTo>
                    <a:pt x="201" y="1"/>
                  </a:lnTo>
                  <a:lnTo>
                    <a:pt x="213" y="3"/>
                  </a:lnTo>
                  <a:lnTo>
                    <a:pt x="224" y="6"/>
                  </a:lnTo>
                  <a:lnTo>
                    <a:pt x="237" y="8"/>
                  </a:lnTo>
                  <a:lnTo>
                    <a:pt x="248" y="12"/>
                  </a:lnTo>
                  <a:lnTo>
                    <a:pt x="259" y="16"/>
                  </a:lnTo>
                  <a:lnTo>
                    <a:pt x="269" y="21"/>
                  </a:lnTo>
                  <a:lnTo>
                    <a:pt x="278" y="27"/>
                  </a:lnTo>
                  <a:lnTo>
                    <a:pt x="287" y="33"/>
                  </a:lnTo>
                  <a:lnTo>
                    <a:pt x="294" y="39"/>
                  </a:lnTo>
                  <a:lnTo>
                    <a:pt x="302" y="46"/>
                  </a:lnTo>
                  <a:lnTo>
                    <a:pt x="307" y="55"/>
                  </a:lnTo>
                  <a:lnTo>
                    <a:pt x="312" y="64"/>
                  </a:lnTo>
                  <a:lnTo>
                    <a:pt x="314" y="73"/>
                  </a:lnTo>
                  <a:lnTo>
                    <a:pt x="317" y="83"/>
                  </a:lnTo>
                  <a:lnTo>
                    <a:pt x="321" y="93"/>
                  </a:lnTo>
                  <a:lnTo>
                    <a:pt x="326" y="103"/>
                  </a:lnTo>
                  <a:lnTo>
                    <a:pt x="329" y="113"/>
                  </a:lnTo>
                  <a:lnTo>
                    <a:pt x="332" y="124"/>
                  </a:lnTo>
                  <a:lnTo>
                    <a:pt x="335" y="148"/>
                  </a:lnTo>
                  <a:lnTo>
                    <a:pt x="336" y="173"/>
                  </a:lnTo>
                  <a:lnTo>
                    <a:pt x="336" y="196"/>
                  </a:lnTo>
                  <a:lnTo>
                    <a:pt x="335" y="217"/>
                  </a:lnTo>
                  <a:lnTo>
                    <a:pt x="332" y="234"/>
                  </a:lnTo>
                  <a:lnTo>
                    <a:pt x="331" y="248"/>
                  </a:lnTo>
                  <a:lnTo>
                    <a:pt x="336" y="254"/>
                  </a:lnTo>
                  <a:lnTo>
                    <a:pt x="340" y="260"/>
                  </a:lnTo>
                  <a:lnTo>
                    <a:pt x="341" y="268"/>
                  </a:lnTo>
                  <a:lnTo>
                    <a:pt x="342" y="275"/>
                  </a:lnTo>
                  <a:lnTo>
                    <a:pt x="340" y="286"/>
                  </a:lnTo>
                  <a:lnTo>
                    <a:pt x="336" y="296"/>
                  </a:lnTo>
                  <a:lnTo>
                    <a:pt x="331" y="306"/>
                  </a:lnTo>
                  <a:lnTo>
                    <a:pt x="324" y="315"/>
                  </a:lnTo>
                  <a:lnTo>
                    <a:pt x="312" y="330"/>
                  </a:lnTo>
                  <a:lnTo>
                    <a:pt x="301" y="340"/>
                  </a:lnTo>
                  <a:lnTo>
                    <a:pt x="297" y="351"/>
                  </a:lnTo>
                  <a:lnTo>
                    <a:pt x="291" y="366"/>
                  </a:lnTo>
                  <a:lnTo>
                    <a:pt x="287" y="374"/>
                  </a:lnTo>
                  <a:lnTo>
                    <a:pt x="282" y="384"/>
                  </a:lnTo>
                  <a:lnTo>
                    <a:pt x="276" y="393"/>
                  </a:lnTo>
                  <a:lnTo>
                    <a:pt x="270" y="403"/>
                  </a:lnTo>
                  <a:lnTo>
                    <a:pt x="261" y="413"/>
                  </a:lnTo>
                  <a:lnTo>
                    <a:pt x="253" y="421"/>
                  </a:lnTo>
                  <a:lnTo>
                    <a:pt x="243" y="429"/>
                  </a:lnTo>
                  <a:lnTo>
                    <a:pt x="232" y="436"/>
                  </a:lnTo>
                  <a:lnTo>
                    <a:pt x="218" y="442"/>
                  </a:lnTo>
                  <a:lnTo>
                    <a:pt x="205" y="447"/>
                  </a:lnTo>
                  <a:lnTo>
                    <a:pt x="190" y="449"/>
                  </a:lnTo>
                  <a:lnTo>
                    <a:pt x="174" y="45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" name="Freeform 37"/>
            <p:cNvSpPr>
              <a:spLocks/>
            </p:cNvSpPr>
            <p:nvPr/>
          </p:nvSpPr>
          <p:spPr bwMode="auto">
            <a:xfrm>
              <a:off x="915988" y="3502026"/>
              <a:ext cx="11113" cy="52388"/>
            </a:xfrm>
            <a:custGeom>
              <a:avLst/>
              <a:gdLst>
                <a:gd name="T0" fmla="*/ 13 w 26"/>
                <a:gd name="T1" fmla="*/ 133 h 133"/>
                <a:gd name="T2" fmla="*/ 10 w 26"/>
                <a:gd name="T3" fmla="*/ 131 h 133"/>
                <a:gd name="T4" fmla="*/ 6 w 26"/>
                <a:gd name="T5" fmla="*/ 129 h 133"/>
                <a:gd name="T6" fmla="*/ 2 w 26"/>
                <a:gd name="T7" fmla="*/ 125 h 133"/>
                <a:gd name="T8" fmla="*/ 2 w 26"/>
                <a:gd name="T9" fmla="*/ 122 h 133"/>
                <a:gd name="T10" fmla="*/ 0 w 26"/>
                <a:gd name="T11" fmla="*/ 13 h 133"/>
                <a:gd name="T12" fmla="*/ 0 w 26"/>
                <a:gd name="T13" fmla="*/ 9 h 133"/>
                <a:gd name="T14" fmla="*/ 2 w 26"/>
                <a:gd name="T15" fmla="*/ 4 h 133"/>
                <a:gd name="T16" fmla="*/ 6 w 26"/>
                <a:gd name="T17" fmla="*/ 1 h 133"/>
                <a:gd name="T18" fmla="*/ 11 w 26"/>
                <a:gd name="T19" fmla="*/ 0 h 133"/>
                <a:gd name="T20" fmla="*/ 16 w 26"/>
                <a:gd name="T21" fmla="*/ 0 h 133"/>
                <a:gd name="T22" fmla="*/ 19 w 26"/>
                <a:gd name="T23" fmla="*/ 2 h 133"/>
                <a:gd name="T24" fmla="*/ 22 w 26"/>
                <a:gd name="T25" fmla="*/ 6 h 133"/>
                <a:gd name="T26" fmla="*/ 23 w 26"/>
                <a:gd name="T27" fmla="*/ 11 h 133"/>
                <a:gd name="T28" fmla="*/ 26 w 26"/>
                <a:gd name="T29" fmla="*/ 119 h 133"/>
                <a:gd name="T30" fmla="*/ 26 w 26"/>
                <a:gd name="T31" fmla="*/ 124 h 133"/>
                <a:gd name="T32" fmla="*/ 22 w 26"/>
                <a:gd name="T33" fmla="*/ 128 h 133"/>
                <a:gd name="T34" fmla="*/ 18 w 26"/>
                <a:gd name="T35" fmla="*/ 131 h 133"/>
                <a:gd name="T36" fmla="*/ 14 w 26"/>
                <a:gd name="T37" fmla="*/ 133 h 133"/>
                <a:gd name="T38" fmla="*/ 13 w 26"/>
                <a:gd name="T3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" h="133">
                  <a:moveTo>
                    <a:pt x="13" y="133"/>
                  </a:moveTo>
                  <a:lnTo>
                    <a:pt x="10" y="131"/>
                  </a:lnTo>
                  <a:lnTo>
                    <a:pt x="6" y="129"/>
                  </a:lnTo>
                  <a:lnTo>
                    <a:pt x="2" y="125"/>
                  </a:lnTo>
                  <a:lnTo>
                    <a:pt x="2" y="122"/>
                  </a:lnTo>
                  <a:lnTo>
                    <a:pt x="0" y="13"/>
                  </a:lnTo>
                  <a:lnTo>
                    <a:pt x="0" y="9"/>
                  </a:lnTo>
                  <a:lnTo>
                    <a:pt x="2" y="4"/>
                  </a:lnTo>
                  <a:lnTo>
                    <a:pt x="6" y="1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9" y="2"/>
                  </a:lnTo>
                  <a:lnTo>
                    <a:pt x="22" y="6"/>
                  </a:lnTo>
                  <a:lnTo>
                    <a:pt x="23" y="11"/>
                  </a:lnTo>
                  <a:lnTo>
                    <a:pt x="26" y="119"/>
                  </a:lnTo>
                  <a:lnTo>
                    <a:pt x="26" y="124"/>
                  </a:lnTo>
                  <a:lnTo>
                    <a:pt x="22" y="128"/>
                  </a:lnTo>
                  <a:lnTo>
                    <a:pt x="18" y="131"/>
                  </a:lnTo>
                  <a:lnTo>
                    <a:pt x="14" y="133"/>
                  </a:lnTo>
                  <a:lnTo>
                    <a:pt x="13" y="133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" name="Freeform 38"/>
            <p:cNvSpPr>
              <a:spLocks/>
            </p:cNvSpPr>
            <p:nvPr/>
          </p:nvSpPr>
          <p:spPr bwMode="auto">
            <a:xfrm>
              <a:off x="1004888" y="3502026"/>
              <a:ext cx="11113" cy="52388"/>
            </a:xfrm>
            <a:custGeom>
              <a:avLst/>
              <a:gdLst>
                <a:gd name="T0" fmla="*/ 12 w 27"/>
                <a:gd name="T1" fmla="*/ 133 h 133"/>
                <a:gd name="T2" fmla="*/ 12 w 27"/>
                <a:gd name="T3" fmla="*/ 133 h 133"/>
                <a:gd name="T4" fmla="*/ 12 w 27"/>
                <a:gd name="T5" fmla="*/ 133 h 133"/>
                <a:gd name="T6" fmla="*/ 7 w 27"/>
                <a:gd name="T7" fmla="*/ 131 h 133"/>
                <a:gd name="T8" fmla="*/ 4 w 27"/>
                <a:gd name="T9" fmla="*/ 128 h 133"/>
                <a:gd name="T10" fmla="*/ 1 w 27"/>
                <a:gd name="T11" fmla="*/ 124 h 133"/>
                <a:gd name="T12" fmla="*/ 0 w 27"/>
                <a:gd name="T13" fmla="*/ 119 h 133"/>
                <a:gd name="T14" fmla="*/ 3 w 27"/>
                <a:gd name="T15" fmla="*/ 11 h 133"/>
                <a:gd name="T16" fmla="*/ 4 w 27"/>
                <a:gd name="T17" fmla="*/ 6 h 133"/>
                <a:gd name="T18" fmla="*/ 6 w 27"/>
                <a:gd name="T19" fmla="*/ 2 h 133"/>
                <a:gd name="T20" fmla="*/ 10 w 27"/>
                <a:gd name="T21" fmla="*/ 0 h 133"/>
                <a:gd name="T22" fmla="*/ 15 w 27"/>
                <a:gd name="T23" fmla="*/ 0 h 133"/>
                <a:gd name="T24" fmla="*/ 20 w 27"/>
                <a:gd name="T25" fmla="*/ 1 h 133"/>
                <a:gd name="T26" fmla="*/ 23 w 27"/>
                <a:gd name="T27" fmla="*/ 4 h 133"/>
                <a:gd name="T28" fmla="*/ 26 w 27"/>
                <a:gd name="T29" fmla="*/ 9 h 133"/>
                <a:gd name="T30" fmla="*/ 27 w 27"/>
                <a:gd name="T31" fmla="*/ 13 h 133"/>
                <a:gd name="T32" fmla="*/ 25 w 27"/>
                <a:gd name="T33" fmla="*/ 122 h 133"/>
                <a:gd name="T34" fmla="*/ 23 w 27"/>
                <a:gd name="T35" fmla="*/ 125 h 133"/>
                <a:gd name="T36" fmla="*/ 21 w 27"/>
                <a:gd name="T37" fmla="*/ 129 h 133"/>
                <a:gd name="T38" fmla="*/ 17 w 27"/>
                <a:gd name="T39" fmla="*/ 131 h 133"/>
                <a:gd name="T40" fmla="*/ 12 w 27"/>
                <a:gd name="T41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133">
                  <a:moveTo>
                    <a:pt x="12" y="133"/>
                  </a:moveTo>
                  <a:lnTo>
                    <a:pt x="12" y="133"/>
                  </a:lnTo>
                  <a:lnTo>
                    <a:pt x="12" y="133"/>
                  </a:lnTo>
                  <a:lnTo>
                    <a:pt x="7" y="131"/>
                  </a:lnTo>
                  <a:lnTo>
                    <a:pt x="4" y="128"/>
                  </a:lnTo>
                  <a:lnTo>
                    <a:pt x="1" y="124"/>
                  </a:lnTo>
                  <a:lnTo>
                    <a:pt x="0" y="119"/>
                  </a:lnTo>
                  <a:lnTo>
                    <a:pt x="3" y="11"/>
                  </a:lnTo>
                  <a:lnTo>
                    <a:pt x="4" y="6"/>
                  </a:lnTo>
                  <a:lnTo>
                    <a:pt x="6" y="2"/>
                  </a:lnTo>
                  <a:lnTo>
                    <a:pt x="10" y="0"/>
                  </a:lnTo>
                  <a:lnTo>
                    <a:pt x="15" y="0"/>
                  </a:lnTo>
                  <a:lnTo>
                    <a:pt x="20" y="1"/>
                  </a:lnTo>
                  <a:lnTo>
                    <a:pt x="23" y="4"/>
                  </a:lnTo>
                  <a:lnTo>
                    <a:pt x="26" y="9"/>
                  </a:lnTo>
                  <a:lnTo>
                    <a:pt x="27" y="13"/>
                  </a:lnTo>
                  <a:lnTo>
                    <a:pt x="25" y="122"/>
                  </a:lnTo>
                  <a:lnTo>
                    <a:pt x="23" y="125"/>
                  </a:lnTo>
                  <a:lnTo>
                    <a:pt x="21" y="129"/>
                  </a:lnTo>
                  <a:lnTo>
                    <a:pt x="17" y="131"/>
                  </a:lnTo>
                  <a:lnTo>
                    <a:pt x="12" y="133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" name="Freeform 39"/>
            <p:cNvSpPr>
              <a:spLocks/>
            </p:cNvSpPr>
            <p:nvPr/>
          </p:nvSpPr>
          <p:spPr bwMode="auto">
            <a:xfrm>
              <a:off x="1060451" y="3656013"/>
              <a:ext cx="11113" cy="138113"/>
            </a:xfrm>
            <a:custGeom>
              <a:avLst/>
              <a:gdLst>
                <a:gd name="T0" fmla="*/ 12 w 25"/>
                <a:gd name="T1" fmla="*/ 349 h 349"/>
                <a:gd name="T2" fmla="*/ 12 w 25"/>
                <a:gd name="T3" fmla="*/ 349 h 349"/>
                <a:gd name="T4" fmla="*/ 7 w 25"/>
                <a:gd name="T5" fmla="*/ 348 h 349"/>
                <a:gd name="T6" fmla="*/ 3 w 25"/>
                <a:gd name="T7" fmla="*/ 345 h 349"/>
                <a:gd name="T8" fmla="*/ 1 w 25"/>
                <a:gd name="T9" fmla="*/ 342 h 349"/>
                <a:gd name="T10" fmla="*/ 0 w 25"/>
                <a:gd name="T11" fmla="*/ 338 h 349"/>
                <a:gd name="T12" fmla="*/ 1 w 25"/>
                <a:gd name="T13" fmla="*/ 11 h 349"/>
                <a:gd name="T14" fmla="*/ 2 w 25"/>
                <a:gd name="T15" fmla="*/ 6 h 349"/>
                <a:gd name="T16" fmla="*/ 4 w 25"/>
                <a:gd name="T17" fmla="*/ 2 h 349"/>
                <a:gd name="T18" fmla="*/ 8 w 25"/>
                <a:gd name="T19" fmla="*/ 0 h 349"/>
                <a:gd name="T20" fmla="*/ 13 w 25"/>
                <a:gd name="T21" fmla="*/ 0 h 349"/>
                <a:gd name="T22" fmla="*/ 18 w 25"/>
                <a:gd name="T23" fmla="*/ 0 h 349"/>
                <a:gd name="T24" fmla="*/ 22 w 25"/>
                <a:gd name="T25" fmla="*/ 2 h 349"/>
                <a:gd name="T26" fmla="*/ 24 w 25"/>
                <a:gd name="T27" fmla="*/ 6 h 349"/>
                <a:gd name="T28" fmla="*/ 25 w 25"/>
                <a:gd name="T29" fmla="*/ 11 h 349"/>
                <a:gd name="T30" fmla="*/ 23 w 25"/>
                <a:gd name="T31" fmla="*/ 338 h 349"/>
                <a:gd name="T32" fmla="*/ 23 w 25"/>
                <a:gd name="T33" fmla="*/ 342 h 349"/>
                <a:gd name="T34" fmla="*/ 19 w 25"/>
                <a:gd name="T35" fmla="*/ 345 h 349"/>
                <a:gd name="T36" fmla="*/ 16 w 25"/>
                <a:gd name="T37" fmla="*/ 348 h 349"/>
                <a:gd name="T38" fmla="*/ 12 w 25"/>
                <a:gd name="T39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49">
                  <a:moveTo>
                    <a:pt x="12" y="349"/>
                  </a:moveTo>
                  <a:lnTo>
                    <a:pt x="12" y="349"/>
                  </a:lnTo>
                  <a:lnTo>
                    <a:pt x="7" y="348"/>
                  </a:lnTo>
                  <a:lnTo>
                    <a:pt x="3" y="345"/>
                  </a:lnTo>
                  <a:lnTo>
                    <a:pt x="1" y="342"/>
                  </a:lnTo>
                  <a:lnTo>
                    <a:pt x="0" y="338"/>
                  </a:lnTo>
                  <a:lnTo>
                    <a:pt x="1" y="11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6"/>
                  </a:lnTo>
                  <a:lnTo>
                    <a:pt x="25" y="11"/>
                  </a:lnTo>
                  <a:lnTo>
                    <a:pt x="23" y="338"/>
                  </a:lnTo>
                  <a:lnTo>
                    <a:pt x="23" y="342"/>
                  </a:lnTo>
                  <a:lnTo>
                    <a:pt x="19" y="345"/>
                  </a:lnTo>
                  <a:lnTo>
                    <a:pt x="16" y="348"/>
                  </a:lnTo>
                  <a:lnTo>
                    <a:pt x="12" y="34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1" name="Freeform 40"/>
            <p:cNvSpPr>
              <a:spLocks/>
            </p:cNvSpPr>
            <p:nvPr/>
          </p:nvSpPr>
          <p:spPr bwMode="auto">
            <a:xfrm>
              <a:off x="863601" y="3656013"/>
              <a:ext cx="9525" cy="136525"/>
            </a:xfrm>
            <a:custGeom>
              <a:avLst/>
              <a:gdLst>
                <a:gd name="T0" fmla="*/ 12 w 23"/>
                <a:gd name="T1" fmla="*/ 344 h 344"/>
                <a:gd name="T2" fmla="*/ 7 w 23"/>
                <a:gd name="T3" fmla="*/ 343 h 344"/>
                <a:gd name="T4" fmla="*/ 4 w 23"/>
                <a:gd name="T5" fmla="*/ 342 h 344"/>
                <a:gd name="T6" fmla="*/ 1 w 23"/>
                <a:gd name="T7" fmla="*/ 338 h 344"/>
                <a:gd name="T8" fmla="*/ 0 w 23"/>
                <a:gd name="T9" fmla="*/ 333 h 344"/>
                <a:gd name="T10" fmla="*/ 0 w 23"/>
                <a:gd name="T11" fmla="*/ 11 h 344"/>
                <a:gd name="T12" fmla="*/ 1 w 23"/>
                <a:gd name="T13" fmla="*/ 6 h 344"/>
                <a:gd name="T14" fmla="*/ 4 w 23"/>
                <a:gd name="T15" fmla="*/ 2 h 344"/>
                <a:gd name="T16" fmla="*/ 7 w 23"/>
                <a:gd name="T17" fmla="*/ 0 h 344"/>
                <a:gd name="T18" fmla="*/ 12 w 23"/>
                <a:gd name="T19" fmla="*/ 0 h 344"/>
                <a:gd name="T20" fmla="*/ 16 w 23"/>
                <a:gd name="T21" fmla="*/ 0 h 344"/>
                <a:gd name="T22" fmla="*/ 20 w 23"/>
                <a:gd name="T23" fmla="*/ 2 h 344"/>
                <a:gd name="T24" fmla="*/ 23 w 23"/>
                <a:gd name="T25" fmla="*/ 6 h 344"/>
                <a:gd name="T26" fmla="*/ 23 w 23"/>
                <a:gd name="T27" fmla="*/ 11 h 344"/>
                <a:gd name="T28" fmla="*/ 23 w 23"/>
                <a:gd name="T29" fmla="*/ 333 h 344"/>
                <a:gd name="T30" fmla="*/ 23 w 23"/>
                <a:gd name="T31" fmla="*/ 338 h 344"/>
                <a:gd name="T32" fmla="*/ 20 w 23"/>
                <a:gd name="T33" fmla="*/ 342 h 344"/>
                <a:gd name="T34" fmla="*/ 16 w 23"/>
                <a:gd name="T35" fmla="*/ 343 h 344"/>
                <a:gd name="T36" fmla="*/ 12 w 23"/>
                <a:gd name="T37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344">
                  <a:moveTo>
                    <a:pt x="12" y="344"/>
                  </a:moveTo>
                  <a:lnTo>
                    <a:pt x="7" y="343"/>
                  </a:lnTo>
                  <a:lnTo>
                    <a:pt x="4" y="342"/>
                  </a:lnTo>
                  <a:lnTo>
                    <a:pt x="1" y="338"/>
                  </a:lnTo>
                  <a:lnTo>
                    <a:pt x="0" y="333"/>
                  </a:lnTo>
                  <a:lnTo>
                    <a:pt x="0" y="11"/>
                  </a:lnTo>
                  <a:lnTo>
                    <a:pt x="1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3" y="6"/>
                  </a:lnTo>
                  <a:lnTo>
                    <a:pt x="23" y="11"/>
                  </a:lnTo>
                  <a:lnTo>
                    <a:pt x="23" y="333"/>
                  </a:lnTo>
                  <a:lnTo>
                    <a:pt x="23" y="338"/>
                  </a:lnTo>
                  <a:lnTo>
                    <a:pt x="20" y="342"/>
                  </a:lnTo>
                  <a:lnTo>
                    <a:pt x="16" y="343"/>
                  </a:lnTo>
                  <a:lnTo>
                    <a:pt x="12" y="34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" name="Freeform 41"/>
            <p:cNvSpPr>
              <a:spLocks/>
            </p:cNvSpPr>
            <p:nvPr/>
          </p:nvSpPr>
          <p:spPr bwMode="auto">
            <a:xfrm>
              <a:off x="885826" y="3552826"/>
              <a:ext cx="85725" cy="61913"/>
            </a:xfrm>
            <a:custGeom>
              <a:avLst/>
              <a:gdLst>
                <a:gd name="T0" fmla="*/ 116 w 218"/>
                <a:gd name="T1" fmla="*/ 159 h 159"/>
                <a:gd name="T2" fmla="*/ 110 w 218"/>
                <a:gd name="T3" fmla="*/ 156 h 159"/>
                <a:gd name="T4" fmla="*/ 106 w 218"/>
                <a:gd name="T5" fmla="*/ 154 h 159"/>
                <a:gd name="T6" fmla="*/ 3 w 218"/>
                <a:gd name="T7" fmla="*/ 21 h 159"/>
                <a:gd name="T8" fmla="*/ 0 w 218"/>
                <a:gd name="T9" fmla="*/ 16 h 159"/>
                <a:gd name="T10" fmla="*/ 0 w 218"/>
                <a:gd name="T11" fmla="*/ 11 h 159"/>
                <a:gd name="T12" fmla="*/ 2 w 218"/>
                <a:gd name="T13" fmla="*/ 6 h 159"/>
                <a:gd name="T14" fmla="*/ 5 w 218"/>
                <a:gd name="T15" fmla="*/ 3 h 159"/>
                <a:gd name="T16" fmla="*/ 9 w 218"/>
                <a:gd name="T17" fmla="*/ 0 h 159"/>
                <a:gd name="T18" fmla="*/ 14 w 218"/>
                <a:gd name="T19" fmla="*/ 0 h 159"/>
                <a:gd name="T20" fmla="*/ 19 w 218"/>
                <a:gd name="T21" fmla="*/ 3 h 159"/>
                <a:gd name="T22" fmla="*/ 22 w 218"/>
                <a:gd name="T23" fmla="*/ 5 h 159"/>
                <a:gd name="T24" fmla="*/ 117 w 218"/>
                <a:gd name="T25" fmla="*/ 129 h 159"/>
                <a:gd name="T26" fmla="*/ 199 w 218"/>
                <a:gd name="T27" fmla="*/ 68 h 159"/>
                <a:gd name="T28" fmla="*/ 203 w 218"/>
                <a:gd name="T29" fmla="*/ 65 h 159"/>
                <a:gd name="T30" fmla="*/ 208 w 218"/>
                <a:gd name="T31" fmla="*/ 65 h 159"/>
                <a:gd name="T32" fmla="*/ 212 w 218"/>
                <a:gd name="T33" fmla="*/ 67 h 159"/>
                <a:gd name="T34" fmla="*/ 215 w 218"/>
                <a:gd name="T35" fmla="*/ 70 h 159"/>
                <a:gd name="T36" fmla="*/ 218 w 218"/>
                <a:gd name="T37" fmla="*/ 74 h 159"/>
                <a:gd name="T38" fmla="*/ 218 w 218"/>
                <a:gd name="T39" fmla="*/ 78 h 159"/>
                <a:gd name="T40" fmla="*/ 217 w 218"/>
                <a:gd name="T41" fmla="*/ 83 h 159"/>
                <a:gd name="T42" fmla="*/ 214 w 218"/>
                <a:gd name="T43" fmla="*/ 86 h 159"/>
                <a:gd name="T44" fmla="*/ 123 w 218"/>
                <a:gd name="T45" fmla="*/ 156 h 159"/>
                <a:gd name="T46" fmla="*/ 119 w 218"/>
                <a:gd name="T47" fmla="*/ 158 h 159"/>
                <a:gd name="T48" fmla="*/ 116 w 218"/>
                <a:gd name="T49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8" h="159">
                  <a:moveTo>
                    <a:pt x="116" y="159"/>
                  </a:moveTo>
                  <a:lnTo>
                    <a:pt x="110" y="156"/>
                  </a:lnTo>
                  <a:lnTo>
                    <a:pt x="106" y="154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2" y="6"/>
                  </a:lnTo>
                  <a:lnTo>
                    <a:pt x="5" y="3"/>
                  </a:lnTo>
                  <a:lnTo>
                    <a:pt x="9" y="0"/>
                  </a:lnTo>
                  <a:lnTo>
                    <a:pt x="14" y="0"/>
                  </a:lnTo>
                  <a:lnTo>
                    <a:pt x="19" y="3"/>
                  </a:lnTo>
                  <a:lnTo>
                    <a:pt x="22" y="5"/>
                  </a:lnTo>
                  <a:lnTo>
                    <a:pt x="117" y="129"/>
                  </a:lnTo>
                  <a:lnTo>
                    <a:pt x="199" y="68"/>
                  </a:lnTo>
                  <a:lnTo>
                    <a:pt x="203" y="65"/>
                  </a:lnTo>
                  <a:lnTo>
                    <a:pt x="208" y="65"/>
                  </a:lnTo>
                  <a:lnTo>
                    <a:pt x="212" y="67"/>
                  </a:lnTo>
                  <a:lnTo>
                    <a:pt x="215" y="70"/>
                  </a:lnTo>
                  <a:lnTo>
                    <a:pt x="218" y="74"/>
                  </a:lnTo>
                  <a:lnTo>
                    <a:pt x="218" y="78"/>
                  </a:lnTo>
                  <a:lnTo>
                    <a:pt x="217" y="83"/>
                  </a:lnTo>
                  <a:lnTo>
                    <a:pt x="214" y="86"/>
                  </a:lnTo>
                  <a:lnTo>
                    <a:pt x="123" y="156"/>
                  </a:lnTo>
                  <a:lnTo>
                    <a:pt x="119" y="158"/>
                  </a:lnTo>
                  <a:lnTo>
                    <a:pt x="116" y="15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3" name="Freeform 42"/>
            <p:cNvSpPr>
              <a:spLocks/>
            </p:cNvSpPr>
            <p:nvPr/>
          </p:nvSpPr>
          <p:spPr bwMode="auto">
            <a:xfrm>
              <a:off x="962026" y="3552826"/>
              <a:ext cx="85725" cy="61913"/>
            </a:xfrm>
            <a:custGeom>
              <a:avLst/>
              <a:gdLst>
                <a:gd name="T0" fmla="*/ 104 w 215"/>
                <a:gd name="T1" fmla="*/ 155 h 155"/>
                <a:gd name="T2" fmla="*/ 100 w 215"/>
                <a:gd name="T3" fmla="*/ 154 h 155"/>
                <a:gd name="T4" fmla="*/ 96 w 215"/>
                <a:gd name="T5" fmla="*/ 152 h 155"/>
                <a:gd name="T6" fmla="*/ 5 w 215"/>
                <a:gd name="T7" fmla="*/ 82 h 155"/>
                <a:gd name="T8" fmla="*/ 2 w 215"/>
                <a:gd name="T9" fmla="*/ 79 h 155"/>
                <a:gd name="T10" fmla="*/ 0 w 215"/>
                <a:gd name="T11" fmla="*/ 74 h 155"/>
                <a:gd name="T12" fmla="*/ 0 w 215"/>
                <a:gd name="T13" fmla="*/ 70 h 155"/>
                <a:gd name="T14" fmla="*/ 3 w 215"/>
                <a:gd name="T15" fmla="*/ 66 h 155"/>
                <a:gd name="T16" fmla="*/ 7 w 215"/>
                <a:gd name="T17" fmla="*/ 63 h 155"/>
                <a:gd name="T18" fmla="*/ 10 w 215"/>
                <a:gd name="T19" fmla="*/ 61 h 155"/>
                <a:gd name="T20" fmla="*/ 15 w 215"/>
                <a:gd name="T21" fmla="*/ 61 h 155"/>
                <a:gd name="T22" fmla="*/ 20 w 215"/>
                <a:gd name="T23" fmla="*/ 64 h 155"/>
                <a:gd name="T24" fmla="*/ 101 w 215"/>
                <a:gd name="T25" fmla="*/ 125 h 155"/>
                <a:gd name="T26" fmla="*/ 195 w 215"/>
                <a:gd name="T27" fmla="*/ 6 h 155"/>
                <a:gd name="T28" fmla="*/ 198 w 215"/>
                <a:gd name="T29" fmla="*/ 2 h 155"/>
                <a:gd name="T30" fmla="*/ 203 w 215"/>
                <a:gd name="T31" fmla="*/ 0 h 155"/>
                <a:gd name="T32" fmla="*/ 207 w 215"/>
                <a:gd name="T33" fmla="*/ 1 h 155"/>
                <a:gd name="T34" fmla="*/ 212 w 215"/>
                <a:gd name="T35" fmla="*/ 4 h 155"/>
                <a:gd name="T36" fmla="*/ 214 w 215"/>
                <a:gd name="T37" fmla="*/ 6 h 155"/>
                <a:gd name="T38" fmla="*/ 215 w 215"/>
                <a:gd name="T39" fmla="*/ 11 h 155"/>
                <a:gd name="T40" fmla="*/ 215 w 215"/>
                <a:gd name="T41" fmla="*/ 15 h 155"/>
                <a:gd name="T42" fmla="*/ 213 w 215"/>
                <a:gd name="T43" fmla="*/ 20 h 155"/>
                <a:gd name="T44" fmla="*/ 113 w 215"/>
                <a:gd name="T45" fmla="*/ 150 h 155"/>
                <a:gd name="T46" fmla="*/ 109 w 215"/>
                <a:gd name="T47" fmla="*/ 152 h 155"/>
                <a:gd name="T48" fmla="*/ 104 w 215"/>
                <a:gd name="T4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5" h="155">
                  <a:moveTo>
                    <a:pt x="104" y="155"/>
                  </a:moveTo>
                  <a:lnTo>
                    <a:pt x="100" y="154"/>
                  </a:lnTo>
                  <a:lnTo>
                    <a:pt x="96" y="152"/>
                  </a:lnTo>
                  <a:lnTo>
                    <a:pt x="5" y="82"/>
                  </a:lnTo>
                  <a:lnTo>
                    <a:pt x="2" y="79"/>
                  </a:lnTo>
                  <a:lnTo>
                    <a:pt x="0" y="74"/>
                  </a:lnTo>
                  <a:lnTo>
                    <a:pt x="0" y="70"/>
                  </a:lnTo>
                  <a:lnTo>
                    <a:pt x="3" y="66"/>
                  </a:lnTo>
                  <a:lnTo>
                    <a:pt x="7" y="63"/>
                  </a:lnTo>
                  <a:lnTo>
                    <a:pt x="10" y="61"/>
                  </a:lnTo>
                  <a:lnTo>
                    <a:pt x="15" y="61"/>
                  </a:lnTo>
                  <a:lnTo>
                    <a:pt x="20" y="64"/>
                  </a:lnTo>
                  <a:lnTo>
                    <a:pt x="101" y="125"/>
                  </a:lnTo>
                  <a:lnTo>
                    <a:pt x="195" y="6"/>
                  </a:lnTo>
                  <a:lnTo>
                    <a:pt x="198" y="2"/>
                  </a:lnTo>
                  <a:lnTo>
                    <a:pt x="203" y="0"/>
                  </a:lnTo>
                  <a:lnTo>
                    <a:pt x="207" y="1"/>
                  </a:lnTo>
                  <a:lnTo>
                    <a:pt x="212" y="4"/>
                  </a:lnTo>
                  <a:lnTo>
                    <a:pt x="214" y="6"/>
                  </a:lnTo>
                  <a:lnTo>
                    <a:pt x="215" y="11"/>
                  </a:lnTo>
                  <a:lnTo>
                    <a:pt x="215" y="15"/>
                  </a:lnTo>
                  <a:lnTo>
                    <a:pt x="213" y="20"/>
                  </a:lnTo>
                  <a:lnTo>
                    <a:pt x="113" y="150"/>
                  </a:lnTo>
                  <a:lnTo>
                    <a:pt x="109" y="152"/>
                  </a:lnTo>
                  <a:lnTo>
                    <a:pt x="104" y="155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" name="Freeform 43"/>
            <p:cNvSpPr>
              <a:spLocks/>
            </p:cNvSpPr>
            <p:nvPr/>
          </p:nvSpPr>
          <p:spPr bwMode="auto">
            <a:xfrm>
              <a:off x="941388" y="3619501"/>
              <a:ext cx="55563" cy="169863"/>
            </a:xfrm>
            <a:custGeom>
              <a:avLst/>
              <a:gdLst>
                <a:gd name="T0" fmla="*/ 0 w 144"/>
                <a:gd name="T1" fmla="*/ 430 h 430"/>
                <a:gd name="T2" fmla="*/ 36 w 144"/>
                <a:gd name="T3" fmla="*/ 0 h 430"/>
                <a:gd name="T4" fmla="*/ 100 w 144"/>
                <a:gd name="T5" fmla="*/ 0 h 430"/>
                <a:gd name="T6" fmla="*/ 144 w 144"/>
                <a:gd name="T7" fmla="*/ 425 h 430"/>
                <a:gd name="T8" fmla="*/ 0 w 144"/>
                <a:gd name="T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430">
                  <a:moveTo>
                    <a:pt x="0" y="430"/>
                  </a:moveTo>
                  <a:lnTo>
                    <a:pt x="36" y="0"/>
                  </a:lnTo>
                  <a:lnTo>
                    <a:pt x="100" y="0"/>
                  </a:lnTo>
                  <a:lnTo>
                    <a:pt x="144" y="425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" name="Freeform 44"/>
            <p:cNvSpPr>
              <a:spLocks/>
            </p:cNvSpPr>
            <p:nvPr/>
          </p:nvSpPr>
          <p:spPr bwMode="auto">
            <a:xfrm>
              <a:off x="935038" y="3614738"/>
              <a:ext cx="66675" cy="179388"/>
            </a:xfrm>
            <a:custGeom>
              <a:avLst/>
              <a:gdLst>
                <a:gd name="T0" fmla="*/ 12 w 167"/>
                <a:gd name="T1" fmla="*/ 455 h 455"/>
                <a:gd name="T2" fmla="*/ 11 w 167"/>
                <a:gd name="T3" fmla="*/ 455 h 455"/>
                <a:gd name="T4" fmla="*/ 11 w 167"/>
                <a:gd name="T5" fmla="*/ 455 h 455"/>
                <a:gd name="T6" fmla="*/ 6 w 167"/>
                <a:gd name="T7" fmla="*/ 454 h 455"/>
                <a:gd name="T8" fmla="*/ 2 w 167"/>
                <a:gd name="T9" fmla="*/ 450 h 455"/>
                <a:gd name="T10" fmla="*/ 0 w 167"/>
                <a:gd name="T11" fmla="*/ 446 h 455"/>
                <a:gd name="T12" fmla="*/ 0 w 167"/>
                <a:gd name="T13" fmla="*/ 442 h 455"/>
                <a:gd name="T14" fmla="*/ 37 w 167"/>
                <a:gd name="T15" fmla="*/ 11 h 455"/>
                <a:gd name="T16" fmla="*/ 38 w 167"/>
                <a:gd name="T17" fmla="*/ 6 h 455"/>
                <a:gd name="T18" fmla="*/ 40 w 167"/>
                <a:gd name="T19" fmla="*/ 3 h 455"/>
                <a:gd name="T20" fmla="*/ 44 w 167"/>
                <a:gd name="T21" fmla="*/ 0 h 455"/>
                <a:gd name="T22" fmla="*/ 48 w 167"/>
                <a:gd name="T23" fmla="*/ 0 h 455"/>
                <a:gd name="T24" fmla="*/ 112 w 167"/>
                <a:gd name="T25" fmla="*/ 0 h 455"/>
                <a:gd name="T26" fmla="*/ 117 w 167"/>
                <a:gd name="T27" fmla="*/ 0 h 455"/>
                <a:gd name="T28" fmla="*/ 120 w 167"/>
                <a:gd name="T29" fmla="*/ 3 h 455"/>
                <a:gd name="T30" fmla="*/ 123 w 167"/>
                <a:gd name="T31" fmla="*/ 6 h 455"/>
                <a:gd name="T32" fmla="*/ 124 w 167"/>
                <a:gd name="T33" fmla="*/ 11 h 455"/>
                <a:gd name="T34" fmla="*/ 167 w 167"/>
                <a:gd name="T35" fmla="*/ 437 h 455"/>
                <a:gd name="T36" fmla="*/ 167 w 167"/>
                <a:gd name="T37" fmla="*/ 442 h 455"/>
                <a:gd name="T38" fmla="*/ 164 w 167"/>
                <a:gd name="T39" fmla="*/ 446 h 455"/>
                <a:gd name="T40" fmla="*/ 161 w 167"/>
                <a:gd name="T41" fmla="*/ 449 h 455"/>
                <a:gd name="T42" fmla="*/ 157 w 167"/>
                <a:gd name="T43" fmla="*/ 450 h 455"/>
                <a:gd name="T44" fmla="*/ 152 w 167"/>
                <a:gd name="T45" fmla="*/ 449 h 455"/>
                <a:gd name="T46" fmla="*/ 147 w 167"/>
                <a:gd name="T47" fmla="*/ 448 h 455"/>
                <a:gd name="T48" fmla="*/ 145 w 167"/>
                <a:gd name="T49" fmla="*/ 444 h 455"/>
                <a:gd name="T50" fmla="*/ 144 w 167"/>
                <a:gd name="T51" fmla="*/ 439 h 455"/>
                <a:gd name="T52" fmla="*/ 102 w 167"/>
                <a:gd name="T53" fmla="*/ 25 h 455"/>
                <a:gd name="T54" fmla="*/ 59 w 167"/>
                <a:gd name="T55" fmla="*/ 25 h 455"/>
                <a:gd name="T56" fmla="*/ 23 w 167"/>
                <a:gd name="T57" fmla="*/ 444 h 455"/>
                <a:gd name="T58" fmla="*/ 22 w 167"/>
                <a:gd name="T59" fmla="*/ 448 h 455"/>
                <a:gd name="T60" fmla="*/ 20 w 167"/>
                <a:gd name="T61" fmla="*/ 451 h 455"/>
                <a:gd name="T62" fmla="*/ 16 w 167"/>
                <a:gd name="T63" fmla="*/ 454 h 455"/>
                <a:gd name="T64" fmla="*/ 12 w 167"/>
                <a:gd name="T65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7" h="455">
                  <a:moveTo>
                    <a:pt x="12" y="455"/>
                  </a:moveTo>
                  <a:lnTo>
                    <a:pt x="11" y="455"/>
                  </a:lnTo>
                  <a:lnTo>
                    <a:pt x="11" y="455"/>
                  </a:lnTo>
                  <a:lnTo>
                    <a:pt x="6" y="454"/>
                  </a:lnTo>
                  <a:lnTo>
                    <a:pt x="2" y="450"/>
                  </a:lnTo>
                  <a:lnTo>
                    <a:pt x="0" y="446"/>
                  </a:lnTo>
                  <a:lnTo>
                    <a:pt x="0" y="442"/>
                  </a:lnTo>
                  <a:lnTo>
                    <a:pt x="37" y="11"/>
                  </a:lnTo>
                  <a:lnTo>
                    <a:pt x="38" y="6"/>
                  </a:lnTo>
                  <a:lnTo>
                    <a:pt x="40" y="3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112" y="0"/>
                  </a:lnTo>
                  <a:lnTo>
                    <a:pt x="117" y="0"/>
                  </a:lnTo>
                  <a:lnTo>
                    <a:pt x="120" y="3"/>
                  </a:lnTo>
                  <a:lnTo>
                    <a:pt x="123" y="6"/>
                  </a:lnTo>
                  <a:lnTo>
                    <a:pt x="124" y="11"/>
                  </a:lnTo>
                  <a:lnTo>
                    <a:pt x="167" y="437"/>
                  </a:lnTo>
                  <a:lnTo>
                    <a:pt x="167" y="442"/>
                  </a:lnTo>
                  <a:lnTo>
                    <a:pt x="164" y="446"/>
                  </a:lnTo>
                  <a:lnTo>
                    <a:pt x="161" y="449"/>
                  </a:lnTo>
                  <a:lnTo>
                    <a:pt x="157" y="450"/>
                  </a:lnTo>
                  <a:lnTo>
                    <a:pt x="152" y="449"/>
                  </a:lnTo>
                  <a:lnTo>
                    <a:pt x="147" y="448"/>
                  </a:lnTo>
                  <a:lnTo>
                    <a:pt x="145" y="444"/>
                  </a:lnTo>
                  <a:lnTo>
                    <a:pt x="144" y="439"/>
                  </a:lnTo>
                  <a:lnTo>
                    <a:pt x="102" y="25"/>
                  </a:lnTo>
                  <a:lnTo>
                    <a:pt x="59" y="25"/>
                  </a:lnTo>
                  <a:lnTo>
                    <a:pt x="23" y="444"/>
                  </a:lnTo>
                  <a:lnTo>
                    <a:pt x="22" y="448"/>
                  </a:lnTo>
                  <a:lnTo>
                    <a:pt x="20" y="451"/>
                  </a:lnTo>
                  <a:lnTo>
                    <a:pt x="16" y="454"/>
                  </a:lnTo>
                  <a:lnTo>
                    <a:pt x="12" y="455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" name="Freeform 45"/>
            <p:cNvSpPr>
              <a:spLocks/>
            </p:cNvSpPr>
            <p:nvPr/>
          </p:nvSpPr>
          <p:spPr bwMode="auto">
            <a:xfrm>
              <a:off x="784226" y="3784601"/>
              <a:ext cx="366713" cy="9525"/>
            </a:xfrm>
            <a:custGeom>
              <a:avLst/>
              <a:gdLst>
                <a:gd name="T0" fmla="*/ 914 w 925"/>
                <a:gd name="T1" fmla="*/ 25 h 25"/>
                <a:gd name="T2" fmla="*/ 12 w 925"/>
                <a:gd name="T3" fmla="*/ 25 h 25"/>
                <a:gd name="T4" fmla="*/ 7 w 925"/>
                <a:gd name="T5" fmla="*/ 24 h 25"/>
                <a:gd name="T6" fmla="*/ 3 w 925"/>
                <a:gd name="T7" fmla="*/ 21 h 25"/>
                <a:gd name="T8" fmla="*/ 1 w 925"/>
                <a:gd name="T9" fmla="*/ 18 h 25"/>
                <a:gd name="T10" fmla="*/ 0 w 925"/>
                <a:gd name="T11" fmla="*/ 14 h 25"/>
                <a:gd name="T12" fmla="*/ 1 w 925"/>
                <a:gd name="T13" fmla="*/ 9 h 25"/>
                <a:gd name="T14" fmla="*/ 3 w 925"/>
                <a:gd name="T15" fmla="*/ 4 h 25"/>
                <a:gd name="T16" fmla="*/ 7 w 925"/>
                <a:gd name="T17" fmla="*/ 2 h 25"/>
                <a:gd name="T18" fmla="*/ 12 w 925"/>
                <a:gd name="T19" fmla="*/ 0 h 25"/>
                <a:gd name="T20" fmla="*/ 914 w 925"/>
                <a:gd name="T21" fmla="*/ 0 h 25"/>
                <a:gd name="T22" fmla="*/ 917 w 925"/>
                <a:gd name="T23" fmla="*/ 2 h 25"/>
                <a:gd name="T24" fmla="*/ 921 w 925"/>
                <a:gd name="T25" fmla="*/ 4 h 25"/>
                <a:gd name="T26" fmla="*/ 923 w 925"/>
                <a:gd name="T27" fmla="*/ 9 h 25"/>
                <a:gd name="T28" fmla="*/ 925 w 925"/>
                <a:gd name="T29" fmla="*/ 14 h 25"/>
                <a:gd name="T30" fmla="*/ 923 w 925"/>
                <a:gd name="T31" fmla="*/ 18 h 25"/>
                <a:gd name="T32" fmla="*/ 921 w 925"/>
                <a:gd name="T33" fmla="*/ 21 h 25"/>
                <a:gd name="T34" fmla="*/ 917 w 925"/>
                <a:gd name="T35" fmla="*/ 24 h 25"/>
                <a:gd name="T36" fmla="*/ 914 w 925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25" h="25">
                  <a:moveTo>
                    <a:pt x="914" y="25"/>
                  </a:moveTo>
                  <a:lnTo>
                    <a:pt x="12" y="25"/>
                  </a:lnTo>
                  <a:lnTo>
                    <a:pt x="7" y="24"/>
                  </a:lnTo>
                  <a:lnTo>
                    <a:pt x="3" y="21"/>
                  </a:lnTo>
                  <a:lnTo>
                    <a:pt x="1" y="18"/>
                  </a:lnTo>
                  <a:lnTo>
                    <a:pt x="0" y="14"/>
                  </a:lnTo>
                  <a:lnTo>
                    <a:pt x="1" y="9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914" y="0"/>
                  </a:lnTo>
                  <a:lnTo>
                    <a:pt x="917" y="2"/>
                  </a:lnTo>
                  <a:lnTo>
                    <a:pt x="921" y="4"/>
                  </a:lnTo>
                  <a:lnTo>
                    <a:pt x="923" y="9"/>
                  </a:lnTo>
                  <a:lnTo>
                    <a:pt x="925" y="14"/>
                  </a:lnTo>
                  <a:lnTo>
                    <a:pt x="923" y="18"/>
                  </a:lnTo>
                  <a:lnTo>
                    <a:pt x="921" y="21"/>
                  </a:lnTo>
                  <a:lnTo>
                    <a:pt x="917" y="24"/>
                  </a:lnTo>
                  <a:lnTo>
                    <a:pt x="914" y="25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7" name="Freeform 46"/>
            <p:cNvSpPr>
              <a:spLocks/>
            </p:cNvSpPr>
            <p:nvPr/>
          </p:nvSpPr>
          <p:spPr bwMode="auto">
            <a:xfrm>
              <a:off x="1090613" y="3122613"/>
              <a:ext cx="228600" cy="158750"/>
            </a:xfrm>
            <a:custGeom>
              <a:avLst/>
              <a:gdLst>
                <a:gd name="T0" fmla="*/ 571 w 572"/>
                <a:gd name="T1" fmla="*/ 211 h 400"/>
                <a:gd name="T2" fmla="*/ 569 w 572"/>
                <a:gd name="T3" fmla="*/ 231 h 400"/>
                <a:gd name="T4" fmla="*/ 562 w 572"/>
                <a:gd name="T5" fmla="*/ 250 h 400"/>
                <a:gd name="T6" fmla="*/ 554 w 572"/>
                <a:gd name="T7" fmla="*/ 269 h 400"/>
                <a:gd name="T8" fmla="*/ 537 w 572"/>
                <a:gd name="T9" fmla="*/ 296 h 400"/>
                <a:gd name="T10" fmla="*/ 506 w 572"/>
                <a:gd name="T11" fmla="*/ 328 h 400"/>
                <a:gd name="T12" fmla="*/ 468 w 572"/>
                <a:gd name="T13" fmla="*/ 355 h 400"/>
                <a:gd name="T14" fmla="*/ 421 w 572"/>
                <a:gd name="T15" fmla="*/ 377 h 400"/>
                <a:gd name="T16" fmla="*/ 371 w 572"/>
                <a:gd name="T17" fmla="*/ 392 h 400"/>
                <a:gd name="T18" fmla="*/ 314 w 572"/>
                <a:gd name="T19" fmla="*/ 399 h 400"/>
                <a:gd name="T20" fmla="*/ 256 w 572"/>
                <a:gd name="T21" fmla="*/ 399 h 400"/>
                <a:gd name="T22" fmla="*/ 200 w 572"/>
                <a:gd name="T23" fmla="*/ 392 h 400"/>
                <a:gd name="T24" fmla="*/ 148 w 572"/>
                <a:gd name="T25" fmla="*/ 377 h 400"/>
                <a:gd name="T26" fmla="*/ 103 w 572"/>
                <a:gd name="T27" fmla="*/ 355 h 400"/>
                <a:gd name="T28" fmla="*/ 65 w 572"/>
                <a:gd name="T29" fmla="*/ 328 h 400"/>
                <a:gd name="T30" fmla="*/ 34 w 572"/>
                <a:gd name="T31" fmla="*/ 296 h 400"/>
                <a:gd name="T32" fmla="*/ 17 w 572"/>
                <a:gd name="T33" fmla="*/ 269 h 400"/>
                <a:gd name="T34" fmla="*/ 8 w 572"/>
                <a:gd name="T35" fmla="*/ 250 h 400"/>
                <a:gd name="T36" fmla="*/ 2 w 572"/>
                <a:gd name="T37" fmla="*/ 231 h 400"/>
                <a:gd name="T38" fmla="*/ 0 w 572"/>
                <a:gd name="T39" fmla="*/ 211 h 400"/>
                <a:gd name="T40" fmla="*/ 0 w 572"/>
                <a:gd name="T41" fmla="*/ 190 h 400"/>
                <a:gd name="T42" fmla="*/ 2 w 572"/>
                <a:gd name="T43" fmla="*/ 169 h 400"/>
                <a:gd name="T44" fmla="*/ 8 w 572"/>
                <a:gd name="T45" fmla="*/ 151 h 400"/>
                <a:gd name="T46" fmla="*/ 17 w 572"/>
                <a:gd name="T47" fmla="*/ 131 h 400"/>
                <a:gd name="T48" fmla="*/ 34 w 572"/>
                <a:gd name="T49" fmla="*/ 105 h 400"/>
                <a:gd name="T50" fmla="*/ 65 w 572"/>
                <a:gd name="T51" fmla="*/ 73 h 400"/>
                <a:gd name="T52" fmla="*/ 103 w 572"/>
                <a:gd name="T53" fmla="*/ 45 h 400"/>
                <a:gd name="T54" fmla="*/ 148 w 572"/>
                <a:gd name="T55" fmla="*/ 24 h 400"/>
                <a:gd name="T56" fmla="*/ 200 w 572"/>
                <a:gd name="T57" fmla="*/ 9 h 400"/>
                <a:gd name="T58" fmla="*/ 256 w 572"/>
                <a:gd name="T59" fmla="*/ 1 h 400"/>
                <a:gd name="T60" fmla="*/ 314 w 572"/>
                <a:gd name="T61" fmla="*/ 1 h 400"/>
                <a:gd name="T62" fmla="*/ 371 w 572"/>
                <a:gd name="T63" fmla="*/ 9 h 400"/>
                <a:gd name="T64" fmla="*/ 421 w 572"/>
                <a:gd name="T65" fmla="*/ 24 h 400"/>
                <a:gd name="T66" fmla="*/ 468 w 572"/>
                <a:gd name="T67" fmla="*/ 45 h 400"/>
                <a:gd name="T68" fmla="*/ 506 w 572"/>
                <a:gd name="T69" fmla="*/ 73 h 400"/>
                <a:gd name="T70" fmla="*/ 537 w 572"/>
                <a:gd name="T71" fmla="*/ 105 h 400"/>
                <a:gd name="T72" fmla="*/ 554 w 572"/>
                <a:gd name="T73" fmla="*/ 131 h 400"/>
                <a:gd name="T74" fmla="*/ 562 w 572"/>
                <a:gd name="T75" fmla="*/ 151 h 400"/>
                <a:gd name="T76" fmla="*/ 569 w 572"/>
                <a:gd name="T77" fmla="*/ 169 h 400"/>
                <a:gd name="T78" fmla="*/ 571 w 572"/>
                <a:gd name="T79" fmla="*/ 19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2" h="400">
                  <a:moveTo>
                    <a:pt x="572" y="200"/>
                  </a:moveTo>
                  <a:lnTo>
                    <a:pt x="571" y="211"/>
                  </a:lnTo>
                  <a:lnTo>
                    <a:pt x="570" y="221"/>
                  </a:lnTo>
                  <a:lnTo>
                    <a:pt x="569" y="231"/>
                  </a:lnTo>
                  <a:lnTo>
                    <a:pt x="566" y="241"/>
                  </a:lnTo>
                  <a:lnTo>
                    <a:pt x="562" y="250"/>
                  </a:lnTo>
                  <a:lnTo>
                    <a:pt x="559" y="260"/>
                  </a:lnTo>
                  <a:lnTo>
                    <a:pt x="554" y="269"/>
                  </a:lnTo>
                  <a:lnTo>
                    <a:pt x="549" y="279"/>
                  </a:lnTo>
                  <a:lnTo>
                    <a:pt x="537" y="296"/>
                  </a:lnTo>
                  <a:lnTo>
                    <a:pt x="523" y="312"/>
                  </a:lnTo>
                  <a:lnTo>
                    <a:pt x="506" y="328"/>
                  </a:lnTo>
                  <a:lnTo>
                    <a:pt x="487" y="341"/>
                  </a:lnTo>
                  <a:lnTo>
                    <a:pt x="468" y="355"/>
                  </a:lnTo>
                  <a:lnTo>
                    <a:pt x="446" y="366"/>
                  </a:lnTo>
                  <a:lnTo>
                    <a:pt x="421" y="377"/>
                  </a:lnTo>
                  <a:lnTo>
                    <a:pt x="397" y="384"/>
                  </a:lnTo>
                  <a:lnTo>
                    <a:pt x="371" y="392"/>
                  </a:lnTo>
                  <a:lnTo>
                    <a:pt x="342" y="397"/>
                  </a:lnTo>
                  <a:lnTo>
                    <a:pt x="314" y="399"/>
                  </a:lnTo>
                  <a:lnTo>
                    <a:pt x="285" y="400"/>
                  </a:lnTo>
                  <a:lnTo>
                    <a:pt x="256" y="399"/>
                  </a:lnTo>
                  <a:lnTo>
                    <a:pt x="227" y="397"/>
                  </a:lnTo>
                  <a:lnTo>
                    <a:pt x="200" y="392"/>
                  </a:lnTo>
                  <a:lnTo>
                    <a:pt x="174" y="384"/>
                  </a:lnTo>
                  <a:lnTo>
                    <a:pt x="148" y="377"/>
                  </a:lnTo>
                  <a:lnTo>
                    <a:pt x="125" y="366"/>
                  </a:lnTo>
                  <a:lnTo>
                    <a:pt x="103" y="355"/>
                  </a:lnTo>
                  <a:lnTo>
                    <a:pt x="83" y="341"/>
                  </a:lnTo>
                  <a:lnTo>
                    <a:pt x="65" y="328"/>
                  </a:lnTo>
                  <a:lnTo>
                    <a:pt x="48" y="312"/>
                  </a:lnTo>
                  <a:lnTo>
                    <a:pt x="34" y="296"/>
                  </a:lnTo>
                  <a:lnTo>
                    <a:pt x="22" y="279"/>
                  </a:lnTo>
                  <a:lnTo>
                    <a:pt x="17" y="269"/>
                  </a:lnTo>
                  <a:lnTo>
                    <a:pt x="12" y="260"/>
                  </a:lnTo>
                  <a:lnTo>
                    <a:pt x="8" y="250"/>
                  </a:lnTo>
                  <a:lnTo>
                    <a:pt x="5" y="241"/>
                  </a:lnTo>
                  <a:lnTo>
                    <a:pt x="2" y="231"/>
                  </a:lnTo>
                  <a:lnTo>
                    <a:pt x="1" y="221"/>
                  </a:lnTo>
                  <a:lnTo>
                    <a:pt x="0" y="211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1" y="180"/>
                  </a:lnTo>
                  <a:lnTo>
                    <a:pt x="2" y="169"/>
                  </a:lnTo>
                  <a:lnTo>
                    <a:pt x="5" y="159"/>
                  </a:lnTo>
                  <a:lnTo>
                    <a:pt x="8" y="151"/>
                  </a:lnTo>
                  <a:lnTo>
                    <a:pt x="12" y="141"/>
                  </a:lnTo>
                  <a:lnTo>
                    <a:pt x="17" y="131"/>
                  </a:lnTo>
                  <a:lnTo>
                    <a:pt x="22" y="123"/>
                  </a:lnTo>
                  <a:lnTo>
                    <a:pt x="34" y="105"/>
                  </a:lnTo>
                  <a:lnTo>
                    <a:pt x="48" y="88"/>
                  </a:lnTo>
                  <a:lnTo>
                    <a:pt x="65" y="73"/>
                  </a:lnTo>
                  <a:lnTo>
                    <a:pt x="83" y="59"/>
                  </a:lnTo>
                  <a:lnTo>
                    <a:pt x="103" y="45"/>
                  </a:lnTo>
                  <a:lnTo>
                    <a:pt x="125" y="34"/>
                  </a:lnTo>
                  <a:lnTo>
                    <a:pt x="148" y="24"/>
                  </a:lnTo>
                  <a:lnTo>
                    <a:pt x="174" y="16"/>
                  </a:lnTo>
                  <a:lnTo>
                    <a:pt x="200" y="9"/>
                  </a:lnTo>
                  <a:lnTo>
                    <a:pt x="227" y="3"/>
                  </a:lnTo>
                  <a:lnTo>
                    <a:pt x="256" y="1"/>
                  </a:lnTo>
                  <a:lnTo>
                    <a:pt x="285" y="0"/>
                  </a:lnTo>
                  <a:lnTo>
                    <a:pt x="314" y="1"/>
                  </a:lnTo>
                  <a:lnTo>
                    <a:pt x="342" y="3"/>
                  </a:lnTo>
                  <a:lnTo>
                    <a:pt x="371" y="9"/>
                  </a:lnTo>
                  <a:lnTo>
                    <a:pt x="397" y="16"/>
                  </a:lnTo>
                  <a:lnTo>
                    <a:pt x="421" y="24"/>
                  </a:lnTo>
                  <a:lnTo>
                    <a:pt x="446" y="34"/>
                  </a:lnTo>
                  <a:lnTo>
                    <a:pt x="468" y="45"/>
                  </a:lnTo>
                  <a:lnTo>
                    <a:pt x="487" y="59"/>
                  </a:lnTo>
                  <a:lnTo>
                    <a:pt x="506" y="73"/>
                  </a:lnTo>
                  <a:lnTo>
                    <a:pt x="523" y="88"/>
                  </a:lnTo>
                  <a:lnTo>
                    <a:pt x="537" y="105"/>
                  </a:lnTo>
                  <a:lnTo>
                    <a:pt x="549" y="123"/>
                  </a:lnTo>
                  <a:lnTo>
                    <a:pt x="554" y="131"/>
                  </a:lnTo>
                  <a:lnTo>
                    <a:pt x="559" y="141"/>
                  </a:lnTo>
                  <a:lnTo>
                    <a:pt x="562" y="151"/>
                  </a:lnTo>
                  <a:lnTo>
                    <a:pt x="566" y="159"/>
                  </a:lnTo>
                  <a:lnTo>
                    <a:pt x="569" y="169"/>
                  </a:lnTo>
                  <a:lnTo>
                    <a:pt x="570" y="180"/>
                  </a:lnTo>
                  <a:lnTo>
                    <a:pt x="571" y="190"/>
                  </a:lnTo>
                  <a:lnTo>
                    <a:pt x="572" y="200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8" name="Freeform 47"/>
            <p:cNvSpPr>
              <a:spLocks noEditPoints="1"/>
            </p:cNvSpPr>
            <p:nvPr/>
          </p:nvSpPr>
          <p:spPr bwMode="auto">
            <a:xfrm>
              <a:off x="1085851" y="3117851"/>
              <a:ext cx="236538" cy="168275"/>
            </a:xfrm>
            <a:custGeom>
              <a:avLst/>
              <a:gdLst>
                <a:gd name="T0" fmla="*/ 242 w 596"/>
                <a:gd name="T1" fmla="*/ 28 h 422"/>
                <a:gd name="T2" fmla="*/ 168 w 596"/>
                <a:gd name="T3" fmla="*/ 46 h 422"/>
                <a:gd name="T4" fmla="*/ 105 w 596"/>
                <a:gd name="T5" fmla="*/ 79 h 422"/>
                <a:gd name="T6" fmla="*/ 57 w 596"/>
                <a:gd name="T7" fmla="*/ 122 h 422"/>
                <a:gd name="T8" fmla="*/ 36 w 596"/>
                <a:gd name="T9" fmla="*/ 156 h 422"/>
                <a:gd name="T10" fmla="*/ 27 w 596"/>
                <a:gd name="T11" fmla="*/ 183 h 422"/>
                <a:gd name="T12" fmla="*/ 24 w 596"/>
                <a:gd name="T13" fmla="*/ 211 h 422"/>
                <a:gd name="T14" fmla="*/ 27 w 596"/>
                <a:gd name="T15" fmla="*/ 239 h 422"/>
                <a:gd name="T16" fmla="*/ 36 w 596"/>
                <a:gd name="T17" fmla="*/ 267 h 422"/>
                <a:gd name="T18" fmla="*/ 57 w 596"/>
                <a:gd name="T19" fmla="*/ 301 h 422"/>
                <a:gd name="T20" fmla="*/ 105 w 596"/>
                <a:gd name="T21" fmla="*/ 344 h 422"/>
                <a:gd name="T22" fmla="*/ 168 w 596"/>
                <a:gd name="T23" fmla="*/ 376 h 422"/>
                <a:gd name="T24" fmla="*/ 242 w 596"/>
                <a:gd name="T25" fmla="*/ 394 h 422"/>
                <a:gd name="T26" fmla="*/ 326 w 596"/>
                <a:gd name="T27" fmla="*/ 397 h 422"/>
                <a:gd name="T28" fmla="*/ 405 w 596"/>
                <a:gd name="T29" fmla="*/ 383 h 422"/>
                <a:gd name="T30" fmla="*/ 472 w 596"/>
                <a:gd name="T31" fmla="*/ 356 h 422"/>
                <a:gd name="T32" fmla="*/ 526 w 596"/>
                <a:gd name="T33" fmla="*/ 315 h 422"/>
                <a:gd name="T34" fmla="*/ 556 w 596"/>
                <a:gd name="T35" fmla="*/ 276 h 422"/>
                <a:gd name="T36" fmla="*/ 567 w 596"/>
                <a:gd name="T37" fmla="*/ 249 h 422"/>
                <a:gd name="T38" fmla="*/ 572 w 596"/>
                <a:gd name="T39" fmla="*/ 221 h 422"/>
                <a:gd name="T40" fmla="*/ 572 w 596"/>
                <a:gd name="T41" fmla="*/ 193 h 422"/>
                <a:gd name="T42" fmla="*/ 564 w 596"/>
                <a:gd name="T43" fmla="*/ 164 h 422"/>
                <a:gd name="T44" fmla="*/ 551 w 596"/>
                <a:gd name="T45" fmla="*/ 138 h 422"/>
                <a:gd name="T46" fmla="*/ 510 w 596"/>
                <a:gd name="T47" fmla="*/ 92 h 422"/>
                <a:gd name="T48" fmla="*/ 451 w 596"/>
                <a:gd name="T49" fmla="*/ 56 h 422"/>
                <a:gd name="T50" fmla="*/ 380 w 596"/>
                <a:gd name="T51" fmla="*/ 33 h 422"/>
                <a:gd name="T52" fmla="*/ 298 w 596"/>
                <a:gd name="T53" fmla="*/ 24 h 422"/>
                <a:gd name="T54" fmla="*/ 239 w 596"/>
                <a:gd name="T55" fmla="*/ 419 h 422"/>
                <a:gd name="T56" fmla="*/ 156 w 596"/>
                <a:gd name="T57" fmla="*/ 398 h 422"/>
                <a:gd name="T58" fmla="*/ 88 w 596"/>
                <a:gd name="T59" fmla="*/ 361 h 422"/>
                <a:gd name="T60" fmla="*/ 43 w 596"/>
                <a:gd name="T61" fmla="*/ 322 h 422"/>
                <a:gd name="T62" fmla="*/ 24 w 596"/>
                <a:gd name="T63" fmla="*/ 293 h 422"/>
                <a:gd name="T64" fmla="*/ 9 w 596"/>
                <a:gd name="T65" fmla="*/ 264 h 422"/>
                <a:gd name="T66" fmla="*/ 2 w 596"/>
                <a:gd name="T67" fmla="*/ 233 h 422"/>
                <a:gd name="T68" fmla="*/ 0 w 596"/>
                <a:gd name="T69" fmla="*/ 200 h 422"/>
                <a:gd name="T70" fmla="*/ 7 w 596"/>
                <a:gd name="T71" fmla="*/ 168 h 422"/>
                <a:gd name="T72" fmla="*/ 19 w 596"/>
                <a:gd name="T73" fmla="*/ 138 h 422"/>
                <a:gd name="T74" fmla="*/ 36 w 596"/>
                <a:gd name="T75" fmla="*/ 110 h 422"/>
                <a:gd name="T76" fmla="*/ 68 w 596"/>
                <a:gd name="T77" fmla="*/ 77 h 422"/>
                <a:gd name="T78" fmla="*/ 132 w 596"/>
                <a:gd name="T79" fmla="*/ 35 h 422"/>
                <a:gd name="T80" fmla="*/ 209 w 596"/>
                <a:gd name="T81" fmla="*/ 9 h 422"/>
                <a:gd name="T82" fmla="*/ 298 w 596"/>
                <a:gd name="T83" fmla="*/ 0 h 422"/>
                <a:gd name="T84" fmla="*/ 386 w 596"/>
                <a:gd name="T85" fmla="*/ 9 h 422"/>
                <a:gd name="T86" fmla="*/ 465 w 596"/>
                <a:gd name="T87" fmla="*/ 35 h 422"/>
                <a:gd name="T88" fmla="*/ 529 w 596"/>
                <a:gd name="T89" fmla="*/ 77 h 422"/>
                <a:gd name="T90" fmla="*/ 561 w 596"/>
                <a:gd name="T91" fmla="*/ 110 h 422"/>
                <a:gd name="T92" fmla="*/ 578 w 596"/>
                <a:gd name="T93" fmla="*/ 138 h 422"/>
                <a:gd name="T94" fmla="*/ 590 w 596"/>
                <a:gd name="T95" fmla="*/ 168 h 422"/>
                <a:gd name="T96" fmla="*/ 596 w 596"/>
                <a:gd name="T97" fmla="*/ 200 h 422"/>
                <a:gd name="T98" fmla="*/ 595 w 596"/>
                <a:gd name="T99" fmla="*/ 233 h 422"/>
                <a:gd name="T100" fmla="*/ 588 w 596"/>
                <a:gd name="T101" fmla="*/ 264 h 422"/>
                <a:gd name="T102" fmla="*/ 573 w 596"/>
                <a:gd name="T103" fmla="*/ 293 h 422"/>
                <a:gd name="T104" fmla="*/ 553 w 596"/>
                <a:gd name="T105" fmla="*/ 322 h 422"/>
                <a:gd name="T106" fmla="*/ 509 w 596"/>
                <a:gd name="T107" fmla="*/ 361 h 422"/>
                <a:gd name="T108" fmla="*/ 440 w 596"/>
                <a:gd name="T109" fmla="*/ 398 h 422"/>
                <a:gd name="T110" fmla="*/ 358 w 596"/>
                <a:gd name="T111" fmla="*/ 419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6" h="422">
                  <a:moveTo>
                    <a:pt x="298" y="24"/>
                  </a:moveTo>
                  <a:lnTo>
                    <a:pt x="271" y="25"/>
                  </a:lnTo>
                  <a:lnTo>
                    <a:pt x="242" y="28"/>
                  </a:lnTo>
                  <a:lnTo>
                    <a:pt x="217" y="33"/>
                  </a:lnTo>
                  <a:lnTo>
                    <a:pt x="192" y="39"/>
                  </a:lnTo>
                  <a:lnTo>
                    <a:pt x="168" y="46"/>
                  </a:lnTo>
                  <a:lnTo>
                    <a:pt x="145" y="56"/>
                  </a:lnTo>
                  <a:lnTo>
                    <a:pt x="125" y="67"/>
                  </a:lnTo>
                  <a:lnTo>
                    <a:pt x="105" y="79"/>
                  </a:lnTo>
                  <a:lnTo>
                    <a:pt x="86" y="92"/>
                  </a:lnTo>
                  <a:lnTo>
                    <a:pt x="72" y="107"/>
                  </a:lnTo>
                  <a:lnTo>
                    <a:pt x="57" y="122"/>
                  </a:lnTo>
                  <a:lnTo>
                    <a:pt x="46" y="138"/>
                  </a:lnTo>
                  <a:lnTo>
                    <a:pt x="41" y="147"/>
                  </a:lnTo>
                  <a:lnTo>
                    <a:pt x="36" y="156"/>
                  </a:lnTo>
                  <a:lnTo>
                    <a:pt x="32" y="164"/>
                  </a:lnTo>
                  <a:lnTo>
                    <a:pt x="30" y="173"/>
                  </a:lnTo>
                  <a:lnTo>
                    <a:pt x="27" y="183"/>
                  </a:lnTo>
                  <a:lnTo>
                    <a:pt x="26" y="193"/>
                  </a:lnTo>
                  <a:lnTo>
                    <a:pt x="25" y="201"/>
                  </a:lnTo>
                  <a:lnTo>
                    <a:pt x="24" y="211"/>
                  </a:lnTo>
                  <a:lnTo>
                    <a:pt x="25" y="221"/>
                  </a:lnTo>
                  <a:lnTo>
                    <a:pt x="26" y="231"/>
                  </a:lnTo>
                  <a:lnTo>
                    <a:pt x="27" y="239"/>
                  </a:lnTo>
                  <a:lnTo>
                    <a:pt x="30" y="249"/>
                  </a:lnTo>
                  <a:lnTo>
                    <a:pt x="32" y="258"/>
                  </a:lnTo>
                  <a:lnTo>
                    <a:pt x="36" y="267"/>
                  </a:lnTo>
                  <a:lnTo>
                    <a:pt x="41" y="276"/>
                  </a:lnTo>
                  <a:lnTo>
                    <a:pt x="46" y="285"/>
                  </a:lnTo>
                  <a:lnTo>
                    <a:pt x="57" y="301"/>
                  </a:lnTo>
                  <a:lnTo>
                    <a:pt x="72" y="315"/>
                  </a:lnTo>
                  <a:lnTo>
                    <a:pt x="86" y="330"/>
                  </a:lnTo>
                  <a:lnTo>
                    <a:pt x="105" y="344"/>
                  </a:lnTo>
                  <a:lnTo>
                    <a:pt x="125" y="356"/>
                  </a:lnTo>
                  <a:lnTo>
                    <a:pt x="145" y="366"/>
                  </a:lnTo>
                  <a:lnTo>
                    <a:pt x="168" y="376"/>
                  </a:lnTo>
                  <a:lnTo>
                    <a:pt x="192" y="383"/>
                  </a:lnTo>
                  <a:lnTo>
                    <a:pt x="217" y="389"/>
                  </a:lnTo>
                  <a:lnTo>
                    <a:pt x="242" y="394"/>
                  </a:lnTo>
                  <a:lnTo>
                    <a:pt x="271" y="397"/>
                  </a:lnTo>
                  <a:lnTo>
                    <a:pt x="298" y="398"/>
                  </a:lnTo>
                  <a:lnTo>
                    <a:pt x="326" y="397"/>
                  </a:lnTo>
                  <a:lnTo>
                    <a:pt x="353" y="394"/>
                  </a:lnTo>
                  <a:lnTo>
                    <a:pt x="380" y="389"/>
                  </a:lnTo>
                  <a:lnTo>
                    <a:pt x="405" y="383"/>
                  </a:lnTo>
                  <a:lnTo>
                    <a:pt x="429" y="376"/>
                  </a:lnTo>
                  <a:lnTo>
                    <a:pt x="451" y="366"/>
                  </a:lnTo>
                  <a:lnTo>
                    <a:pt x="472" y="356"/>
                  </a:lnTo>
                  <a:lnTo>
                    <a:pt x="492" y="344"/>
                  </a:lnTo>
                  <a:lnTo>
                    <a:pt x="510" y="330"/>
                  </a:lnTo>
                  <a:lnTo>
                    <a:pt x="526" y="315"/>
                  </a:lnTo>
                  <a:lnTo>
                    <a:pt x="540" y="301"/>
                  </a:lnTo>
                  <a:lnTo>
                    <a:pt x="551" y="285"/>
                  </a:lnTo>
                  <a:lnTo>
                    <a:pt x="556" y="276"/>
                  </a:lnTo>
                  <a:lnTo>
                    <a:pt x="561" y="267"/>
                  </a:lnTo>
                  <a:lnTo>
                    <a:pt x="564" y="258"/>
                  </a:lnTo>
                  <a:lnTo>
                    <a:pt x="567" y="249"/>
                  </a:lnTo>
                  <a:lnTo>
                    <a:pt x="569" y="239"/>
                  </a:lnTo>
                  <a:lnTo>
                    <a:pt x="572" y="231"/>
                  </a:lnTo>
                  <a:lnTo>
                    <a:pt x="572" y="221"/>
                  </a:lnTo>
                  <a:lnTo>
                    <a:pt x="573" y="211"/>
                  </a:lnTo>
                  <a:lnTo>
                    <a:pt x="572" y="201"/>
                  </a:lnTo>
                  <a:lnTo>
                    <a:pt x="572" y="193"/>
                  </a:lnTo>
                  <a:lnTo>
                    <a:pt x="569" y="183"/>
                  </a:lnTo>
                  <a:lnTo>
                    <a:pt x="567" y="173"/>
                  </a:lnTo>
                  <a:lnTo>
                    <a:pt x="564" y="164"/>
                  </a:lnTo>
                  <a:lnTo>
                    <a:pt x="561" y="156"/>
                  </a:lnTo>
                  <a:lnTo>
                    <a:pt x="556" y="147"/>
                  </a:lnTo>
                  <a:lnTo>
                    <a:pt x="551" y="138"/>
                  </a:lnTo>
                  <a:lnTo>
                    <a:pt x="540" y="122"/>
                  </a:lnTo>
                  <a:lnTo>
                    <a:pt x="526" y="107"/>
                  </a:lnTo>
                  <a:lnTo>
                    <a:pt x="510" y="92"/>
                  </a:lnTo>
                  <a:lnTo>
                    <a:pt x="492" y="79"/>
                  </a:lnTo>
                  <a:lnTo>
                    <a:pt x="472" y="67"/>
                  </a:lnTo>
                  <a:lnTo>
                    <a:pt x="451" y="56"/>
                  </a:lnTo>
                  <a:lnTo>
                    <a:pt x="429" y="46"/>
                  </a:lnTo>
                  <a:lnTo>
                    <a:pt x="405" y="39"/>
                  </a:lnTo>
                  <a:lnTo>
                    <a:pt x="380" y="33"/>
                  </a:lnTo>
                  <a:lnTo>
                    <a:pt x="353" y="28"/>
                  </a:lnTo>
                  <a:lnTo>
                    <a:pt x="326" y="25"/>
                  </a:lnTo>
                  <a:lnTo>
                    <a:pt x="298" y="24"/>
                  </a:lnTo>
                  <a:close/>
                  <a:moveTo>
                    <a:pt x="298" y="422"/>
                  </a:moveTo>
                  <a:lnTo>
                    <a:pt x="268" y="422"/>
                  </a:lnTo>
                  <a:lnTo>
                    <a:pt x="239" y="419"/>
                  </a:lnTo>
                  <a:lnTo>
                    <a:pt x="209" y="414"/>
                  </a:lnTo>
                  <a:lnTo>
                    <a:pt x="182" y="406"/>
                  </a:lnTo>
                  <a:lnTo>
                    <a:pt x="156" y="398"/>
                  </a:lnTo>
                  <a:lnTo>
                    <a:pt x="132" y="387"/>
                  </a:lnTo>
                  <a:lnTo>
                    <a:pt x="109" y="374"/>
                  </a:lnTo>
                  <a:lnTo>
                    <a:pt x="88" y="361"/>
                  </a:lnTo>
                  <a:lnTo>
                    <a:pt x="68" y="346"/>
                  </a:lnTo>
                  <a:lnTo>
                    <a:pt x="51" y="330"/>
                  </a:lnTo>
                  <a:lnTo>
                    <a:pt x="43" y="322"/>
                  </a:lnTo>
                  <a:lnTo>
                    <a:pt x="36" y="312"/>
                  </a:lnTo>
                  <a:lnTo>
                    <a:pt x="30" y="303"/>
                  </a:lnTo>
                  <a:lnTo>
                    <a:pt x="24" y="293"/>
                  </a:lnTo>
                  <a:lnTo>
                    <a:pt x="19" y="283"/>
                  </a:lnTo>
                  <a:lnTo>
                    <a:pt x="14" y="274"/>
                  </a:lnTo>
                  <a:lnTo>
                    <a:pt x="9" y="264"/>
                  </a:lnTo>
                  <a:lnTo>
                    <a:pt x="7" y="254"/>
                  </a:lnTo>
                  <a:lnTo>
                    <a:pt x="4" y="243"/>
                  </a:lnTo>
                  <a:lnTo>
                    <a:pt x="2" y="233"/>
                  </a:lnTo>
                  <a:lnTo>
                    <a:pt x="0" y="222"/>
                  </a:lnTo>
                  <a:lnTo>
                    <a:pt x="0" y="211"/>
                  </a:lnTo>
                  <a:lnTo>
                    <a:pt x="0" y="200"/>
                  </a:lnTo>
                  <a:lnTo>
                    <a:pt x="2" y="190"/>
                  </a:lnTo>
                  <a:lnTo>
                    <a:pt x="4" y="179"/>
                  </a:lnTo>
                  <a:lnTo>
                    <a:pt x="7" y="168"/>
                  </a:lnTo>
                  <a:lnTo>
                    <a:pt x="9" y="158"/>
                  </a:lnTo>
                  <a:lnTo>
                    <a:pt x="14" y="148"/>
                  </a:lnTo>
                  <a:lnTo>
                    <a:pt x="19" y="138"/>
                  </a:lnTo>
                  <a:lnTo>
                    <a:pt x="24" y="129"/>
                  </a:lnTo>
                  <a:lnTo>
                    <a:pt x="30" y="119"/>
                  </a:lnTo>
                  <a:lnTo>
                    <a:pt x="36" y="110"/>
                  </a:lnTo>
                  <a:lnTo>
                    <a:pt x="43" y="102"/>
                  </a:lnTo>
                  <a:lnTo>
                    <a:pt x="51" y="93"/>
                  </a:lnTo>
                  <a:lnTo>
                    <a:pt x="68" y="77"/>
                  </a:lnTo>
                  <a:lnTo>
                    <a:pt x="88" y="61"/>
                  </a:lnTo>
                  <a:lnTo>
                    <a:pt x="109" y="48"/>
                  </a:lnTo>
                  <a:lnTo>
                    <a:pt x="132" y="35"/>
                  </a:lnTo>
                  <a:lnTo>
                    <a:pt x="156" y="25"/>
                  </a:lnTo>
                  <a:lnTo>
                    <a:pt x="182" y="17"/>
                  </a:lnTo>
                  <a:lnTo>
                    <a:pt x="209" y="9"/>
                  </a:lnTo>
                  <a:lnTo>
                    <a:pt x="239" y="5"/>
                  </a:lnTo>
                  <a:lnTo>
                    <a:pt x="268" y="1"/>
                  </a:lnTo>
                  <a:lnTo>
                    <a:pt x="298" y="0"/>
                  </a:lnTo>
                  <a:lnTo>
                    <a:pt x="328" y="1"/>
                  </a:lnTo>
                  <a:lnTo>
                    <a:pt x="358" y="5"/>
                  </a:lnTo>
                  <a:lnTo>
                    <a:pt x="386" y="9"/>
                  </a:lnTo>
                  <a:lnTo>
                    <a:pt x="414" y="17"/>
                  </a:lnTo>
                  <a:lnTo>
                    <a:pt x="440" y="25"/>
                  </a:lnTo>
                  <a:lnTo>
                    <a:pt x="465" y="35"/>
                  </a:lnTo>
                  <a:lnTo>
                    <a:pt x="488" y="48"/>
                  </a:lnTo>
                  <a:lnTo>
                    <a:pt x="509" y="61"/>
                  </a:lnTo>
                  <a:lnTo>
                    <a:pt x="529" y="77"/>
                  </a:lnTo>
                  <a:lnTo>
                    <a:pt x="546" y="93"/>
                  </a:lnTo>
                  <a:lnTo>
                    <a:pt x="553" y="102"/>
                  </a:lnTo>
                  <a:lnTo>
                    <a:pt x="561" y="110"/>
                  </a:lnTo>
                  <a:lnTo>
                    <a:pt x="567" y="119"/>
                  </a:lnTo>
                  <a:lnTo>
                    <a:pt x="573" y="129"/>
                  </a:lnTo>
                  <a:lnTo>
                    <a:pt x="578" y="138"/>
                  </a:lnTo>
                  <a:lnTo>
                    <a:pt x="583" y="148"/>
                  </a:lnTo>
                  <a:lnTo>
                    <a:pt x="588" y="158"/>
                  </a:lnTo>
                  <a:lnTo>
                    <a:pt x="590" y="168"/>
                  </a:lnTo>
                  <a:lnTo>
                    <a:pt x="593" y="179"/>
                  </a:lnTo>
                  <a:lnTo>
                    <a:pt x="595" y="190"/>
                  </a:lnTo>
                  <a:lnTo>
                    <a:pt x="596" y="200"/>
                  </a:lnTo>
                  <a:lnTo>
                    <a:pt x="596" y="211"/>
                  </a:lnTo>
                  <a:lnTo>
                    <a:pt x="596" y="222"/>
                  </a:lnTo>
                  <a:lnTo>
                    <a:pt x="595" y="233"/>
                  </a:lnTo>
                  <a:lnTo>
                    <a:pt x="593" y="243"/>
                  </a:lnTo>
                  <a:lnTo>
                    <a:pt x="590" y="254"/>
                  </a:lnTo>
                  <a:lnTo>
                    <a:pt x="588" y="264"/>
                  </a:lnTo>
                  <a:lnTo>
                    <a:pt x="583" y="274"/>
                  </a:lnTo>
                  <a:lnTo>
                    <a:pt x="578" y="283"/>
                  </a:lnTo>
                  <a:lnTo>
                    <a:pt x="573" y="293"/>
                  </a:lnTo>
                  <a:lnTo>
                    <a:pt x="567" y="303"/>
                  </a:lnTo>
                  <a:lnTo>
                    <a:pt x="561" y="312"/>
                  </a:lnTo>
                  <a:lnTo>
                    <a:pt x="553" y="322"/>
                  </a:lnTo>
                  <a:lnTo>
                    <a:pt x="546" y="330"/>
                  </a:lnTo>
                  <a:lnTo>
                    <a:pt x="529" y="346"/>
                  </a:lnTo>
                  <a:lnTo>
                    <a:pt x="509" y="361"/>
                  </a:lnTo>
                  <a:lnTo>
                    <a:pt x="488" y="374"/>
                  </a:lnTo>
                  <a:lnTo>
                    <a:pt x="465" y="387"/>
                  </a:lnTo>
                  <a:lnTo>
                    <a:pt x="440" y="398"/>
                  </a:lnTo>
                  <a:lnTo>
                    <a:pt x="414" y="406"/>
                  </a:lnTo>
                  <a:lnTo>
                    <a:pt x="386" y="414"/>
                  </a:lnTo>
                  <a:lnTo>
                    <a:pt x="358" y="419"/>
                  </a:lnTo>
                  <a:lnTo>
                    <a:pt x="328" y="422"/>
                  </a:lnTo>
                  <a:lnTo>
                    <a:pt x="298" y="422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9" name="Freeform 48"/>
            <p:cNvSpPr>
              <a:spLocks/>
            </p:cNvSpPr>
            <p:nvPr/>
          </p:nvSpPr>
          <p:spPr bwMode="auto">
            <a:xfrm>
              <a:off x="1065213" y="3281363"/>
              <a:ext cx="52388" cy="52388"/>
            </a:xfrm>
            <a:custGeom>
              <a:avLst/>
              <a:gdLst>
                <a:gd name="T0" fmla="*/ 134 w 134"/>
                <a:gd name="T1" fmla="*/ 65 h 133"/>
                <a:gd name="T2" fmla="*/ 134 w 134"/>
                <a:gd name="T3" fmla="*/ 73 h 133"/>
                <a:gd name="T4" fmla="*/ 133 w 134"/>
                <a:gd name="T5" fmla="*/ 80 h 133"/>
                <a:gd name="T6" fmla="*/ 132 w 134"/>
                <a:gd name="T7" fmla="*/ 86 h 133"/>
                <a:gd name="T8" fmla="*/ 129 w 134"/>
                <a:gd name="T9" fmla="*/ 92 h 133"/>
                <a:gd name="T10" fmla="*/ 127 w 134"/>
                <a:gd name="T11" fmla="*/ 99 h 133"/>
                <a:gd name="T12" fmla="*/ 123 w 134"/>
                <a:gd name="T13" fmla="*/ 103 h 133"/>
                <a:gd name="T14" fmla="*/ 119 w 134"/>
                <a:gd name="T15" fmla="*/ 110 h 133"/>
                <a:gd name="T16" fmla="*/ 114 w 134"/>
                <a:gd name="T17" fmla="*/ 115 h 133"/>
                <a:gd name="T18" fmla="*/ 110 w 134"/>
                <a:gd name="T19" fmla="*/ 118 h 133"/>
                <a:gd name="T20" fmla="*/ 105 w 134"/>
                <a:gd name="T21" fmla="*/ 122 h 133"/>
                <a:gd name="T22" fmla="*/ 100 w 134"/>
                <a:gd name="T23" fmla="*/ 126 h 133"/>
                <a:gd name="T24" fmla="*/ 94 w 134"/>
                <a:gd name="T25" fmla="*/ 128 h 133"/>
                <a:gd name="T26" fmla="*/ 87 w 134"/>
                <a:gd name="T27" fmla="*/ 131 h 133"/>
                <a:gd name="T28" fmla="*/ 81 w 134"/>
                <a:gd name="T29" fmla="*/ 132 h 133"/>
                <a:gd name="T30" fmla="*/ 74 w 134"/>
                <a:gd name="T31" fmla="*/ 133 h 133"/>
                <a:gd name="T32" fmla="*/ 68 w 134"/>
                <a:gd name="T33" fmla="*/ 133 h 133"/>
                <a:gd name="T34" fmla="*/ 60 w 134"/>
                <a:gd name="T35" fmla="*/ 133 h 133"/>
                <a:gd name="T36" fmla="*/ 54 w 134"/>
                <a:gd name="T37" fmla="*/ 132 h 133"/>
                <a:gd name="T38" fmla="*/ 47 w 134"/>
                <a:gd name="T39" fmla="*/ 131 h 133"/>
                <a:gd name="T40" fmla="*/ 41 w 134"/>
                <a:gd name="T41" fmla="*/ 128 h 133"/>
                <a:gd name="T42" fmla="*/ 36 w 134"/>
                <a:gd name="T43" fmla="*/ 126 h 133"/>
                <a:gd name="T44" fmla="*/ 30 w 134"/>
                <a:gd name="T45" fmla="*/ 122 h 133"/>
                <a:gd name="T46" fmla="*/ 25 w 134"/>
                <a:gd name="T47" fmla="*/ 118 h 133"/>
                <a:gd name="T48" fmla="*/ 20 w 134"/>
                <a:gd name="T49" fmla="*/ 115 h 133"/>
                <a:gd name="T50" fmla="*/ 16 w 134"/>
                <a:gd name="T51" fmla="*/ 110 h 133"/>
                <a:gd name="T52" fmla="*/ 11 w 134"/>
                <a:gd name="T53" fmla="*/ 103 h 133"/>
                <a:gd name="T54" fmla="*/ 9 w 134"/>
                <a:gd name="T55" fmla="*/ 99 h 133"/>
                <a:gd name="T56" fmla="*/ 5 w 134"/>
                <a:gd name="T57" fmla="*/ 92 h 133"/>
                <a:gd name="T58" fmla="*/ 4 w 134"/>
                <a:gd name="T59" fmla="*/ 86 h 133"/>
                <a:gd name="T60" fmla="*/ 1 w 134"/>
                <a:gd name="T61" fmla="*/ 80 h 133"/>
                <a:gd name="T62" fmla="*/ 0 w 134"/>
                <a:gd name="T63" fmla="*/ 73 h 133"/>
                <a:gd name="T64" fmla="*/ 0 w 134"/>
                <a:gd name="T65" fmla="*/ 65 h 133"/>
                <a:gd name="T66" fmla="*/ 0 w 134"/>
                <a:gd name="T67" fmla="*/ 59 h 133"/>
                <a:gd name="T68" fmla="*/ 1 w 134"/>
                <a:gd name="T69" fmla="*/ 53 h 133"/>
                <a:gd name="T70" fmla="*/ 4 w 134"/>
                <a:gd name="T71" fmla="*/ 47 h 133"/>
                <a:gd name="T72" fmla="*/ 5 w 134"/>
                <a:gd name="T73" fmla="*/ 41 h 133"/>
                <a:gd name="T74" fmla="*/ 9 w 134"/>
                <a:gd name="T75" fmla="*/ 35 h 133"/>
                <a:gd name="T76" fmla="*/ 11 w 134"/>
                <a:gd name="T77" fmla="*/ 30 h 133"/>
                <a:gd name="T78" fmla="*/ 16 w 134"/>
                <a:gd name="T79" fmla="*/ 25 h 133"/>
                <a:gd name="T80" fmla="*/ 20 w 134"/>
                <a:gd name="T81" fmla="*/ 20 h 133"/>
                <a:gd name="T82" fmla="*/ 30 w 134"/>
                <a:gd name="T83" fmla="*/ 11 h 133"/>
                <a:gd name="T84" fmla="*/ 41 w 134"/>
                <a:gd name="T85" fmla="*/ 5 h 133"/>
                <a:gd name="T86" fmla="*/ 47 w 134"/>
                <a:gd name="T87" fmla="*/ 4 h 133"/>
                <a:gd name="T88" fmla="*/ 54 w 134"/>
                <a:gd name="T89" fmla="*/ 1 h 133"/>
                <a:gd name="T90" fmla="*/ 60 w 134"/>
                <a:gd name="T91" fmla="*/ 1 h 133"/>
                <a:gd name="T92" fmla="*/ 68 w 134"/>
                <a:gd name="T93" fmla="*/ 0 h 133"/>
                <a:gd name="T94" fmla="*/ 74 w 134"/>
                <a:gd name="T95" fmla="*/ 1 h 133"/>
                <a:gd name="T96" fmla="*/ 81 w 134"/>
                <a:gd name="T97" fmla="*/ 1 h 133"/>
                <a:gd name="T98" fmla="*/ 87 w 134"/>
                <a:gd name="T99" fmla="*/ 4 h 133"/>
                <a:gd name="T100" fmla="*/ 94 w 134"/>
                <a:gd name="T101" fmla="*/ 5 h 133"/>
                <a:gd name="T102" fmla="*/ 105 w 134"/>
                <a:gd name="T103" fmla="*/ 11 h 133"/>
                <a:gd name="T104" fmla="*/ 114 w 134"/>
                <a:gd name="T105" fmla="*/ 20 h 133"/>
                <a:gd name="T106" fmla="*/ 119 w 134"/>
                <a:gd name="T107" fmla="*/ 25 h 133"/>
                <a:gd name="T108" fmla="*/ 123 w 134"/>
                <a:gd name="T109" fmla="*/ 30 h 133"/>
                <a:gd name="T110" fmla="*/ 127 w 134"/>
                <a:gd name="T111" fmla="*/ 35 h 133"/>
                <a:gd name="T112" fmla="*/ 129 w 134"/>
                <a:gd name="T113" fmla="*/ 41 h 133"/>
                <a:gd name="T114" fmla="*/ 132 w 134"/>
                <a:gd name="T115" fmla="*/ 47 h 133"/>
                <a:gd name="T116" fmla="*/ 133 w 134"/>
                <a:gd name="T117" fmla="*/ 53 h 133"/>
                <a:gd name="T118" fmla="*/ 134 w 134"/>
                <a:gd name="T119" fmla="*/ 59 h 133"/>
                <a:gd name="T120" fmla="*/ 134 w 134"/>
                <a:gd name="T121" fmla="*/ 6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33">
                  <a:moveTo>
                    <a:pt x="134" y="65"/>
                  </a:moveTo>
                  <a:lnTo>
                    <a:pt x="134" y="73"/>
                  </a:lnTo>
                  <a:lnTo>
                    <a:pt x="133" y="80"/>
                  </a:lnTo>
                  <a:lnTo>
                    <a:pt x="132" y="86"/>
                  </a:lnTo>
                  <a:lnTo>
                    <a:pt x="129" y="92"/>
                  </a:lnTo>
                  <a:lnTo>
                    <a:pt x="127" y="99"/>
                  </a:lnTo>
                  <a:lnTo>
                    <a:pt x="123" y="103"/>
                  </a:lnTo>
                  <a:lnTo>
                    <a:pt x="119" y="110"/>
                  </a:lnTo>
                  <a:lnTo>
                    <a:pt x="114" y="115"/>
                  </a:lnTo>
                  <a:lnTo>
                    <a:pt x="110" y="118"/>
                  </a:lnTo>
                  <a:lnTo>
                    <a:pt x="105" y="122"/>
                  </a:lnTo>
                  <a:lnTo>
                    <a:pt x="100" y="126"/>
                  </a:lnTo>
                  <a:lnTo>
                    <a:pt x="94" y="128"/>
                  </a:lnTo>
                  <a:lnTo>
                    <a:pt x="87" y="131"/>
                  </a:lnTo>
                  <a:lnTo>
                    <a:pt x="81" y="132"/>
                  </a:lnTo>
                  <a:lnTo>
                    <a:pt x="74" y="133"/>
                  </a:lnTo>
                  <a:lnTo>
                    <a:pt x="68" y="133"/>
                  </a:lnTo>
                  <a:lnTo>
                    <a:pt x="60" y="133"/>
                  </a:lnTo>
                  <a:lnTo>
                    <a:pt x="54" y="132"/>
                  </a:lnTo>
                  <a:lnTo>
                    <a:pt x="47" y="131"/>
                  </a:lnTo>
                  <a:lnTo>
                    <a:pt x="41" y="128"/>
                  </a:lnTo>
                  <a:lnTo>
                    <a:pt x="36" y="126"/>
                  </a:lnTo>
                  <a:lnTo>
                    <a:pt x="30" y="122"/>
                  </a:lnTo>
                  <a:lnTo>
                    <a:pt x="25" y="118"/>
                  </a:lnTo>
                  <a:lnTo>
                    <a:pt x="20" y="115"/>
                  </a:lnTo>
                  <a:lnTo>
                    <a:pt x="16" y="110"/>
                  </a:lnTo>
                  <a:lnTo>
                    <a:pt x="11" y="103"/>
                  </a:lnTo>
                  <a:lnTo>
                    <a:pt x="9" y="99"/>
                  </a:lnTo>
                  <a:lnTo>
                    <a:pt x="5" y="92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0" y="65"/>
                  </a:lnTo>
                  <a:lnTo>
                    <a:pt x="0" y="59"/>
                  </a:lnTo>
                  <a:lnTo>
                    <a:pt x="1" y="53"/>
                  </a:lnTo>
                  <a:lnTo>
                    <a:pt x="4" y="47"/>
                  </a:lnTo>
                  <a:lnTo>
                    <a:pt x="5" y="41"/>
                  </a:lnTo>
                  <a:lnTo>
                    <a:pt x="9" y="35"/>
                  </a:lnTo>
                  <a:lnTo>
                    <a:pt x="11" y="30"/>
                  </a:lnTo>
                  <a:lnTo>
                    <a:pt x="16" y="25"/>
                  </a:lnTo>
                  <a:lnTo>
                    <a:pt x="20" y="20"/>
                  </a:lnTo>
                  <a:lnTo>
                    <a:pt x="30" y="11"/>
                  </a:lnTo>
                  <a:lnTo>
                    <a:pt x="41" y="5"/>
                  </a:lnTo>
                  <a:lnTo>
                    <a:pt x="47" y="4"/>
                  </a:lnTo>
                  <a:lnTo>
                    <a:pt x="54" y="1"/>
                  </a:lnTo>
                  <a:lnTo>
                    <a:pt x="60" y="1"/>
                  </a:lnTo>
                  <a:lnTo>
                    <a:pt x="68" y="0"/>
                  </a:lnTo>
                  <a:lnTo>
                    <a:pt x="74" y="1"/>
                  </a:lnTo>
                  <a:lnTo>
                    <a:pt x="81" y="1"/>
                  </a:lnTo>
                  <a:lnTo>
                    <a:pt x="87" y="4"/>
                  </a:lnTo>
                  <a:lnTo>
                    <a:pt x="94" y="5"/>
                  </a:lnTo>
                  <a:lnTo>
                    <a:pt x="105" y="11"/>
                  </a:lnTo>
                  <a:lnTo>
                    <a:pt x="114" y="20"/>
                  </a:lnTo>
                  <a:lnTo>
                    <a:pt x="119" y="25"/>
                  </a:lnTo>
                  <a:lnTo>
                    <a:pt x="123" y="30"/>
                  </a:lnTo>
                  <a:lnTo>
                    <a:pt x="127" y="35"/>
                  </a:lnTo>
                  <a:lnTo>
                    <a:pt x="129" y="41"/>
                  </a:lnTo>
                  <a:lnTo>
                    <a:pt x="132" y="47"/>
                  </a:lnTo>
                  <a:lnTo>
                    <a:pt x="133" y="53"/>
                  </a:lnTo>
                  <a:lnTo>
                    <a:pt x="134" y="59"/>
                  </a:lnTo>
                  <a:lnTo>
                    <a:pt x="134" y="65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0" name="Freeform 49"/>
            <p:cNvSpPr>
              <a:spLocks noEditPoints="1"/>
            </p:cNvSpPr>
            <p:nvPr/>
          </p:nvSpPr>
          <p:spPr bwMode="auto">
            <a:xfrm>
              <a:off x="1058863" y="3276601"/>
              <a:ext cx="63500" cy="61913"/>
            </a:xfrm>
            <a:custGeom>
              <a:avLst/>
              <a:gdLst>
                <a:gd name="T0" fmla="*/ 67 w 158"/>
                <a:gd name="T1" fmla="*/ 26 h 157"/>
                <a:gd name="T2" fmla="*/ 48 w 158"/>
                <a:gd name="T3" fmla="*/ 34 h 157"/>
                <a:gd name="T4" fmla="*/ 33 w 158"/>
                <a:gd name="T5" fmla="*/ 49 h 157"/>
                <a:gd name="T6" fmla="*/ 26 w 158"/>
                <a:gd name="T7" fmla="*/ 69 h 157"/>
                <a:gd name="T8" fmla="*/ 26 w 158"/>
                <a:gd name="T9" fmla="*/ 91 h 157"/>
                <a:gd name="T10" fmla="*/ 33 w 158"/>
                <a:gd name="T11" fmla="*/ 110 h 157"/>
                <a:gd name="T12" fmla="*/ 48 w 158"/>
                <a:gd name="T13" fmla="*/ 125 h 157"/>
                <a:gd name="T14" fmla="*/ 67 w 158"/>
                <a:gd name="T15" fmla="*/ 134 h 157"/>
                <a:gd name="T16" fmla="*/ 91 w 158"/>
                <a:gd name="T17" fmla="*/ 134 h 157"/>
                <a:gd name="T18" fmla="*/ 110 w 158"/>
                <a:gd name="T19" fmla="*/ 125 h 157"/>
                <a:gd name="T20" fmla="*/ 125 w 158"/>
                <a:gd name="T21" fmla="*/ 110 h 157"/>
                <a:gd name="T22" fmla="*/ 133 w 158"/>
                <a:gd name="T23" fmla="*/ 91 h 157"/>
                <a:gd name="T24" fmla="*/ 133 w 158"/>
                <a:gd name="T25" fmla="*/ 69 h 157"/>
                <a:gd name="T26" fmla="*/ 125 w 158"/>
                <a:gd name="T27" fmla="*/ 49 h 157"/>
                <a:gd name="T28" fmla="*/ 110 w 158"/>
                <a:gd name="T29" fmla="*/ 34 h 157"/>
                <a:gd name="T30" fmla="*/ 91 w 158"/>
                <a:gd name="T31" fmla="*/ 26 h 157"/>
                <a:gd name="T32" fmla="*/ 80 w 158"/>
                <a:gd name="T33" fmla="*/ 157 h 157"/>
                <a:gd name="T34" fmla="*/ 64 w 158"/>
                <a:gd name="T35" fmla="*/ 156 h 157"/>
                <a:gd name="T36" fmla="*/ 49 w 158"/>
                <a:gd name="T37" fmla="*/ 152 h 157"/>
                <a:gd name="T38" fmla="*/ 36 w 158"/>
                <a:gd name="T39" fmla="*/ 145 h 157"/>
                <a:gd name="T40" fmla="*/ 23 w 158"/>
                <a:gd name="T41" fmla="*/ 135 h 157"/>
                <a:gd name="T42" fmla="*/ 13 w 158"/>
                <a:gd name="T43" fmla="*/ 124 h 157"/>
                <a:gd name="T44" fmla="*/ 6 w 158"/>
                <a:gd name="T45" fmla="*/ 110 h 157"/>
                <a:gd name="T46" fmla="*/ 2 w 158"/>
                <a:gd name="T47" fmla="*/ 96 h 157"/>
                <a:gd name="T48" fmla="*/ 0 w 158"/>
                <a:gd name="T49" fmla="*/ 78 h 157"/>
                <a:gd name="T50" fmla="*/ 2 w 158"/>
                <a:gd name="T51" fmla="*/ 64 h 157"/>
                <a:gd name="T52" fmla="*/ 6 w 158"/>
                <a:gd name="T53" fmla="*/ 49 h 157"/>
                <a:gd name="T54" fmla="*/ 13 w 158"/>
                <a:gd name="T55" fmla="*/ 35 h 157"/>
                <a:gd name="T56" fmla="*/ 23 w 158"/>
                <a:gd name="T57" fmla="*/ 23 h 157"/>
                <a:gd name="T58" fmla="*/ 36 w 158"/>
                <a:gd name="T59" fmla="*/ 13 h 157"/>
                <a:gd name="T60" fmla="*/ 49 w 158"/>
                <a:gd name="T61" fmla="*/ 6 h 157"/>
                <a:gd name="T62" fmla="*/ 64 w 158"/>
                <a:gd name="T63" fmla="*/ 2 h 157"/>
                <a:gd name="T64" fmla="*/ 80 w 158"/>
                <a:gd name="T65" fmla="*/ 0 h 157"/>
                <a:gd name="T66" fmla="*/ 94 w 158"/>
                <a:gd name="T67" fmla="*/ 2 h 157"/>
                <a:gd name="T68" fmla="*/ 109 w 158"/>
                <a:gd name="T69" fmla="*/ 6 h 157"/>
                <a:gd name="T70" fmla="*/ 123 w 158"/>
                <a:gd name="T71" fmla="*/ 13 h 157"/>
                <a:gd name="T72" fmla="*/ 135 w 158"/>
                <a:gd name="T73" fmla="*/ 23 h 157"/>
                <a:gd name="T74" fmla="*/ 145 w 158"/>
                <a:gd name="T75" fmla="*/ 35 h 157"/>
                <a:gd name="T76" fmla="*/ 152 w 158"/>
                <a:gd name="T77" fmla="*/ 49 h 157"/>
                <a:gd name="T78" fmla="*/ 157 w 158"/>
                <a:gd name="T79" fmla="*/ 64 h 157"/>
                <a:gd name="T80" fmla="*/ 158 w 158"/>
                <a:gd name="T81" fmla="*/ 78 h 157"/>
                <a:gd name="T82" fmla="*/ 157 w 158"/>
                <a:gd name="T83" fmla="*/ 96 h 157"/>
                <a:gd name="T84" fmla="*/ 152 w 158"/>
                <a:gd name="T85" fmla="*/ 110 h 157"/>
                <a:gd name="T86" fmla="*/ 145 w 158"/>
                <a:gd name="T87" fmla="*/ 124 h 157"/>
                <a:gd name="T88" fmla="*/ 135 w 158"/>
                <a:gd name="T89" fmla="*/ 135 h 157"/>
                <a:gd name="T90" fmla="*/ 123 w 158"/>
                <a:gd name="T91" fmla="*/ 145 h 157"/>
                <a:gd name="T92" fmla="*/ 109 w 158"/>
                <a:gd name="T93" fmla="*/ 152 h 157"/>
                <a:gd name="T94" fmla="*/ 94 w 158"/>
                <a:gd name="T95" fmla="*/ 156 h 157"/>
                <a:gd name="T96" fmla="*/ 80 w 158"/>
                <a:gd name="T97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" h="157">
                  <a:moveTo>
                    <a:pt x="80" y="24"/>
                  </a:moveTo>
                  <a:lnTo>
                    <a:pt x="67" y="26"/>
                  </a:lnTo>
                  <a:lnTo>
                    <a:pt x="58" y="29"/>
                  </a:lnTo>
                  <a:lnTo>
                    <a:pt x="48" y="34"/>
                  </a:lnTo>
                  <a:lnTo>
                    <a:pt x="40" y="40"/>
                  </a:lnTo>
                  <a:lnTo>
                    <a:pt x="33" y="49"/>
                  </a:lnTo>
                  <a:lnTo>
                    <a:pt x="28" y="58"/>
                  </a:lnTo>
                  <a:lnTo>
                    <a:pt x="26" y="69"/>
                  </a:lnTo>
                  <a:lnTo>
                    <a:pt x="24" y="78"/>
                  </a:lnTo>
                  <a:lnTo>
                    <a:pt x="26" y="91"/>
                  </a:lnTo>
                  <a:lnTo>
                    <a:pt x="28" y="101"/>
                  </a:lnTo>
                  <a:lnTo>
                    <a:pt x="33" y="110"/>
                  </a:lnTo>
                  <a:lnTo>
                    <a:pt x="40" y="119"/>
                  </a:lnTo>
                  <a:lnTo>
                    <a:pt x="48" y="125"/>
                  </a:lnTo>
                  <a:lnTo>
                    <a:pt x="58" y="131"/>
                  </a:lnTo>
                  <a:lnTo>
                    <a:pt x="67" y="134"/>
                  </a:lnTo>
                  <a:lnTo>
                    <a:pt x="80" y="135"/>
                  </a:lnTo>
                  <a:lnTo>
                    <a:pt x="91" y="134"/>
                  </a:lnTo>
                  <a:lnTo>
                    <a:pt x="101" y="131"/>
                  </a:lnTo>
                  <a:lnTo>
                    <a:pt x="110" y="125"/>
                  </a:lnTo>
                  <a:lnTo>
                    <a:pt x="118" y="119"/>
                  </a:lnTo>
                  <a:lnTo>
                    <a:pt x="125" y="110"/>
                  </a:lnTo>
                  <a:lnTo>
                    <a:pt x="130" y="101"/>
                  </a:lnTo>
                  <a:lnTo>
                    <a:pt x="133" y="91"/>
                  </a:lnTo>
                  <a:lnTo>
                    <a:pt x="134" y="78"/>
                  </a:lnTo>
                  <a:lnTo>
                    <a:pt x="133" y="69"/>
                  </a:lnTo>
                  <a:lnTo>
                    <a:pt x="130" y="58"/>
                  </a:lnTo>
                  <a:lnTo>
                    <a:pt x="125" y="49"/>
                  </a:lnTo>
                  <a:lnTo>
                    <a:pt x="118" y="40"/>
                  </a:lnTo>
                  <a:lnTo>
                    <a:pt x="110" y="34"/>
                  </a:lnTo>
                  <a:lnTo>
                    <a:pt x="101" y="29"/>
                  </a:lnTo>
                  <a:lnTo>
                    <a:pt x="91" y="26"/>
                  </a:lnTo>
                  <a:lnTo>
                    <a:pt x="80" y="24"/>
                  </a:lnTo>
                  <a:close/>
                  <a:moveTo>
                    <a:pt x="80" y="157"/>
                  </a:moveTo>
                  <a:lnTo>
                    <a:pt x="71" y="157"/>
                  </a:lnTo>
                  <a:lnTo>
                    <a:pt x="64" y="156"/>
                  </a:lnTo>
                  <a:lnTo>
                    <a:pt x="55" y="155"/>
                  </a:lnTo>
                  <a:lnTo>
                    <a:pt x="49" y="152"/>
                  </a:lnTo>
                  <a:lnTo>
                    <a:pt x="42" y="148"/>
                  </a:lnTo>
                  <a:lnTo>
                    <a:pt x="36" y="145"/>
                  </a:lnTo>
                  <a:lnTo>
                    <a:pt x="29" y="140"/>
                  </a:lnTo>
                  <a:lnTo>
                    <a:pt x="23" y="135"/>
                  </a:lnTo>
                  <a:lnTo>
                    <a:pt x="18" y="130"/>
                  </a:lnTo>
                  <a:lnTo>
                    <a:pt x="13" y="124"/>
                  </a:lnTo>
                  <a:lnTo>
                    <a:pt x="10" y="116"/>
                  </a:lnTo>
                  <a:lnTo>
                    <a:pt x="6" y="110"/>
                  </a:lnTo>
                  <a:lnTo>
                    <a:pt x="4" y="103"/>
                  </a:lnTo>
                  <a:lnTo>
                    <a:pt x="2" y="96"/>
                  </a:lnTo>
                  <a:lnTo>
                    <a:pt x="1" y="87"/>
                  </a:lnTo>
                  <a:lnTo>
                    <a:pt x="0" y="78"/>
                  </a:lnTo>
                  <a:lnTo>
                    <a:pt x="1" y="71"/>
                  </a:lnTo>
                  <a:lnTo>
                    <a:pt x="2" y="64"/>
                  </a:lnTo>
                  <a:lnTo>
                    <a:pt x="4" y="56"/>
                  </a:lnTo>
                  <a:lnTo>
                    <a:pt x="6" y="49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6" y="13"/>
                  </a:lnTo>
                  <a:lnTo>
                    <a:pt x="42" y="10"/>
                  </a:lnTo>
                  <a:lnTo>
                    <a:pt x="49" y="6"/>
                  </a:lnTo>
                  <a:lnTo>
                    <a:pt x="55" y="3"/>
                  </a:lnTo>
                  <a:lnTo>
                    <a:pt x="64" y="2"/>
                  </a:lnTo>
                  <a:lnTo>
                    <a:pt x="71" y="1"/>
                  </a:lnTo>
                  <a:lnTo>
                    <a:pt x="80" y="0"/>
                  </a:lnTo>
                  <a:lnTo>
                    <a:pt x="87" y="1"/>
                  </a:lnTo>
                  <a:lnTo>
                    <a:pt x="94" y="2"/>
                  </a:lnTo>
                  <a:lnTo>
                    <a:pt x="103" y="3"/>
                  </a:lnTo>
                  <a:lnTo>
                    <a:pt x="109" y="6"/>
                  </a:lnTo>
                  <a:lnTo>
                    <a:pt x="117" y="10"/>
                  </a:lnTo>
                  <a:lnTo>
                    <a:pt x="123" y="13"/>
                  </a:lnTo>
                  <a:lnTo>
                    <a:pt x="129" y="18"/>
                  </a:lnTo>
                  <a:lnTo>
                    <a:pt x="135" y="23"/>
                  </a:lnTo>
                  <a:lnTo>
                    <a:pt x="140" y="29"/>
                  </a:lnTo>
                  <a:lnTo>
                    <a:pt x="145" y="35"/>
                  </a:lnTo>
                  <a:lnTo>
                    <a:pt x="149" y="42"/>
                  </a:lnTo>
                  <a:lnTo>
                    <a:pt x="152" y="49"/>
                  </a:lnTo>
                  <a:lnTo>
                    <a:pt x="155" y="56"/>
                  </a:lnTo>
                  <a:lnTo>
                    <a:pt x="157" y="64"/>
                  </a:lnTo>
                  <a:lnTo>
                    <a:pt x="157" y="71"/>
                  </a:lnTo>
                  <a:lnTo>
                    <a:pt x="158" y="78"/>
                  </a:lnTo>
                  <a:lnTo>
                    <a:pt x="157" y="87"/>
                  </a:lnTo>
                  <a:lnTo>
                    <a:pt x="157" y="96"/>
                  </a:lnTo>
                  <a:lnTo>
                    <a:pt x="155" y="103"/>
                  </a:lnTo>
                  <a:lnTo>
                    <a:pt x="152" y="110"/>
                  </a:lnTo>
                  <a:lnTo>
                    <a:pt x="149" y="116"/>
                  </a:lnTo>
                  <a:lnTo>
                    <a:pt x="145" y="124"/>
                  </a:lnTo>
                  <a:lnTo>
                    <a:pt x="140" y="130"/>
                  </a:lnTo>
                  <a:lnTo>
                    <a:pt x="135" y="135"/>
                  </a:lnTo>
                  <a:lnTo>
                    <a:pt x="129" y="140"/>
                  </a:lnTo>
                  <a:lnTo>
                    <a:pt x="123" y="145"/>
                  </a:lnTo>
                  <a:lnTo>
                    <a:pt x="117" y="148"/>
                  </a:lnTo>
                  <a:lnTo>
                    <a:pt x="109" y="152"/>
                  </a:lnTo>
                  <a:lnTo>
                    <a:pt x="103" y="155"/>
                  </a:lnTo>
                  <a:lnTo>
                    <a:pt x="94" y="156"/>
                  </a:lnTo>
                  <a:lnTo>
                    <a:pt x="87" y="157"/>
                  </a:lnTo>
                  <a:lnTo>
                    <a:pt x="80" y="157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1" name="Freeform 50"/>
            <p:cNvSpPr>
              <a:spLocks/>
            </p:cNvSpPr>
            <p:nvPr/>
          </p:nvSpPr>
          <p:spPr bwMode="auto">
            <a:xfrm>
              <a:off x="1028701" y="3338513"/>
              <a:ext cx="30163" cy="30163"/>
            </a:xfrm>
            <a:custGeom>
              <a:avLst/>
              <a:gdLst>
                <a:gd name="T0" fmla="*/ 74 w 74"/>
                <a:gd name="T1" fmla="*/ 39 h 75"/>
                <a:gd name="T2" fmla="*/ 73 w 74"/>
                <a:gd name="T3" fmla="*/ 47 h 75"/>
                <a:gd name="T4" fmla="*/ 71 w 74"/>
                <a:gd name="T5" fmla="*/ 53 h 75"/>
                <a:gd name="T6" fmla="*/ 68 w 74"/>
                <a:gd name="T7" fmla="*/ 59 h 75"/>
                <a:gd name="T8" fmla="*/ 63 w 74"/>
                <a:gd name="T9" fmla="*/ 64 h 75"/>
                <a:gd name="T10" fmla="*/ 57 w 74"/>
                <a:gd name="T11" fmla="*/ 69 h 75"/>
                <a:gd name="T12" fmla="*/ 51 w 74"/>
                <a:gd name="T13" fmla="*/ 73 h 75"/>
                <a:gd name="T14" fmla="*/ 45 w 74"/>
                <a:gd name="T15" fmla="*/ 74 h 75"/>
                <a:gd name="T16" fmla="*/ 37 w 74"/>
                <a:gd name="T17" fmla="*/ 75 h 75"/>
                <a:gd name="T18" fmla="*/ 30 w 74"/>
                <a:gd name="T19" fmla="*/ 74 h 75"/>
                <a:gd name="T20" fmla="*/ 23 w 74"/>
                <a:gd name="T21" fmla="*/ 73 h 75"/>
                <a:gd name="T22" fmla="*/ 16 w 74"/>
                <a:gd name="T23" fmla="*/ 69 h 75"/>
                <a:gd name="T24" fmla="*/ 12 w 74"/>
                <a:gd name="T25" fmla="*/ 64 h 75"/>
                <a:gd name="T26" fmla="*/ 7 w 74"/>
                <a:gd name="T27" fmla="*/ 59 h 75"/>
                <a:gd name="T28" fmla="*/ 3 w 74"/>
                <a:gd name="T29" fmla="*/ 53 h 75"/>
                <a:gd name="T30" fmla="*/ 0 w 74"/>
                <a:gd name="T31" fmla="*/ 47 h 75"/>
                <a:gd name="T32" fmla="*/ 0 w 74"/>
                <a:gd name="T33" fmla="*/ 39 h 75"/>
                <a:gd name="T34" fmla="*/ 0 w 74"/>
                <a:gd name="T35" fmla="*/ 32 h 75"/>
                <a:gd name="T36" fmla="*/ 3 w 74"/>
                <a:gd name="T37" fmla="*/ 25 h 75"/>
                <a:gd name="T38" fmla="*/ 7 w 74"/>
                <a:gd name="T39" fmla="*/ 18 h 75"/>
                <a:gd name="T40" fmla="*/ 12 w 74"/>
                <a:gd name="T41" fmla="*/ 12 h 75"/>
                <a:gd name="T42" fmla="*/ 16 w 74"/>
                <a:gd name="T43" fmla="*/ 7 h 75"/>
                <a:gd name="T44" fmla="*/ 23 w 74"/>
                <a:gd name="T45" fmla="*/ 4 h 75"/>
                <a:gd name="T46" fmla="*/ 30 w 74"/>
                <a:gd name="T47" fmla="*/ 1 h 75"/>
                <a:gd name="T48" fmla="*/ 37 w 74"/>
                <a:gd name="T49" fmla="*/ 0 h 75"/>
                <a:gd name="T50" fmla="*/ 45 w 74"/>
                <a:gd name="T51" fmla="*/ 1 h 75"/>
                <a:gd name="T52" fmla="*/ 51 w 74"/>
                <a:gd name="T53" fmla="*/ 4 h 75"/>
                <a:gd name="T54" fmla="*/ 57 w 74"/>
                <a:gd name="T55" fmla="*/ 7 h 75"/>
                <a:gd name="T56" fmla="*/ 63 w 74"/>
                <a:gd name="T57" fmla="*/ 12 h 75"/>
                <a:gd name="T58" fmla="*/ 68 w 74"/>
                <a:gd name="T59" fmla="*/ 18 h 75"/>
                <a:gd name="T60" fmla="*/ 71 w 74"/>
                <a:gd name="T61" fmla="*/ 25 h 75"/>
                <a:gd name="T62" fmla="*/ 73 w 74"/>
                <a:gd name="T63" fmla="*/ 32 h 75"/>
                <a:gd name="T64" fmla="*/ 74 w 74"/>
                <a:gd name="T65" fmla="*/ 3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75">
                  <a:moveTo>
                    <a:pt x="74" y="39"/>
                  </a:moveTo>
                  <a:lnTo>
                    <a:pt x="73" y="47"/>
                  </a:lnTo>
                  <a:lnTo>
                    <a:pt x="71" y="53"/>
                  </a:lnTo>
                  <a:lnTo>
                    <a:pt x="68" y="59"/>
                  </a:lnTo>
                  <a:lnTo>
                    <a:pt x="63" y="64"/>
                  </a:lnTo>
                  <a:lnTo>
                    <a:pt x="57" y="69"/>
                  </a:lnTo>
                  <a:lnTo>
                    <a:pt x="51" y="73"/>
                  </a:lnTo>
                  <a:lnTo>
                    <a:pt x="45" y="74"/>
                  </a:lnTo>
                  <a:lnTo>
                    <a:pt x="37" y="75"/>
                  </a:lnTo>
                  <a:lnTo>
                    <a:pt x="30" y="74"/>
                  </a:lnTo>
                  <a:lnTo>
                    <a:pt x="23" y="73"/>
                  </a:lnTo>
                  <a:lnTo>
                    <a:pt x="16" y="69"/>
                  </a:lnTo>
                  <a:lnTo>
                    <a:pt x="12" y="64"/>
                  </a:lnTo>
                  <a:lnTo>
                    <a:pt x="7" y="59"/>
                  </a:lnTo>
                  <a:lnTo>
                    <a:pt x="3" y="53"/>
                  </a:lnTo>
                  <a:lnTo>
                    <a:pt x="0" y="47"/>
                  </a:lnTo>
                  <a:lnTo>
                    <a:pt x="0" y="39"/>
                  </a:lnTo>
                  <a:lnTo>
                    <a:pt x="0" y="32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2" y="12"/>
                  </a:lnTo>
                  <a:lnTo>
                    <a:pt x="16" y="7"/>
                  </a:lnTo>
                  <a:lnTo>
                    <a:pt x="23" y="4"/>
                  </a:lnTo>
                  <a:lnTo>
                    <a:pt x="30" y="1"/>
                  </a:lnTo>
                  <a:lnTo>
                    <a:pt x="37" y="0"/>
                  </a:lnTo>
                  <a:lnTo>
                    <a:pt x="45" y="1"/>
                  </a:lnTo>
                  <a:lnTo>
                    <a:pt x="51" y="4"/>
                  </a:lnTo>
                  <a:lnTo>
                    <a:pt x="57" y="7"/>
                  </a:lnTo>
                  <a:lnTo>
                    <a:pt x="63" y="12"/>
                  </a:lnTo>
                  <a:lnTo>
                    <a:pt x="68" y="18"/>
                  </a:lnTo>
                  <a:lnTo>
                    <a:pt x="71" y="25"/>
                  </a:lnTo>
                  <a:lnTo>
                    <a:pt x="73" y="32"/>
                  </a:lnTo>
                  <a:lnTo>
                    <a:pt x="74" y="39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2" name="Freeform 51"/>
            <p:cNvSpPr>
              <a:spLocks noEditPoints="1"/>
            </p:cNvSpPr>
            <p:nvPr/>
          </p:nvSpPr>
          <p:spPr bwMode="auto">
            <a:xfrm>
              <a:off x="1023938" y="3333751"/>
              <a:ext cx="38100" cy="39688"/>
            </a:xfrm>
            <a:custGeom>
              <a:avLst/>
              <a:gdLst>
                <a:gd name="T0" fmla="*/ 44 w 97"/>
                <a:gd name="T1" fmla="*/ 26 h 97"/>
                <a:gd name="T2" fmla="*/ 35 w 97"/>
                <a:gd name="T3" fmla="*/ 29 h 97"/>
                <a:gd name="T4" fmla="*/ 28 w 97"/>
                <a:gd name="T5" fmla="*/ 36 h 97"/>
                <a:gd name="T6" fmla="*/ 25 w 97"/>
                <a:gd name="T7" fmla="*/ 45 h 97"/>
                <a:gd name="T8" fmla="*/ 25 w 97"/>
                <a:gd name="T9" fmla="*/ 55 h 97"/>
                <a:gd name="T10" fmla="*/ 28 w 97"/>
                <a:gd name="T11" fmla="*/ 64 h 97"/>
                <a:gd name="T12" fmla="*/ 35 w 97"/>
                <a:gd name="T13" fmla="*/ 70 h 97"/>
                <a:gd name="T14" fmla="*/ 44 w 97"/>
                <a:gd name="T15" fmla="*/ 74 h 97"/>
                <a:gd name="T16" fmla="*/ 54 w 97"/>
                <a:gd name="T17" fmla="*/ 74 h 97"/>
                <a:gd name="T18" fmla="*/ 63 w 97"/>
                <a:gd name="T19" fmla="*/ 70 h 97"/>
                <a:gd name="T20" fmla="*/ 69 w 97"/>
                <a:gd name="T21" fmla="*/ 64 h 97"/>
                <a:gd name="T22" fmla="*/ 73 w 97"/>
                <a:gd name="T23" fmla="*/ 55 h 97"/>
                <a:gd name="T24" fmla="*/ 73 w 97"/>
                <a:gd name="T25" fmla="*/ 45 h 97"/>
                <a:gd name="T26" fmla="*/ 69 w 97"/>
                <a:gd name="T27" fmla="*/ 36 h 97"/>
                <a:gd name="T28" fmla="*/ 63 w 97"/>
                <a:gd name="T29" fmla="*/ 29 h 97"/>
                <a:gd name="T30" fmla="*/ 54 w 97"/>
                <a:gd name="T31" fmla="*/ 26 h 97"/>
                <a:gd name="T32" fmla="*/ 49 w 97"/>
                <a:gd name="T33" fmla="*/ 97 h 97"/>
                <a:gd name="T34" fmla="*/ 30 w 97"/>
                <a:gd name="T35" fmla="*/ 93 h 97"/>
                <a:gd name="T36" fmla="*/ 15 w 97"/>
                <a:gd name="T37" fmla="*/ 84 h 97"/>
                <a:gd name="T38" fmla="*/ 4 w 97"/>
                <a:gd name="T39" fmla="*/ 69 h 97"/>
                <a:gd name="T40" fmla="*/ 0 w 97"/>
                <a:gd name="T41" fmla="*/ 50 h 97"/>
                <a:gd name="T42" fmla="*/ 4 w 97"/>
                <a:gd name="T43" fmla="*/ 31 h 97"/>
                <a:gd name="T44" fmla="*/ 15 w 97"/>
                <a:gd name="T45" fmla="*/ 15 h 97"/>
                <a:gd name="T46" fmla="*/ 30 w 97"/>
                <a:gd name="T47" fmla="*/ 5 h 97"/>
                <a:gd name="T48" fmla="*/ 49 w 97"/>
                <a:gd name="T49" fmla="*/ 0 h 97"/>
                <a:gd name="T50" fmla="*/ 68 w 97"/>
                <a:gd name="T51" fmla="*/ 5 h 97"/>
                <a:gd name="T52" fmla="*/ 84 w 97"/>
                <a:gd name="T53" fmla="*/ 15 h 97"/>
                <a:gd name="T54" fmla="*/ 94 w 97"/>
                <a:gd name="T55" fmla="*/ 31 h 97"/>
                <a:gd name="T56" fmla="*/ 97 w 97"/>
                <a:gd name="T57" fmla="*/ 50 h 97"/>
                <a:gd name="T58" fmla="*/ 94 w 97"/>
                <a:gd name="T59" fmla="*/ 69 h 97"/>
                <a:gd name="T60" fmla="*/ 84 w 97"/>
                <a:gd name="T61" fmla="*/ 84 h 97"/>
                <a:gd name="T62" fmla="*/ 68 w 97"/>
                <a:gd name="T63" fmla="*/ 93 h 97"/>
                <a:gd name="T64" fmla="*/ 49 w 97"/>
                <a:gd name="T6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7" h="97">
                  <a:moveTo>
                    <a:pt x="49" y="25"/>
                  </a:moveTo>
                  <a:lnTo>
                    <a:pt x="44" y="26"/>
                  </a:lnTo>
                  <a:lnTo>
                    <a:pt x="40" y="27"/>
                  </a:lnTo>
                  <a:lnTo>
                    <a:pt x="35" y="29"/>
                  </a:lnTo>
                  <a:lnTo>
                    <a:pt x="31" y="32"/>
                  </a:lnTo>
                  <a:lnTo>
                    <a:pt x="28" y="36"/>
                  </a:lnTo>
                  <a:lnTo>
                    <a:pt x="26" y="41"/>
                  </a:lnTo>
                  <a:lnTo>
                    <a:pt x="25" y="45"/>
                  </a:lnTo>
                  <a:lnTo>
                    <a:pt x="25" y="50"/>
                  </a:lnTo>
                  <a:lnTo>
                    <a:pt x="25" y="55"/>
                  </a:lnTo>
                  <a:lnTo>
                    <a:pt x="26" y="59"/>
                  </a:lnTo>
                  <a:lnTo>
                    <a:pt x="28" y="64"/>
                  </a:lnTo>
                  <a:lnTo>
                    <a:pt x="31" y="68"/>
                  </a:lnTo>
                  <a:lnTo>
                    <a:pt x="35" y="70"/>
                  </a:lnTo>
                  <a:lnTo>
                    <a:pt x="40" y="72"/>
                  </a:lnTo>
                  <a:lnTo>
                    <a:pt x="44" y="74"/>
                  </a:lnTo>
                  <a:lnTo>
                    <a:pt x="49" y="75"/>
                  </a:lnTo>
                  <a:lnTo>
                    <a:pt x="54" y="74"/>
                  </a:lnTo>
                  <a:lnTo>
                    <a:pt x="59" y="72"/>
                  </a:lnTo>
                  <a:lnTo>
                    <a:pt x="63" y="70"/>
                  </a:lnTo>
                  <a:lnTo>
                    <a:pt x="67" y="68"/>
                  </a:lnTo>
                  <a:lnTo>
                    <a:pt x="69" y="64"/>
                  </a:lnTo>
                  <a:lnTo>
                    <a:pt x="71" y="59"/>
                  </a:lnTo>
                  <a:lnTo>
                    <a:pt x="73" y="55"/>
                  </a:lnTo>
                  <a:lnTo>
                    <a:pt x="74" y="50"/>
                  </a:lnTo>
                  <a:lnTo>
                    <a:pt x="73" y="45"/>
                  </a:lnTo>
                  <a:lnTo>
                    <a:pt x="71" y="41"/>
                  </a:lnTo>
                  <a:lnTo>
                    <a:pt x="69" y="36"/>
                  </a:lnTo>
                  <a:lnTo>
                    <a:pt x="67" y="32"/>
                  </a:lnTo>
                  <a:lnTo>
                    <a:pt x="63" y="29"/>
                  </a:lnTo>
                  <a:lnTo>
                    <a:pt x="59" y="27"/>
                  </a:lnTo>
                  <a:lnTo>
                    <a:pt x="54" y="26"/>
                  </a:lnTo>
                  <a:lnTo>
                    <a:pt x="49" y="25"/>
                  </a:lnTo>
                  <a:close/>
                  <a:moveTo>
                    <a:pt x="49" y="97"/>
                  </a:moveTo>
                  <a:lnTo>
                    <a:pt x="40" y="96"/>
                  </a:lnTo>
                  <a:lnTo>
                    <a:pt x="30" y="93"/>
                  </a:lnTo>
                  <a:lnTo>
                    <a:pt x="22" y="90"/>
                  </a:lnTo>
                  <a:lnTo>
                    <a:pt x="15" y="84"/>
                  </a:lnTo>
                  <a:lnTo>
                    <a:pt x="9" y="76"/>
                  </a:lnTo>
                  <a:lnTo>
                    <a:pt x="4" y="69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1" y="41"/>
                  </a:lnTo>
                  <a:lnTo>
                    <a:pt x="4" y="31"/>
                  </a:lnTo>
                  <a:lnTo>
                    <a:pt x="9" y="22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30" y="5"/>
                  </a:lnTo>
                  <a:lnTo>
                    <a:pt x="40" y="1"/>
                  </a:lnTo>
                  <a:lnTo>
                    <a:pt x="49" y="0"/>
                  </a:lnTo>
                  <a:lnTo>
                    <a:pt x="59" y="1"/>
                  </a:lnTo>
                  <a:lnTo>
                    <a:pt x="68" y="5"/>
                  </a:lnTo>
                  <a:lnTo>
                    <a:pt x="76" y="9"/>
                  </a:lnTo>
                  <a:lnTo>
                    <a:pt x="84" y="15"/>
                  </a:lnTo>
                  <a:lnTo>
                    <a:pt x="90" y="22"/>
                  </a:lnTo>
                  <a:lnTo>
                    <a:pt x="94" y="31"/>
                  </a:lnTo>
                  <a:lnTo>
                    <a:pt x="97" y="41"/>
                  </a:lnTo>
                  <a:lnTo>
                    <a:pt x="97" y="50"/>
                  </a:lnTo>
                  <a:lnTo>
                    <a:pt x="97" y="60"/>
                  </a:lnTo>
                  <a:lnTo>
                    <a:pt x="94" y="69"/>
                  </a:lnTo>
                  <a:lnTo>
                    <a:pt x="90" y="76"/>
                  </a:lnTo>
                  <a:lnTo>
                    <a:pt x="84" y="84"/>
                  </a:lnTo>
                  <a:lnTo>
                    <a:pt x="76" y="90"/>
                  </a:lnTo>
                  <a:lnTo>
                    <a:pt x="68" y="93"/>
                  </a:lnTo>
                  <a:lnTo>
                    <a:pt x="59" y="96"/>
                  </a:lnTo>
                  <a:lnTo>
                    <a:pt x="49" y="97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20" name="TextBox 119"/>
          <p:cNvSpPr txBox="1"/>
          <p:nvPr/>
        </p:nvSpPr>
        <p:spPr>
          <a:xfrm>
            <a:off x="1439849" y="5408670"/>
            <a:ext cx="3821660" cy="101566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/>
              <a:t> </a:t>
            </a:r>
            <a:r>
              <a:rPr lang="ru-RU" sz="1200" b="1" i="1" dirty="0"/>
              <a:t>Требуется вести  согласованную политику, в том числе с привлечением экспертного мнения бизнес-сообщества в части поэтапного перехода к осуществлению подтверждения соответствия по новым НД</a:t>
            </a:r>
          </a:p>
        </p:txBody>
      </p:sp>
      <p:sp>
        <p:nvSpPr>
          <p:cNvPr id="121" name="Picture165"/>
          <p:cNvSpPr>
            <a:spLocks/>
          </p:cNvSpPr>
          <p:nvPr/>
        </p:nvSpPr>
        <p:spPr bwMode="auto">
          <a:xfrm>
            <a:off x="875615" y="5383115"/>
            <a:ext cx="377042" cy="355766"/>
          </a:xfrm>
          <a:custGeom>
            <a:avLst/>
            <a:gdLst>
              <a:gd name="T0" fmla="*/ 0 w 762"/>
              <a:gd name="T1" fmla="*/ 467 h 912"/>
              <a:gd name="T2" fmla="*/ 152 w 762"/>
              <a:gd name="T3" fmla="*/ 372 h 912"/>
              <a:gd name="T4" fmla="*/ 280 w 762"/>
              <a:gd name="T5" fmla="*/ 608 h 912"/>
              <a:gd name="T6" fmla="*/ 609 w 762"/>
              <a:gd name="T7" fmla="*/ 0 h 912"/>
              <a:gd name="T8" fmla="*/ 762 w 762"/>
              <a:gd name="T9" fmla="*/ 95 h 912"/>
              <a:gd name="T10" fmla="*/ 280 w 762"/>
              <a:gd name="T11" fmla="*/ 912 h 912"/>
              <a:gd name="T12" fmla="*/ 0 w 762"/>
              <a:gd name="T13" fmla="*/ 467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2" h="912">
                <a:moveTo>
                  <a:pt x="0" y="467"/>
                </a:moveTo>
                <a:lnTo>
                  <a:pt x="152" y="372"/>
                </a:lnTo>
                <a:lnTo>
                  <a:pt x="280" y="608"/>
                </a:lnTo>
                <a:lnTo>
                  <a:pt x="609" y="0"/>
                </a:lnTo>
                <a:lnTo>
                  <a:pt x="762" y="95"/>
                </a:lnTo>
                <a:lnTo>
                  <a:pt x="280" y="912"/>
                </a:lnTo>
                <a:lnTo>
                  <a:pt x="0" y="467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lIns="75613" tIns="37806" rIns="75613" bIns="37806"/>
          <a:lstStyle/>
          <a:p>
            <a:pPr>
              <a:defRPr/>
            </a:pPr>
            <a:endParaRPr lang="ru-RU" sz="1100"/>
          </a:p>
        </p:txBody>
      </p:sp>
      <p:sp>
        <p:nvSpPr>
          <p:cNvPr id="2" name="Прямоугольник 1"/>
          <p:cNvSpPr/>
          <p:nvPr/>
        </p:nvSpPr>
        <p:spPr>
          <a:xfrm>
            <a:off x="1702924" y="3590777"/>
            <a:ext cx="241606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dirty="0">
                <a:solidFill>
                  <a:srgbClr val="3C3C3C"/>
                </a:solidFill>
              </a:rPr>
              <a:t>01.07.2019г. на территории РФ взамен ГОСТ 27578-87 вступает в действие ГОСТ 27578-2018, устанавливающий новые требования к показателям качества СУГ для автомобильного транспорта зимних марок в части определения давления насыщенных паров (ДНП) при температуре минус 30 ºС.  </a:t>
            </a:r>
            <a:endParaRPr lang="ru-RU" sz="1000" dirty="0"/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DD79029A-FA0E-4DCB-A728-CB61F880C1C3}"/>
              </a:ext>
            </a:extLst>
          </p:cNvPr>
          <p:cNvCxnSpPr>
            <a:cxnSpLocks/>
          </p:cNvCxnSpPr>
          <p:nvPr/>
        </p:nvCxnSpPr>
        <p:spPr>
          <a:xfrm flipH="1">
            <a:off x="4408987" y="3163716"/>
            <a:ext cx="12460" cy="2112914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5278416" y="3163718"/>
            <a:ext cx="200034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Однако метод определения ДНП при указанной температуре впервые описан в ГОСТ 28656-2019, который будет вводиться в действие на территории РФ </a:t>
            </a:r>
            <a:r>
              <a:rPr lang="ru-RU" sz="1000" b="1" dirty="0">
                <a:solidFill>
                  <a:srgbClr val="FF0000"/>
                </a:solidFill>
              </a:rPr>
              <a:t>только с 1 января 2020 года</a:t>
            </a:r>
            <a:r>
              <a:rPr lang="ru-RU" sz="1000" dirty="0"/>
              <a:t>, тогда как выпуск в обращение зимних марок СУГ производства НПЗ ПАО «Газпром нефть»  планируется уже с 1 октября 2019 года.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14758" y="3248327"/>
            <a:ext cx="30483" cy="2127688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7576992" y="3173887"/>
            <a:ext cx="228696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</a:rPr>
              <a:t>Приказ </a:t>
            </a:r>
            <a:r>
              <a:rPr lang="ru-RU" sz="1000" dirty="0" err="1">
                <a:latin typeface="Arial" panose="020B0604020202020204" pitchFamily="34" charset="0"/>
                <a:ea typeface="Times New Roman" panose="02020603050405020304" pitchFamily="18" charset="0"/>
              </a:rPr>
              <a:t>Росстандарта</a:t>
            </a:r>
            <a:r>
              <a:rPr lang="ru-RU" sz="1000" dirty="0">
                <a:latin typeface="Arial" panose="020B0604020202020204" pitchFamily="34" charset="0"/>
                <a:ea typeface="Times New Roman" panose="02020603050405020304" pitchFamily="18" charset="0"/>
              </a:rPr>
              <a:t> от 03.04.2019 № 119-ст о введении в действие ГОСТ 28656-2019 </a:t>
            </a:r>
            <a:r>
              <a:rPr lang="ru-RU" sz="1000" b="1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не предусматривает его досрочного применения</a:t>
            </a:r>
            <a:r>
              <a:rPr lang="ru-RU" sz="1000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  <a:endParaRPr lang="ru-RU" sz="1000" dirty="0">
              <a:solidFill>
                <a:srgbClr val="FF0000"/>
              </a:solidFill>
            </a:endParaRPr>
          </a:p>
        </p:txBody>
      </p:sp>
      <p:graphicFrame>
        <p:nvGraphicFramePr>
          <p:cNvPr id="16" name="Объект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3815031"/>
              </p:ext>
            </p:extLst>
          </p:nvPr>
        </p:nvGraphicFramePr>
        <p:xfrm>
          <a:off x="9050056" y="4084143"/>
          <a:ext cx="1169305" cy="1654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7" name="Acrobat Document" r:id="rId7" imgW="5667085" imgH="8019804" progId="AcroExch.Document.DC">
                  <p:embed/>
                </p:oleObj>
              </mc:Choice>
              <mc:Fallback>
                <p:oleObj name="Acrobat Document" r:id="rId7" imgW="5667085" imgH="8019804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050056" y="4084143"/>
                        <a:ext cx="1169305" cy="16547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1030397"/>
              </p:ext>
            </p:extLst>
          </p:nvPr>
        </p:nvGraphicFramePr>
        <p:xfrm>
          <a:off x="7666110" y="4152424"/>
          <a:ext cx="1188177" cy="16786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" name="Acrobat Document" r:id="rId9" imgW="5676595" imgH="8019804" progId="AcroExch.Document.DC">
                  <p:embed/>
                </p:oleObj>
              </mc:Choice>
              <mc:Fallback>
                <p:oleObj name="Acrobat Document" r:id="rId9" imgW="5676595" imgH="8019804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666110" y="4152424"/>
                        <a:ext cx="1188177" cy="16786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TextBox 66"/>
          <p:cNvSpPr txBox="1"/>
          <p:nvPr/>
        </p:nvSpPr>
        <p:spPr>
          <a:xfrm>
            <a:off x="6089996" y="5809739"/>
            <a:ext cx="5544657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/>
              <a:t> </a:t>
            </a:r>
            <a:r>
              <a:rPr lang="ru-RU" sz="1200" b="1" i="1" dirty="0">
                <a:solidFill>
                  <a:srgbClr val="0070C0"/>
                </a:solidFill>
              </a:rPr>
              <a:t>Предложение: законодательно (ФЗ-162) установить возможность досрочного применения актуализированных утвержденных стандартов по усмотрению хозяйствующего субъекта</a:t>
            </a: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77649670"/>
              </p:ext>
            </p:extLst>
          </p:nvPr>
        </p:nvGraphicFramePr>
        <p:xfrm>
          <a:off x="10048551" y="1385439"/>
          <a:ext cx="1586103" cy="22445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" name="Acrobat Document" r:id="rId11" imgW="5667085" imgH="8019804" progId="AcroExch.Document.DC">
                  <p:embed/>
                </p:oleObj>
              </mc:Choice>
              <mc:Fallback>
                <p:oleObj name="Acrobat Document" r:id="rId11" imgW="5667085" imgH="8019804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0048551" y="1385439"/>
                        <a:ext cx="1586103" cy="22445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69780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155505"/>
              </p:ext>
            </p:ext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ru-RU" sz="2100" dirty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2" name="Трапеция 11"/>
          <p:cNvSpPr/>
          <p:nvPr/>
        </p:nvSpPr>
        <p:spPr>
          <a:xfrm>
            <a:off x="4719225" y="3505758"/>
            <a:ext cx="2680672" cy="1097620"/>
          </a:xfrm>
          <a:prstGeom prst="trapezoid">
            <a:avLst>
              <a:gd name="adj" fmla="val 54561"/>
            </a:avLst>
          </a:prstGeom>
          <a:solidFill>
            <a:srgbClr val="0097D8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0" name="Заголовок 29">
            <a:extLst>
              <a:ext uri="{FF2B5EF4-FFF2-40B4-BE49-F238E27FC236}">
                <a16:creationId xmlns:a16="http://schemas.microsoft.com/office/drawing/2014/main" id="{2E868ECE-9666-4221-9EF7-66013149D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6556" y="996190"/>
            <a:ext cx="8560318" cy="738664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/>
            </a:r>
            <a:br>
              <a:rPr lang="ru-RU" dirty="0"/>
            </a:br>
            <a:r>
              <a:rPr lang="ru-RU" sz="1100" dirty="0"/>
              <a:t>Принят Решением Совета ЕЭК от 3 марта 2017г. №19</a:t>
            </a:r>
            <a:br>
              <a:rPr lang="ru-RU" sz="1100" dirty="0"/>
            </a:br>
            <a:r>
              <a:rPr lang="ru-RU" sz="1100" dirty="0"/>
              <a:t>Вступает в силу  с 2 июня 2021г. [при соблюдении  п.2 Решения]</a:t>
            </a:r>
            <a:br>
              <a:rPr lang="ru-RU" sz="1100" dirty="0"/>
            </a:br>
            <a:endParaRPr lang="ru-RU" sz="1100" dirty="0"/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5BF90420-5D29-49AC-A811-F389354A348D}"/>
              </a:ext>
            </a:extLst>
          </p:cNvPr>
          <p:cNvSpPr/>
          <p:nvPr/>
        </p:nvSpPr>
        <p:spPr>
          <a:xfrm>
            <a:off x="8360043" y="1704507"/>
            <a:ext cx="2698557" cy="38452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8428015-A5AC-49B7-9577-C0CA69AB6694}"/>
              </a:ext>
            </a:extLst>
          </p:cNvPr>
          <p:cNvSpPr txBox="1">
            <a:spLocks/>
          </p:cNvSpPr>
          <p:nvPr/>
        </p:nvSpPr>
        <p:spPr>
          <a:xfrm>
            <a:off x="1233224" y="4654053"/>
            <a:ext cx="2448499" cy="11891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R="61090"/>
            <a:r>
              <a:rPr lang="ru-RU" sz="800" b="1" dirty="0">
                <a:solidFill>
                  <a:srgbClr val="000000"/>
                </a:solidFill>
                <a:latin typeface="Calibri" panose="020F0502020204030204" pitchFamily="34" charset="0"/>
              </a:rPr>
              <a:t>Документы второго уровня к ТР ЕАЭС 041/2017:</a:t>
            </a:r>
            <a:endParaRPr lang="ru-RU" sz="8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ru-RU" sz="800" dirty="0">
                <a:solidFill>
                  <a:srgbClr val="000000"/>
                </a:solidFill>
                <a:latin typeface="Calibri" panose="020F0502020204030204" pitchFamily="34" charset="0"/>
              </a:rPr>
              <a:t>Порядок формирования и ведения реестра химических веществ и смесей Союза</a:t>
            </a:r>
          </a:p>
          <a:p>
            <a:r>
              <a:rPr lang="ru-RU" sz="800" dirty="0">
                <a:solidFill>
                  <a:srgbClr val="000000"/>
                </a:solidFill>
                <a:latin typeface="Calibri" panose="020F0502020204030204" pitchFamily="34" charset="0"/>
              </a:rPr>
              <a:t>Порядок нотификации новых химических веществ</a:t>
            </a:r>
          </a:p>
          <a:p>
            <a:endParaRPr lang="ru-RU" sz="8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R="4630"/>
            <a:r>
              <a:rPr lang="ru-RU" sz="800" dirty="0">
                <a:solidFill>
                  <a:srgbClr val="000000"/>
                </a:solidFill>
                <a:latin typeface="Calibri" panose="020F0502020204030204" pitchFamily="34" charset="0"/>
              </a:rPr>
              <a:t>В соответствии с Решением ЕЭК от 3марта2017г. №19 они должны быть разработаны, утверждены и вступить в силу </a:t>
            </a:r>
            <a:r>
              <a:rPr lang="ru-RU" sz="800" b="1" dirty="0">
                <a:solidFill>
                  <a:srgbClr val="000000"/>
                </a:solidFill>
                <a:latin typeface="Calibri" panose="020F0502020204030204" pitchFamily="34" charset="0"/>
              </a:rPr>
              <a:t>до 1декабря2018г</a:t>
            </a:r>
            <a:endParaRPr lang="ru-RU" sz="788" b="1" dirty="0">
              <a:solidFill>
                <a:srgbClr val="FF0000"/>
              </a:solidFill>
            </a:endParaRPr>
          </a:p>
        </p:txBody>
      </p:sp>
      <p:grpSp>
        <p:nvGrpSpPr>
          <p:cNvPr id="78" name="time_z">
            <a:extLst>
              <a:ext uri="{FF2B5EF4-FFF2-40B4-BE49-F238E27FC236}">
                <a16:creationId xmlns:a16="http://schemas.microsoft.com/office/drawing/2014/main" id="{1DABE55E-0B25-4D6B-9FA1-6AFA6BBA1E22}"/>
              </a:ext>
            </a:extLst>
          </p:cNvPr>
          <p:cNvGrpSpPr>
            <a:grpSpLocks noChangeAspect="1"/>
          </p:cNvGrpSpPr>
          <p:nvPr/>
        </p:nvGrpSpPr>
        <p:grpSpPr>
          <a:xfrm>
            <a:off x="709736" y="4951732"/>
            <a:ext cx="186485" cy="217325"/>
            <a:chOff x="3119438" y="5599113"/>
            <a:chExt cx="412750" cy="481012"/>
          </a:xfrm>
        </p:grpSpPr>
        <p:sp>
          <p:nvSpPr>
            <p:cNvPr id="79" name="Rectangle 183">
              <a:extLst>
                <a:ext uri="{FF2B5EF4-FFF2-40B4-BE49-F238E27FC236}">
                  <a16:creationId xmlns:a16="http://schemas.microsoft.com/office/drawing/2014/main" id="{A8E00E36-996B-4E55-9BB3-FFE1262AD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6763" y="5632450"/>
              <a:ext cx="36513" cy="53975"/>
            </a:xfrm>
            <a:prstGeom prst="rect">
              <a:avLst/>
            </a:pr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80" name="Freeform 184">
              <a:extLst>
                <a:ext uri="{FF2B5EF4-FFF2-40B4-BE49-F238E27FC236}">
                  <a16:creationId xmlns:a16="http://schemas.microsoft.com/office/drawing/2014/main" id="{92222C46-34F0-45E7-BA88-DE34EC831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6601" y="5603875"/>
              <a:ext cx="96838" cy="41275"/>
            </a:xfrm>
            <a:custGeom>
              <a:avLst/>
              <a:gdLst>
                <a:gd name="T0" fmla="*/ 213 w 242"/>
                <a:gd name="T1" fmla="*/ 105 h 105"/>
                <a:gd name="T2" fmla="*/ 30 w 242"/>
                <a:gd name="T3" fmla="*/ 105 h 105"/>
                <a:gd name="T4" fmla="*/ 24 w 242"/>
                <a:gd name="T5" fmla="*/ 105 h 105"/>
                <a:gd name="T6" fmla="*/ 19 w 242"/>
                <a:gd name="T7" fmla="*/ 102 h 105"/>
                <a:gd name="T8" fmla="*/ 14 w 242"/>
                <a:gd name="T9" fmla="*/ 100 h 105"/>
                <a:gd name="T10" fmla="*/ 9 w 242"/>
                <a:gd name="T11" fmla="*/ 96 h 105"/>
                <a:gd name="T12" fmla="*/ 5 w 242"/>
                <a:gd name="T13" fmla="*/ 92 h 105"/>
                <a:gd name="T14" fmla="*/ 3 w 242"/>
                <a:gd name="T15" fmla="*/ 87 h 105"/>
                <a:gd name="T16" fmla="*/ 1 w 242"/>
                <a:gd name="T17" fmla="*/ 81 h 105"/>
                <a:gd name="T18" fmla="*/ 0 w 242"/>
                <a:gd name="T19" fmla="*/ 75 h 105"/>
                <a:gd name="T20" fmla="*/ 0 w 242"/>
                <a:gd name="T21" fmla="*/ 29 h 105"/>
                <a:gd name="T22" fmla="*/ 1 w 242"/>
                <a:gd name="T23" fmla="*/ 23 h 105"/>
                <a:gd name="T24" fmla="*/ 3 w 242"/>
                <a:gd name="T25" fmla="*/ 18 h 105"/>
                <a:gd name="T26" fmla="*/ 5 w 242"/>
                <a:gd name="T27" fmla="*/ 13 h 105"/>
                <a:gd name="T28" fmla="*/ 9 w 242"/>
                <a:gd name="T29" fmla="*/ 8 h 105"/>
                <a:gd name="T30" fmla="*/ 14 w 242"/>
                <a:gd name="T31" fmla="*/ 5 h 105"/>
                <a:gd name="T32" fmla="*/ 19 w 242"/>
                <a:gd name="T33" fmla="*/ 2 h 105"/>
                <a:gd name="T34" fmla="*/ 24 w 242"/>
                <a:gd name="T35" fmla="*/ 1 h 105"/>
                <a:gd name="T36" fmla="*/ 30 w 242"/>
                <a:gd name="T37" fmla="*/ 0 h 105"/>
                <a:gd name="T38" fmla="*/ 213 w 242"/>
                <a:gd name="T39" fmla="*/ 0 h 105"/>
                <a:gd name="T40" fmla="*/ 219 w 242"/>
                <a:gd name="T41" fmla="*/ 1 h 105"/>
                <a:gd name="T42" fmla="*/ 224 w 242"/>
                <a:gd name="T43" fmla="*/ 2 h 105"/>
                <a:gd name="T44" fmla="*/ 229 w 242"/>
                <a:gd name="T45" fmla="*/ 5 h 105"/>
                <a:gd name="T46" fmla="*/ 234 w 242"/>
                <a:gd name="T47" fmla="*/ 8 h 105"/>
                <a:gd name="T48" fmla="*/ 237 w 242"/>
                <a:gd name="T49" fmla="*/ 13 h 105"/>
                <a:gd name="T50" fmla="*/ 240 w 242"/>
                <a:gd name="T51" fmla="*/ 18 h 105"/>
                <a:gd name="T52" fmla="*/ 241 w 242"/>
                <a:gd name="T53" fmla="*/ 23 h 105"/>
                <a:gd name="T54" fmla="*/ 242 w 242"/>
                <a:gd name="T55" fmla="*/ 29 h 105"/>
                <a:gd name="T56" fmla="*/ 242 w 242"/>
                <a:gd name="T57" fmla="*/ 75 h 105"/>
                <a:gd name="T58" fmla="*/ 241 w 242"/>
                <a:gd name="T59" fmla="*/ 81 h 105"/>
                <a:gd name="T60" fmla="*/ 240 w 242"/>
                <a:gd name="T61" fmla="*/ 87 h 105"/>
                <a:gd name="T62" fmla="*/ 237 w 242"/>
                <a:gd name="T63" fmla="*/ 92 h 105"/>
                <a:gd name="T64" fmla="*/ 234 w 242"/>
                <a:gd name="T65" fmla="*/ 96 h 105"/>
                <a:gd name="T66" fmla="*/ 229 w 242"/>
                <a:gd name="T67" fmla="*/ 100 h 105"/>
                <a:gd name="T68" fmla="*/ 224 w 242"/>
                <a:gd name="T69" fmla="*/ 102 h 105"/>
                <a:gd name="T70" fmla="*/ 219 w 242"/>
                <a:gd name="T71" fmla="*/ 105 h 105"/>
                <a:gd name="T72" fmla="*/ 213 w 242"/>
                <a:gd name="T7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2" h="105">
                  <a:moveTo>
                    <a:pt x="213" y="105"/>
                  </a:moveTo>
                  <a:lnTo>
                    <a:pt x="30" y="105"/>
                  </a:lnTo>
                  <a:lnTo>
                    <a:pt x="24" y="105"/>
                  </a:lnTo>
                  <a:lnTo>
                    <a:pt x="19" y="102"/>
                  </a:lnTo>
                  <a:lnTo>
                    <a:pt x="14" y="100"/>
                  </a:lnTo>
                  <a:lnTo>
                    <a:pt x="9" y="96"/>
                  </a:lnTo>
                  <a:lnTo>
                    <a:pt x="5" y="92"/>
                  </a:lnTo>
                  <a:lnTo>
                    <a:pt x="3" y="87"/>
                  </a:lnTo>
                  <a:lnTo>
                    <a:pt x="1" y="81"/>
                  </a:lnTo>
                  <a:lnTo>
                    <a:pt x="0" y="75"/>
                  </a:lnTo>
                  <a:lnTo>
                    <a:pt x="0" y="29"/>
                  </a:lnTo>
                  <a:lnTo>
                    <a:pt x="1" y="23"/>
                  </a:lnTo>
                  <a:lnTo>
                    <a:pt x="3" y="18"/>
                  </a:lnTo>
                  <a:lnTo>
                    <a:pt x="5" y="13"/>
                  </a:lnTo>
                  <a:lnTo>
                    <a:pt x="9" y="8"/>
                  </a:lnTo>
                  <a:lnTo>
                    <a:pt x="14" y="5"/>
                  </a:lnTo>
                  <a:lnTo>
                    <a:pt x="19" y="2"/>
                  </a:lnTo>
                  <a:lnTo>
                    <a:pt x="24" y="1"/>
                  </a:lnTo>
                  <a:lnTo>
                    <a:pt x="30" y="0"/>
                  </a:lnTo>
                  <a:lnTo>
                    <a:pt x="213" y="0"/>
                  </a:lnTo>
                  <a:lnTo>
                    <a:pt x="219" y="1"/>
                  </a:lnTo>
                  <a:lnTo>
                    <a:pt x="224" y="2"/>
                  </a:lnTo>
                  <a:lnTo>
                    <a:pt x="229" y="5"/>
                  </a:lnTo>
                  <a:lnTo>
                    <a:pt x="234" y="8"/>
                  </a:lnTo>
                  <a:lnTo>
                    <a:pt x="237" y="13"/>
                  </a:lnTo>
                  <a:lnTo>
                    <a:pt x="240" y="18"/>
                  </a:lnTo>
                  <a:lnTo>
                    <a:pt x="241" y="23"/>
                  </a:lnTo>
                  <a:lnTo>
                    <a:pt x="242" y="29"/>
                  </a:lnTo>
                  <a:lnTo>
                    <a:pt x="242" y="75"/>
                  </a:lnTo>
                  <a:lnTo>
                    <a:pt x="241" y="81"/>
                  </a:lnTo>
                  <a:lnTo>
                    <a:pt x="240" y="87"/>
                  </a:lnTo>
                  <a:lnTo>
                    <a:pt x="237" y="92"/>
                  </a:lnTo>
                  <a:lnTo>
                    <a:pt x="234" y="96"/>
                  </a:lnTo>
                  <a:lnTo>
                    <a:pt x="229" y="100"/>
                  </a:lnTo>
                  <a:lnTo>
                    <a:pt x="224" y="102"/>
                  </a:lnTo>
                  <a:lnTo>
                    <a:pt x="219" y="105"/>
                  </a:lnTo>
                  <a:lnTo>
                    <a:pt x="213" y="105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81" name="Freeform 185">
              <a:extLst>
                <a:ext uri="{FF2B5EF4-FFF2-40B4-BE49-F238E27FC236}">
                  <a16:creationId xmlns:a16="http://schemas.microsoft.com/office/drawing/2014/main" id="{28827DCF-4FDE-4207-B656-42A9DFD99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4201" y="5672138"/>
              <a:ext cx="401638" cy="403225"/>
            </a:xfrm>
            <a:custGeom>
              <a:avLst/>
              <a:gdLst>
                <a:gd name="T0" fmla="*/ 1013 w 1016"/>
                <a:gd name="T1" fmla="*/ 560 h 1016"/>
                <a:gd name="T2" fmla="*/ 1000 w 1016"/>
                <a:gd name="T3" fmla="*/ 635 h 1016"/>
                <a:gd name="T4" fmla="*/ 976 w 1016"/>
                <a:gd name="T5" fmla="*/ 706 h 1016"/>
                <a:gd name="T6" fmla="*/ 942 w 1016"/>
                <a:gd name="T7" fmla="*/ 771 h 1016"/>
                <a:gd name="T8" fmla="*/ 900 w 1016"/>
                <a:gd name="T9" fmla="*/ 832 h 1016"/>
                <a:gd name="T10" fmla="*/ 849 w 1016"/>
                <a:gd name="T11" fmla="*/ 884 h 1016"/>
                <a:gd name="T12" fmla="*/ 792 w 1016"/>
                <a:gd name="T13" fmla="*/ 929 h 1016"/>
                <a:gd name="T14" fmla="*/ 728 w 1016"/>
                <a:gd name="T15" fmla="*/ 966 h 1016"/>
                <a:gd name="T16" fmla="*/ 659 w 1016"/>
                <a:gd name="T17" fmla="*/ 993 h 1016"/>
                <a:gd name="T18" fmla="*/ 586 w 1016"/>
                <a:gd name="T19" fmla="*/ 1009 h 1016"/>
                <a:gd name="T20" fmla="*/ 508 w 1016"/>
                <a:gd name="T21" fmla="*/ 1016 h 1016"/>
                <a:gd name="T22" fmla="*/ 432 w 1016"/>
                <a:gd name="T23" fmla="*/ 1009 h 1016"/>
                <a:gd name="T24" fmla="*/ 357 w 1016"/>
                <a:gd name="T25" fmla="*/ 993 h 1016"/>
                <a:gd name="T26" fmla="*/ 288 w 1016"/>
                <a:gd name="T27" fmla="*/ 966 h 1016"/>
                <a:gd name="T28" fmla="*/ 224 w 1016"/>
                <a:gd name="T29" fmla="*/ 929 h 1016"/>
                <a:gd name="T30" fmla="*/ 167 w 1016"/>
                <a:gd name="T31" fmla="*/ 884 h 1016"/>
                <a:gd name="T32" fmla="*/ 116 w 1016"/>
                <a:gd name="T33" fmla="*/ 832 h 1016"/>
                <a:gd name="T34" fmla="*/ 74 w 1016"/>
                <a:gd name="T35" fmla="*/ 771 h 1016"/>
                <a:gd name="T36" fmla="*/ 41 w 1016"/>
                <a:gd name="T37" fmla="*/ 706 h 1016"/>
                <a:gd name="T38" fmla="*/ 16 w 1016"/>
                <a:gd name="T39" fmla="*/ 635 h 1016"/>
                <a:gd name="T40" fmla="*/ 3 w 1016"/>
                <a:gd name="T41" fmla="*/ 560 h 1016"/>
                <a:gd name="T42" fmla="*/ 2 w 1016"/>
                <a:gd name="T43" fmla="*/ 482 h 1016"/>
                <a:gd name="T44" fmla="*/ 11 w 1016"/>
                <a:gd name="T45" fmla="*/ 407 h 1016"/>
                <a:gd name="T46" fmla="*/ 31 w 1016"/>
                <a:gd name="T47" fmla="*/ 334 h 1016"/>
                <a:gd name="T48" fmla="*/ 62 w 1016"/>
                <a:gd name="T49" fmla="*/ 266 h 1016"/>
                <a:gd name="T50" fmla="*/ 102 w 1016"/>
                <a:gd name="T51" fmla="*/ 204 h 1016"/>
                <a:gd name="T52" fmla="*/ 150 w 1016"/>
                <a:gd name="T53" fmla="*/ 150 h 1016"/>
                <a:gd name="T54" fmla="*/ 204 w 1016"/>
                <a:gd name="T55" fmla="*/ 102 h 1016"/>
                <a:gd name="T56" fmla="*/ 266 w 1016"/>
                <a:gd name="T57" fmla="*/ 62 h 1016"/>
                <a:gd name="T58" fmla="*/ 334 w 1016"/>
                <a:gd name="T59" fmla="*/ 31 h 1016"/>
                <a:gd name="T60" fmla="*/ 406 w 1016"/>
                <a:gd name="T61" fmla="*/ 12 h 1016"/>
                <a:gd name="T62" fmla="*/ 482 w 1016"/>
                <a:gd name="T63" fmla="*/ 2 h 1016"/>
                <a:gd name="T64" fmla="*/ 560 w 1016"/>
                <a:gd name="T65" fmla="*/ 4 h 1016"/>
                <a:gd name="T66" fmla="*/ 635 w 1016"/>
                <a:gd name="T67" fmla="*/ 17 h 1016"/>
                <a:gd name="T68" fmla="*/ 706 w 1016"/>
                <a:gd name="T69" fmla="*/ 41 h 1016"/>
                <a:gd name="T70" fmla="*/ 771 w 1016"/>
                <a:gd name="T71" fmla="*/ 75 h 1016"/>
                <a:gd name="T72" fmla="*/ 831 w 1016"/>
                <a:gd name="T73" fmla="*/ 117 h 1016"/>
                <a:gd name="T74" fmla="*/ 884 w 1016"/>
                <a:gd name="T75" fmla="*/ 167 h 1016"/>
                <a:gd name="T76" fmla="*/ 929 w 1016"/>
                <a:gd name="T77" fmla="*/ 225 h 1016"/>
                <a:gd name="T78" fmla="*/ 965 w 1016"/>
                <a:gd name="T79" fmla="*/ 288 h 1016"/>
                <a:gd name="T80" fmla="*/ 992 w 1016"/>
                <a:gd name="T81" fmla="*/ 357 h 1016"/>
                <a:gd name="T82" fmla="*/ 1010 w 1016"/>
                <a:gd name="T83" fmla="*/ 432 h 1016"/>
                <a:gd name="T84" fmla="*/ 1016 w 1016"/>
                <a:gd name="T85" fmla="*/ 508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16" h="1016">
                  <a:moveTo>
                    <a:pt x="1016" y="508"/>
                  </a:moveTo>
                  <a:lnTo>
                    <a:pt x="1015" y="534"/>
                  </a:lnTo>
                  <a:lnTo>
                    <a:pt x="1013" y="560"/>
                  </a:lnTo>
                  <a:lnTo>
                    <a:pt x="1010" y="586"/>
                  </a:lnTo>
                  <a:lnTo>
                    <a:pt x="1006" y="611"/>
                  </a:lnTo>
                  <a:lnTo>
                    <a:pt x="1000" y="635"/>
                  </a:lnTo>
                  <a:lnTo>
                    <a:pt x="992" y="659"/>
                  </a:lnTo>
                  <a:lnTo>
                    <a:pt x="985" y="683"/>
                  </a:lnTo>
                  <a:lnTo>
                    <a:pt x="976" y="706"/>
                  </a:lnTo>
                  <a:lnTo>
                    <a:pt x="965" y="728"/>
                  </a:lnTo>
                  <a:lnTo>
                    <a:pt x="954" y="750"/>
                  </a:lnTo>
                  <a:lnTo>
                    <a:pt x="942" y="771"/>
                  </a:lnTo>
                  <a:lnTo>
                    <a:pt x="929" y="792"/>
                  </a:lnTo>
                  <a:lnTo>
                    <a:pt x="915" y="812"/>
                  </a:lnTo>
                  <a:lnTo>
                    <a:pt x="900" y="832"/>
                  </a:lnTo>
                  <a:lnTo>
                    <a:pt x="884" y="850"/>
                  </a:lnTo>
                  <a:lnTo>
                    <a:pt x="868" y="867"/>
                  </a:lnTo>
                  <a:lnTo>
                    <a:pt x="849" y="884"/>
                  </a:lnTo>
                  <a:lnTo>
                    <a:pt x="831" y="900"/>
                  </a:lnTo>
                  <a:lnTo>
                    <a:pt x="812" y="916"/>
                  </a:lnTo>
                  <a:lnTo>
                    <a:pt x="792" y="929"/>
                  </a:lnTo>
                  <a:lnTo>
                    <a:pt x="771" y="943"/>
                  </a:lnTo>
                  <a:lnTo>
                    <a:pt x="750" y="955"/>
                  </a:lnTo>
                  <a:lnTo>
                    <a:pt x="728" y="966"/>
                  </a:lnTo>
                  <a:lnTo>
                    <a:pt x="706" y="976"/>
                  </a:lnTo>
                  <a:lnTo>
                    <a:pt x="682" y="985"/>
                  </a:lnTo>
                  <a:lnTo>
                    <a:pt x="659" y="993"/>
                  </a:lnTo>
                  <a:lnTo>
                    <a:pt x="635" y="1000"/>
                  </a:lnTo>
                  <a:lnTo>
                    <a:pt x="611" y="1006"/>
                  </a:lnTo>
                  <a:lnTo>
                    <a:pt x="586" y="1009"/>
                  </a:lnTo>
                  <a:lnTo>
                    <a:pt x="560" y="1013"/>
                  </a:lnTo>
                  <a:lnTo>
                    <a:pt x="534" y="1016"/>
                  </a:lnTo>
                  <a:lnTo>
                    <a:pt x="508" y="1016"/>
                  </a:lnTo>
                  <a:lnTo>
                    <a:pt x="482" y="1016"/>
                  </a:lnTo>
                  <a:lnTo>
                    <a:pt x="456" y="1013"/>
                  </a:lnTo>
                  <a:lnTo>
                    <a:pt x="432" y="1009"/>
                  </a:lnTo>
                  <a:lnTo>
                    <a:pt x="406" y="1006"/>
                  </a:lnTo>
                  <a:lnTo>
                    <a:pt x="381" y="1000"/>
                  </a:lnTo>
                  <a:lnTo>
                    <a:pt x="357" y="993"/>
                  </a:lnTo>
                  <a:lnTo>
                    <a:pt x="334" y="985"/>
                  </a:lnTo>
                  <a:lnTo>
                    <a:pt x="310" y="976"/>
                  </a:lnTo>
                  <a:lnTo>
                    <a:pt x="288" y="966"/>
                  </a:lnTo>
                  <a:lnTo>
                    <a:pt x="266" y="955"/>
                  </a:lnTo>
                  <a:lnTo>
                    <a:pt x="245" y="943"/>
                  </a:lnTo>
                  <a:lnTo>
                    <a:pt x="224" y="929"/>
                  </a:lnTo>
                  <a:lnTo>
                    <a:pt x="204" y="916"/>
                  </a:lnTo>
                  <a:lnTo>
                    <a:pt x="186" y="900"/>
                  </a:lnTo>
                  <a:lnTo>
                    <a:pt x="167" y="884"/>
                  </a:lnTo>
                  <a:lnTo>
                    <a:pt x="150" y="867"/>
                  </a:lnTo>
                  <a:lnTo>
                    <a:pt x="133" y="850"/>
                  </a:lnTo>
                  <a:lnTo>
                    <a:pt x="116" y="832"/>
                  </a:lnTo>
                  <a:lnTo>
                    <a:pt x="102" y="812"/>
                  </a:lnTo>
                  <a:lnTo>
                    <a:pt x="87" y="792"/>
                  </a:lnTo>
                  <a:lnTo>
                    <a:pt x="74" y="771"/>
                  </a:lnTo>
                  <a:lnTo>
                    <a:pt x="62" y="750"/>
                  </a:lnTo>
                  <a:lnTo>
                    <a:pt x="51" y="728"/>
                  </a:lnTo>
                  <a:lnTo>
                    <a:pt x="41" y="706"/>
                  </a:lnTo>
                  <a:lnTo>
                    <a:pt x="31" y="683"/>
                  </a:lnTo>
                  <a:lnTo>
                    <a:pt x="24" y="659"/>
                  </a:lnTo>
                  <a:lnTo>
                    <a:pt x="16" y="635"/>
                  </a:lnTo>
                  <a:lnTo>
                    <a:pt x="11" y="611"/>
                  </a:lnTo>
                  <a:lnTo>
                    <a:pt x="7" y="586"/>
                  </a:lnTo>
                  <a:lnTo>
                    <a:pt x="3" y="560"/>
                  </a:lnTo>
                  <a:lnTo>
                    <a:pt x="2" y="534"/>
                  </a:lnTo>
                  <a:lnTo>
                    <a:pt x="0" y="508"/>
                  </a:lnTo>
                  <a:lnTo>
                    <a:pt x="2" y="482"/>
                  </a:lnTo>
                  <a:lnTo>
                    <a:pt x="3" y="456"/>
                  </a:lnTo>
                  <a:lnTo>
                    <a:pt x="7" y="432"/>
                  </a:lnTo>
                  <a:lnTo>
                    <a:pt x="11" y="407"/>
                  </a:lnTo>
                  <a:lnTo>
                    <a:pt x="16" y="382"/>
                  </a:lnTo>
                  <a:lnTo>
                    <a:pt x="24" y="357"/>
                  </a:lnTo>
                  <a:lnTo>
                    <a:pt x="31" y="334"/>
                  </a:lnTo>
                  <a:lnTo>
                    <a:pt x="41" y="310"/>
                  </a:lnTo>
                  <a:lnTo>
                    <a:pt x="51" y="288"/>
                  </a:lnTo>
                  <a:lnTo>
                    <a:pt x="62" y="266"/>
                  </a:lnTo>
                  <a:lnTo>
                    <a:pt x="74" y="245"/>
                  </a:lnTo>
                  <a:lnTo>
                    <a:pt x="87" y="225"/>
                  </a:lnTo>
                  <a:lnTo>
                    <a:pt x="102" y="204"/>
                  </a:lnTo>
                  <a:lnTo>
                    <a:pt x="116" y="186"/>
                  </a:lnTo>
                  <a:lnTo>
                    <a:pt x="133" y="167"/>
                  </a:lnTo>
                  <a:lnTo>
                    <a:pt x="150" y="150"/>
                  </a:lnTo>
                  <a:lnTo>
                    <a:pt x="167" y="133"/>
                  </a:lnTo>
                  <a:lnTo>
                    <a:pt x="186" y="117"/>
                  </a:lnTo>
                  <a:lnTo>
                    <a:pt x="204" y="102"/>
                  </a:lnTo>
                  <a:lnTo>
                    <a:pt x="224" y="88"/>
                  </a:lnTo>
                  <a:lnTo>
                    <a:pt x="245" y="75"/>
                  </a:lnTo>
                  <a:lnTo>
                    <a:pt x="266" y="62"/>
                  </a:lnTo>
                  <a:lnTo>
                    <a:pt x="288" y="51"/>
                  </a:lnTo>
                  <a:lnTo>
                    <a:pt x="310" y="41"/>
                  </a:lnTo>
                  <a:lnTo>
                    <a:pt x="334" y="31"/>
                  </a:lnTo>
                  <a:lnTo>
                    <a:pt x="357" y="24"/>
                  </a:lnTo>
                  <a:lnTo>
                    <a:pt x="381" y="17"/>
                  </a:lnTo>
                  <a:lnTo>
                    <a:pt x="406" y="12"/>
                  </a:lnTo>
                  <a:lnTo>
                    <a:pt x="432" y="7"/>
                  </a:lnTo>
                  <a:lnTo>
                    <a:pt x="456" y="4"/>
                  </a:lnTo>
                  <a:lnTo>
                    <a:pt x="482" y="2"/>
                  </a:lnTo>
                  <a:lnTo>
                    <a:pt x="508" y="0"/>
                  </a:lnTo>
                  <a:lnTo>
                    <a:pt x="534" y="2"/>
                  </a:lnTo>
                  <a:lnTo>
                    <a:pt x="560" y="4"/>
                  </a:lnTo>
                  <a:lnTo>
                    <a:pt x="586" y="7"/>
                  </a:lnTo>
                  <a:lnTo>
                    <a:pt x="611" y="12"/>
                  </a:lnTo>
                  <a:lnTo>
                    <a:pt x="635" y="17"/>
                  </a:lnTo>
                  <a:lnTo>
                    <a:pt x="659" y="24"/>
                  </a:lnTo>
                  <a:lnTo>
                    <a:pt x="682" y="31"/>
                  </a:lnTo>
                  <a:lnTo>
                    <a:pt x="706" y="41"/>
                  </a:lnTo>
                  <a:lnTo>
                    <a:pt x="728" y="51"/>
                  </a:lnTo>
                  <a:lnTo>
                    <a:pt x="750" y="62"/>
                  </a:lnTo>
                  <a:lnTo>
                    <a:pt x="771" y="75"/>
                  </a:lnTo>
                  <a:lnTo>
                    <a:pt x="792" y="88"/>
                  </a:lnTo>
                  <a:lnTo>
                    <a:pt x="812" y="102"/>
                  </a:lnTo>
                  <a:lnTo>
                    <a:pt x="831" y="117"/>
                  </a:lnTo>
                  <a:lnTo>
                    <a:pt x="849" y="133"/>
                  </a:lnTo>
                  <a:lnTo>
                    <a:pt x="868" y="150"/>
                  </a:lnTo>
                  <a:lnTo>
                    <a:pt x="884" y="167"/>
                  </a:lnTo>
                  <a:lnTo>
                    <a:pt x="900" y="186"/>
                  </a:lnTo>
                  <a:lnTo>
                    <a:pt x="915" y="204"/>
                  </a:lnTo>
                  <a:lnTo>
                    <a:pt x="929" y="225"/>
                  </a:lnTo>
                  <a:lnTo>
                    <a:pt x="942" y="245"/>
                  </a:lnTo>
                  <a:lnTo>
                    <a:pt x="954" y="266"/>
                  </a:lnTo>
                  <a:lnTo>
                    <a:pt x="965" y="288"/>
                  </a:lnTo>
                  <a:lnTo>
                    <a:pt x="976" y="310"/>
                  </a:lnTo>
                  <a:lnTo>
                    <a:pt x="985" y="334"/>
                  </a:lnTo>
                  <a:lnTo>
                    <a:pt x="992" y="357"/>
                  </a:lnTo>
                  <a:lnTo>
                    <a:pt x="1000" y="382"/>
                  </a:lnTo>
                  <a:lnTo>
                    <a:pt x="1006" y="407"/>
                  </a:lnTo>
                  <a:lnTo>
                    <a:pt x="1010" y="432"/>
                  </a:lnTo>
                  <a:lnTo>
                    <a:pt x="1013" y="456"/>
                  </a:lnTo>
                  <a:lnTo>
                    <a:pt x="1015" y="482"/>
                  </a:lnTo>
                  <a:lnTo>
                    <a:pt x="1016" y="508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82" name="Freeform 186">
              <a:extLst>
                <a:ext uri="{FF2B5EF4-FFF2-40B4-BE49-F238E27FC236}">
                  <a16:creationId xmlns:a16="http://schemas.microsoft.com/office/drawing/2014/main" id="{107F3698-942A-4EC9-BDE9-B88BC11A3F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9438" y="5667375"/>
              <a:ext cx="412750" cy="412750"/>
            </a:xfrm>
            <a:custGeom>
              <a:avLst/>
              <a:gdLst>
                <a:gd name="T0" fmla="*/ 419 w 1039"/>
                <a:gd name="T1" fmla="*/ 35 h 1039"/>
                <a:gd name="T2" fmla="*/ 304 w 1039"/>
                <a:gd name="T3" fmla="*/ 73 h 1039"/>
                <a:gd name="T4" fmla="*/ 204 w 1039"/>
                <a:gd name="T5" fmla="*/ 137 h 1039"/>
                <a:gd name="T6" fmla="*/ 123 w 1039"/>
                <a:gd name="T7" fmla="*/ 224 h 1039"/>
                <a:gd name="T8" fmla="*/ 63 w 1039"/>
                <a:gd name="T9" fmla="*/ 326 h 1039"/>
                <a:gd name="T10" fmla="*/ 30 w 1039"/>
                <a:gd name="T11" fmla="*/ 444 h 1039"/>
                <a:gd name="T12" fmla="*/ 26 w 1039"/>
                <a:gd name="T13" fmla="*/ 570 h 1039"/>
                <a:gd name="T14" fmla="*/ 53 w 1039"/>
                <a:gd name="T15" fmla="*/ 690 h 1039"/>
                <a:gd name="T16" fmla="*/ 109 w 1039"/>
                <a:gd name="T17" fmla="*/ 796 h 1039"/>
                <a:gd name="T18" fmla="*/ 187 w 1039"/>
                <a:gd name="T19" fmla="*/ 886 h 1039"/>
                <a:gd name="T20" fmla="*/ 283 w 1039"/>
                <a:gd name="T21" fmla="*/ 955 h 1039"/>
                <a:gd name="T22" fmla="*/ 396 w 1039"/>
                <a:gd name="T23" fmla="*/ 999 h 1039"/>
                <a:gd name="T24" fmla="*/ 519 w 1039"/>
                <a:gd name="T25" fmla="*/ 1016 h 1039"/>
                <a:gd name="T26" fmla="*/ 643 w 1039"/>
                <a:gd name="T27" fmla="*/ 999 h 1039"/>
                <a:gd name="T28" fmla="*/ 755 w 1039"/>
                <a:gd name="T29" fmla="*/ 955 h 1039"/>
                <a:gd name="T30" fmla="*/ 853 w 1039"/>
                <a:gd name="T31" fmla="*/ 886 h 1039"/>
                <a:gd name="T32" fmla="*/ 931 w 1039"/>
                <a:gd name="T33" fmla="*/ 796 h 1039"/>
                <a:gd name="T34" fmla="*/ 985 w 1039"/>
                <a:gd name="T35" fmla="*/ 690 h 1039"/>
                <a:gd name="T36" fmla="*/ 1012 w 1039"/>
                <a:gd name="T37" fmla="*/ 570 h 1039"/>
                <a:gd name="T38" fmla="*/ 1010 w 1039"/>
                <a:gd name="T39" fmla="*/ 444 h 1039"/>
                <a:gd name="T40" fmla="*/ 976 w 1039"/>
                <a:gd name="T41" fmla="*/ 326 h 1039"/>
                <a:gd name="T42" fmla="*/ 916 w 1039"/>
                <a:gd name="T43" fmla="*/ 224 h 1039"/>
                <a:gd name="T44" fmla="*/ 834 w 1039"/>
                <a:gd name="T45" fmla="*/ 137 h 1039"/>
                <a:gd name="T46" fmla="*/ 734 w 1039"/>
                <a:gd name="T47" fmla="*/ 73 h 1039"/>
                <a:gd name="T48" fmla="*/ 619 w 1039"/>
                <a:gd name="T49" fmla="*/ 35 h 1039"/>
                <a:gd name="T50" fmla="*/ 519 w 1039"/>
                <a:gd name="T51" fmla="*/ 1039 h 1039"/>
                <a:gd name="T52" fmla="*/ 389 w 1039"/>
                <a:gd name="T53" fmla="*/ 1023 h 1039"/>
                <a:gd name="T54" fmla="*/ 272 w 1039"/>
                <a:gd name="T55" fmla="*/ 976 h 1039"/>
                <a:gd name="T56" fmla="*/ 169 w 1039"/>
                <a:gd name="T57" fmla="*/ 904 h 1039"/>
                <a:gd name="T58" fmla="*/ 89 w 1039"/>
                <a:gd name="T59" fmla="*/ 809 h 1039"/>
                <a:gd name="T60" fmla="*/ 31 w 1039"/>
                <a:gd name="T61" fmla="*/ 698 h 1039"/>
                <a:gd name="T62" fmla="*/ 3 w 1039"/>
                <a:gd name="T63" fmla="*/ 572 h 1039"/>
                <a:gd name="T64" fmla="*/ 5 w 1039"/>
                <a:gd name="T65" fmla="*/ 440 h 1039"/>
                <a:gd name="T66" fmla="*/ 41 w 1039"/>
                <a:gd name="T67" fmla="*/ 318 h 1039"/>
                <a:gd name="T68" fmla="*/ 103 w 1039"/>
                <a:gd name="T69" fmla="*/ 209 h 1039"/>
                <a:gd name="T70" fmla="*/ 189 w 1039"/>
                <a:gd name="T71" fmla="*/ 119 h 1039"/>
                <a:gd name="T72" fmla="*/ 294 w 1039"/>
                <a:gd name="T73" fmla="*/ 51 h 1039"/>
                <a:gd name="T74" fmla="*/ 414 w 1039"/>
                <a:gd name="T75" fmla="*/ 10 h 1039"/>
                <a:gd name="T76" fmla="*/ 546 w 1039"/>
                <a:gd name="T77" fmla="*/ 0 h 1039"/>
                <a:gd name="T78" fmla="*/ 674 w 1039"/>
                <a:gd name="T79" fmla="*/ 24 h 1039"/>
                <a:gd name="T80" fmla="*/ 788 w 1039"/>
                <a:gd name="T81" fmla="*/ 76 h 1039"/>
                <a:gd name="T82" fmla="*/ 886 w 1039"/>
                <a:gd name="T83" fmla="*/ 152 h 1039"/>
                <a:gd name="T84" fmla="*/ 964 w 1039"/>
                <a:gd name="T85" fmla="*/ 250 h 1039"/>
                <a:gd name="T86" fmla="*/ 1016 w 1039"/>
                <a:gd name="T87" fmla="*/ 365 h 1039"/>
                <a:gd name="T88" fmla="*/ 1038 w 1039"/>
                <a:gd name="T89" fmla="*/ 493 h 1039"/>
                <a:gd name="T90" fmla="*/ 1028 w 1039"/>
                <a:gd name="T91" fmla="*/ 624 h 1039"/>
                <a:gd name="T92" fmla="*/ 987 w 1039"/>
                <a:gd name="T93" fmla="*/ 745 h 1039"/>
                <a:gd name="T94" fmla="*/ 919 w 1039"/>
                <a:gd name="T95" fmla="*/ 850 h 1039"/>
                <a:gd name="T96" fmla="*/ 830 w 1039"/>
                <a:gd name="T97" fmla="*/ 935 h 1039"/>
                <a:gd name="T98" fmla="*/ 722 w 1039"/>
                <a:gd name="T99" fmla="*/ 998 h 1039"/>
                <a:gd name="T100" fmla="*/ 598 w 1039"/>
                <a:gd name="T101" fmla="*/ 1033 h 1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39" h="1039">
                  <a:moveTo>
                    <a:pt x="519" y="24"/>
                  </a:moveTo>
                  <a:lnTo>
                    <a:pt x="493" y="25"/>
                  </a:lnTo>
                  <a:lnTo>
                    <a:pt x="468" y="26"/>
                  </a:lnTo>
                  <a:lnTo>
                    <a:pt x="444" y="30"/>
                  </a:lnTo>
                  <a:lnTo>
                    <a:pt x="419" y="35"/>
                  </a:lnTo>
                  <a:lnTo>
                    <a:pt x="396" y="40"/>
                  </a:lnTo>
                  <a:lnTo>
                    <a:pt x="372" y="46"/>
                  </a:lnTo>
                  <a:lnTo>
                    <a:pt x="349" y="55"/>
                  </a:lnTo>
                  <a:lnTo>
                    <a:pt x="326" y="63"/>
                  </a:lnTo>
                  <a:lnTo>
                    <a:pt x="304" y="73"/>
                  </a:lnTo>
                  <a:lnTo>
                    <a:pt x="283" y="84"/>
                  </a:lnTo>
                  <a:lnTo>
                    <a:pt x="262" y="95"/>
                  </a:lnTo>
                  <a:lnTo>
                    <a:pt x="242" y="109"/>
                  </a:lnTo>
                  <a:lnTo>
                    <a:pt x="223" y="123"/>
                  </a:lnTo>
                  <a:lnTo>
                    <a:pt x="204" y="137"/>
                  </a:lnTo>
                  <a:lnTo>
                    <a:pt x="187" y="154"/>
                  </a:lnTo>
                  <a:lnTo>
                    <a:pt x="169" y="170"/>
                  </a:lnTo>
                  <a:lnTo>
                    <a:pt x="152" y="187"/>
                  </a:lnTo>
                  <a:lnTo>
                    <a:pt x="137" y="204"/>
                  </a:lnTo>
                  <a:lnTo>
                    <a:pt x="123" y="224"/>
                  </a:lnTo>
                  <a:lnTo>
                    <a:pt x="109" y="242"/>
                  </a:lnTo>
                  <a:lnTo>
                    <a:pt x="95" y="262"/>
                  </a:lnTo>
                  <a:lnTo>
                    <a:pt x="84" y="283"/>
                  </a:lnTo>
                  <a:lnTo>
                    <a:pt x="73" y="305"/>
                  </a:lnTo>
                  <a:lnTo>
                    <a:pt x="63" y="326"/>
                  </a:lnTo>
                  <a:lnTo>
                    <a:pt x="53" y="350"/>
                  </a:lnTo>
                  <a:lnTo>
                    <a:pt x="46" y="372"/>
                  </a:lnTo>
                  <a:lnTo>
                    <a:pt x="40" y="396"/>
                  </a:lnTo>
                  <a:lnTo>
                    <a:pt x="34" y="420"/>
                  </a:lnTo>
                  <a:lnTo>
                    <a:pt x="30" y="444"/>
                  </a:lnTo>
                  <a:lnTo>
                    <a:pt x="26" y="468"/>
                  </a:lnTo>
                  <a:lnTo>
                    <a:pt x="25" y="494"/>
                  </a:lnTo>
                  <a:lnTo>
                    <a:pt x="24" y="519"/>
                  </a:lnTo>
                  <a:lnTo>
                    <a:pt x="25" y="545"/>
                  </a:lnTo>
                  <a:lnTo>
                    <a:pt x="26" y="570"/>
                  </a:lnTo>
                  <a:lnTo>
                    <a:pt x="30" y="594"/>
                  </a:lnTo>
                  <a:lnTo>
                    <a:pt x="34" y="619"/>
                  </a:lnTo>
                  <a:lnTo>
                    <a:pt x="40" y="643"/>
                  </a:lnTo>
                  <a:lnTo>
                    <a:pt x="46" y="667"/>
                  </a:lnTo>
                  <a:lnTo>
                    <a:pt x="53" y="690"/>
                  </a:lnTo>
                  <a:lnTo>
                    <a:pt x="63" y="712"/>
                  </a:lnTo>
                  <a:lnTo>
                    <a:pt x="73" y="734"/>
                  </a:lnTo>
                  <a:lnTo>
                    <a:pt x="84" y="755"/>
                  </a:lnTo>
                  <a:lnTo>
                    <a:pt x="95" y="776"/>
                  </a:lnTo>
                  <a:lnTo>
                    <a:pt x="109" y="796"/>
                  </a:lnTo>
                  <a:lnTo>
                    <a:pt x="123" y="815"/>
                  </a:lnTo>
                  <a:lnTo>
                    <a:pt x="137" y="834"/>
                  </a:lnTo>
                  <a:lnTo>
                    <a:pt x="152" y="853"/>
                  </a:lnTo>
                  <a:lnTo>
                    <a:pt x="169" y="870"/>
                  </a:lnTo>
                  <a:lnTo>
                    <a:pt x="187" y="886"/>
                  </a:lnTo>
                  <a:lnTo>
                    <a:pt x="204" y="902"/>
                  </a:lnTo>
                  <a:lnTo>
                    <a:pt x="223" y="917"/>
                  </a:lnTo>
                  <a:lnTo>
                    <a:pt x="242" y="930"/>
                  </a:lnTo>
                  <a:lnTo>
                    <a:pt x="262" y="943"/>
                  </a:lnTo>
                  <a:lnTo>
                    <a:pt x="283" y="955"/>
                  </a:lnTo>
                  <a:lnTo>
                    <a:pt x="304" y="966"/>
                  </a:lnTo>
                  <a:lnTo>
                    <a:pt x="326" y="976"/>
                  </a:lnTo>
                  <a:lnTo>
                    <a:pt x="349" y="985"/>
                  </a:lnTo>
                  <a:lnTo>
                    <a:pt x="372" y="992"/>
                  </a:lnTo>
                  <a:lnTo>
                    <a:pt x="396" y="999"/>
                  </a:lnTo>
                  <a:lnTo>
                    <a:pt x="419" y="1004"/>
                  </a:lnTo>
                  <a:lnTo>
                    <a:pt x="444" y="1009"/>
                  </a:lnTo>
                  <a:lnTo>
                    <a:pt x="468" y="1012"/>
                  </a:lnTo>
                  <a:lnTo>
                    <a:pt x="493" y="1014"/>
                  </a:lnTo>
                  <a:lnTo>
                    <a:pt x="519" y="1016"/>
                  </a:lnTo>
                  <a:lnTo>
                    <a:pt x="545" y="1014"/>
                  </a:lnTo>
                  <a:lnTo>
                    <a:pt x="570" y="1012"/>
                  </a:lnTo>
                  <a:lnTo>
                    <a:pt x="594" y="1009"/>
                  </a:lnTo>
                  <a:lnTo>
                    <a:pt x="619" y="1004"/>
                  </a:lnTo>
                  <a:lnTo>
                    <a:pt x="643" y="999"/>
                  </a:lnTo>
                  <a:lnTo>
                    <a:pt x="666" y="992"/>
                  </a:lnTo>
                  <a:lnTo>
                    <a:pt x="690" y="985"/>
                  </a:lnTo>
                  <a:lnTo>
                    <a:pt x="712" y="976"/>
                  </a:lnTo>
                  <a:lnTo>
                    <a:pt x="734" y="966"/>
                  </a:lnTo>
                  <a:lnTo>
                    <a:pt x="755" y="955"/>
                  </a:lnTo>
                  <a:lnTo>
                    <a:pt x="776" y="943"/>
                  </a:lnTo>
                  <a:lnTo>
                    <a:pt x="796" y="930"/>
                  </a:lnTo>
                  <a:lnTo>
                    <a:pt x="816" y="917"/>
                  </a:lnTo>
                  <a:lnTo>
                    <a:pt x="834" y="902"/>
                  </a:lnTo>
                  <a:lnTo>
                    <a:pt x="853" y="886"/>
                  </a:lnTo>
                  <a:lnTo>
                    <a:pt x="870" y="870"/>
                  </a:lnTo>
                  <a:lnTo>
                    <a:pt x="886" y="853"/>
                  </a:lnTo>
                  <a:lnTo>
                    <a:pt x="901" y="834"/>
                  </a:lnTo>
                  <a:lnTo>
                    <a:pt x="916" y="815"/>
                  </a:lnTo>
                  <a:lnTo>
                    <a:pt x="931" y="796"/>
                  </a:lnTo>
                  <a:lnTo>
                    <a:pt x="943" y="776"/>
                  </a:lnTo>
                  <a:lnTo>
                    <a:pt x="955" y="755"/>
                  </a:lnTo>
                  <a:lnTo>
                    <a:pt x="966" y="734"/>
                  </a:lnTo>
                  <a:lnTo>
                    <a:pt x="976" y="712"/>
                  </a:lnTo>
                  <a:lnTo>
                    <a:pt x="985" y="690"/>
                  </a:lnTo>
                  <a:lnTo>
                    <a:pt x="992" y="667"/>
                  </a:lnTo>
                  <a:lnTo>
                    <a:pt x="1000" y="643"/>
                  </a:lnTo>
                  <a:lnTo>
                    <a:pt x="1005" y="619"/>
                  </a:lnTo>
                  <a:lnTo>
                    <a:pt x="1010" y="594"/>
                  </a:lnTo>
                  <a:lnTo>
                    <a:pt x="1012" y="570"/>
                  </a:lnTo>
                  <a:lnTo>
                    <a:pt x="1015" y="545"/>
                  </a:lnTo>
                  <a:lnTo>
                    <a:pt x="1015" y="519"/>
                  </a:lnTo>
                  <a:lnTo>
                    <a:pt x="1015" y="494"/>
                  </a:lnTo>
                  <a:lnTo>
                    <a:pt x="1012" y="468"/>
                  </a:lnTo>
                  <a:lnTo>
                    <a:pt x="1010" y="444"/>
                  </a:lnTo>
                  <a:lnTo>
                    <a:pt x="1005" y="420"/>
                  </a:lnTo>
                  <a:lnTo>
                    <a:pt x="1000" y="396"/>
                  </a:lnTo>
                  <a:lnTo>
                    <a:pt x="992" y="372"/>
                  </a:lnTo>
                  <a:lnTo>
                    <a:pt x="985" y="350"/>
                  </a:lnTo>
                  <a:lnTo>
                    <a:pt x="976" y="326"/>
                  </a:lnTo>
                  <a:lnTo>
                    <a:pt x="966" y="305"/>
                  </a:lnTo>
                  <a:lnTo>
                    <a:pt x="955" y="283"/>
                  </a:lnTo>
                  <a:lnTo>
                    <a:pt x="943" y="262"/>
                  </a:lnTo>
                  <a:lnTo>
                    <a:pt x="931" y="242"/>
                  </a:lnTo>
                  <a:lnTo>
                    <a:pt x="916" y="224"/>
                  </a:lnTo>
                  <a:lnTo>
                    <a:pt x="901" y="204"/>
                  </a:lnTo>
                  <a:lnTo>
                    <a:pt x="886" y="187"/>
                  </a:lnTo>
                  <a:lnTo>
                    <a:pt x="870" y="170"/>
                  </a:lnTo>
                  <a:lnTo>
                    <a:pt x="853" y="154"/>
                  </a:lnTo>
                  <a:lnTo>
                    <a:pt x="834" y="137"/>
                  </a:lnTo>
                  <a:lnTo>
                    <a:pt x="816" y="123"/>
                  </a:lnTo>
                  <a:lnTo>
                    <a:pt x="796" y="109"/>
                  </a:lnTo>
                  <a:lnTo>
                    <a:pt x="776" y="95"/>
                  </a:lnTo>
                  <a:lnTo>
                    <a:pt x="755" y="84"/>
                  </a:lnTo>
                  <a:lnTo>
                    <a:pt x="734" y="73"/>
                  </a:lnTo>
                  <a:lnTo>
                    <a:pt x="712" y="63"/>
                  </a:lnTo>
                  <a:lnTo>
                    <a:pt x="690" y="55"/>
                  </a:lnTo>
                  <a:lnTo>
                    <a:pt x="666" y="46"/>
                  </a:lnTo>
                  <a:lnTo>
                    <a:pt x="643" y="40"/>
                  </a:lnTo>
                  <a:lnTo>
                    <a:pt x="619" y="35"/>
                  </a:lnTo>
                  <a:lnTo>
                    <a:pt x="594" y="30"/>
                  </a:lnTo>
                  <a:lnTo>
                    <a:pt x="570" y="26"/>
                  </a:lnTo>
                  <a:lnTo>
                    <a:pt x="545" y="25"/>
                  </a:lnTo>
                  <a:lnTo>
                    <a:pt x="519" y="24"/>
                  </a:lnTo>
                  <a:close/>
                  <a:moveTo>
                    <a:pt x="519" y="1039"/>
                  </a:moveTo>
                  <a:lnTo>
                    <a:pt x="492" y="1038"/>
                  </a:lnTo>
                  <a:lnTo>
                    <a:pt x="466" y="1037"/>
                  </a:lnTo>
                  <a:lnTo>
                    <a:pt x="440" y="1033"/>
                  </a:lnTo>
                  <a:lnTo>
                    <a:pt x="414" y="1028"/>
                  </a:lnTo>
                  <a:lnTo>
                    <a:pt x="389" y="1023"/>
                  </a:lnTo>
                  <a:lnTo>
                    <a:pt x="365" y="1016"/>
                  </a:lnTo>
                  <a:lnTo>
                    <a:pt x="341" y="1007"/>
                  </a:lnTo>
                  <a:lnTo>
                    <a:pt x="318" y="998"/>
                  </a:lnTo>
                  <a:lnTo>
                    <a:pt x="294" y="987"/>
                  </a:lnTo>
                  <a:lnTo>
                    <a:pt x="272" y="976"/>
                  </a:lnTo>
                  <a:lnTo>
                    <a:pt x="250" y="964"/>
                  </a:lnTo>
                  <a:lnTo>
                    <a:pt x="229" y="950"/>
                  </a:lnTo>
                  <a:lnTo>
                    <a:pt x="209" y="935"/>
                  </a:lnTo>
                  <a:lnTo>
                    <a:pt x="189" y="920"/>
                  </a:lnTo>
                  <a:lnTo>
                    <a:pt x="169" y="904"/>
                  </a:lnTo>
                  <a:lnTo>
                    <a:pt x="152" y="887"/>
                  </a:lnTo>
                  <a:lnTo>
                    <a:pt x="135" y="869"/>
                  </a:lnTo>
                  <a:lnTo>
                    <a:pt x="119" y="850"/>
                  </a:lnTo>
                  <a:lnTo>
                    <a:pt x="103" y="830"/>
                  </a:lnTo>
                  <a:lnTo>
                    <a:pt x="89" y="809"/>
                  </a:lnTo>
                  <a:lnTo>
                    <a:pt x="76" y="788"/>
                  </a:lnTo>
                  <a:lnTo>
                    <a:pt x="62" y="767"/>
                  </a:lnTo>
                  <a:lnTo>
                    <a:pt x="51" y="745"/>
                  </a:lnTo>
                  <a:lnTo>
                    <a:pt x="41" y="722"/>
                  </a:lnTo>
                  <a:lnTo>
                    <a:pt x="31" y="698"/>
                  </a:lnTo>
                  <a:lnTo>
                    <a:pt x="24" y="673"/>
                  </a:lnTo>
                  <a:lnTo>
                    <a:pt x="16" y="649"/>
                  </a:lnTo>
                  <a:lnTo>
                    <a:pt x="10" y="624"/>
                  </a:lnTo>
                  <a:lnTo>
                    <a:pt x="5" y="598"/>
                  </a:lnTo>
                  <a:lnTo>
                    <a:pt x="3" y="572"/>
                  </a:lnTo>
                  <a:lnTo>
                    <a:pt x="0" y="546"/>
                  </a:lnTo>
                  <a:lnTo>
                    <a:pt x="0" y="519"/>
                  </a:lnTo>
                  <a:lnTo>
                    <a:pt x="0" y="493"/>
                  </a:lnTo>
                  <a:lnTo>
                    <a:pt x="3" y="466"/>
                  </a:lnTo>
                  <a:lnTo>
                    <a:pt x="5" y="440"/>
                  </a:lnTo>
                  <a:lnTo>
                    <a:pt x="10" y="415"/>
                  </a:lnTo>
                  <a:lnTo>
                    <a:pt x="16" y="389"/>
                  </a:lnTo>
                  <a:lnTo>
                    <a:pt x="24" y="365"/>
                  </a:lnTo>
                  <a:lnTo>
                    <a:pt x="31" y="341"/>
                  </a:lnTo>
                  <a:lnTo>
                    <a:pt x="41" y="318"/>
                  </a:lnTo>
                  <a:lnTo>
                    <a:pt x="51" y="294"/>
                  </a:lnTo>
                  <a:lnTo>
                    <a:pt x="62" y="272"/>
                  </a:lnTo>
                  <a:lnTo>
                    <a:pt x="76" y="250"/>
                  </a:lnTo>
                  <a:lnTo>
                    <a:pt x="89" y="229"/>
                  </a:lnTo>
                  <a:lnTo>
                    <a:pt x="103" y="209"/>
                  </a:lnTo>
                  <a:lnTo>
                    <a:pt x="119" y="189"/>
                  </a:lnTo>
                  <a:lnTo>
                    <a:pt x="135" y="171"/>
                  </a:lnTo>
                  <a:lnTo>
                    <a:pt x="152" y="152"/>
                  </a:lnTo>
                  <a:lnTo>
                    <a:pt x="169" y="135"/>
                  </a:lnTo>
                  <a:lnTo>
                    <a:pt x="189" y="119"/>
                  </a:lnTo>
                  <a:lnTo>
                    <a:pt x="209" y="104"/>
                  </a:lnTo>
                  <a:lnTo>
                    <a:pt x="229" y="89"/>
                  </a:lnTo>
                  <a:lnTo>
                    <a:pt x="250" y="76"/>
                  </a:lnTo>
                  <a:lnTo>
                    <a:pt x="272" y="63"/>
                  </a:lnTo>
                  <a:lnTo>
                    <a:pt x="294" y="51"/>
                  </a:lnTo>
                  <a:lnTo>
                    <a:pt x="318" y="41"/>
                  </a:lnTo>
                  <a:lnTo>
                    <a:pt x="341" y="31"/>
                  </a:lnTo>
                  <a:lnTo>
                    <a:pt x="365" y="24"/>
                  </a:lnTo>
                  <a:lnTo>
                    <a:pt x="389" y="16"/>
                  </a:lnTo>
                  <a:lnTo>
                    <a:pt x="414" y="10"/>
                  </a:lnTo>
                  <a:lnTo>
                    <a:pt x="440" y="7"/>
                  </a:lnTo>
                  <a:lnTo>
                    <a:pt x="466" y="3"/>
                  </a:lnTo>
                  <a:lnTo>
                    <a:pt x="492" y="0"/>
                  </a:lnTo>
                  <a:lnTo>
                    <a:pt x="519" y="0"/>
                  </a:lnTo>
                  <a:lnTo>
                    <a:pt x="546" y="0"/>
                  </a:lnTo>
                  <a:lnTo>
                    <a:pt x="572" y="3"/>
                  </a:lnTo>
                  <a:lnTo>
                    <a:pt x="598" y="7"/>
                  </a:lnTo>
                  <a:lnTo>
                    <a:pt x="624" y="10"/>
                  </a:lnTo>
                  <a:lnTo>
                    <a:pt x="649" y="16"/>
                  </a:lnTo>
                  <a:lnTo>
                    <a:pt x="674" y="24"/>
                  </a:lnTo>
                  <a:lnTo>
                    <a:pt x="698" y="31"/>
                  </a:lnTo>
                  <a:lnTo>
                    <a:pt x="722" y="41"/>
                  </a:lnTo>
                  <a:lnTo>
                    <a:pt x="744" y="51"/>
                  </a:lnTo>
                  <a:lnTo>
                    <a:pt x="766" y="63"/>
                  </a:lnTo>
                  <a:lnTo>
                    <a:pt x="788" y="76"/>
                  </a:lnTo>
                  <a:lnTo>
                    <a:pt x="809" y="89"/>
                  </a:lnTo>
                  <a:lnTo>
                    <a:pt x="830" y="104"/>
                  </a:lnTo>
                  <a:lnTo>
                    <a:pt x="849" y="119"/>
                  </a:lnTo>
                  <a:lnTo>
                    <a:pt x="869" y="135"/>
                  </a:lnTo>
                  <a:lnTo>
                    <a:pt x="886" y="152"/>
                  </a:lnTo>
                  <a:lnTo>
                    <a:pt x="903" y="171"/>
                  </a:lnTo>
                  <a:lnTo>
                    <a:pt x="919" y="189"/>
                  </a:lnTo>
                  <a:lnTo>
                    <a:pt x="935" y="209"/>
                  </a:lnTo>
                  <a:lnTo>
                    <a:pt x="950" y="229"/>
                  </a:lnTo>
                  <a:lnTo>
                    <a:pt x="964" y="250"/>
                  </a:lnTo>
                  <a:lnTo>
                    <a:pt x="976" y="272"/>
                  </a:lnTo>
                  <a:lnTo>
                    <a:pt x="987" y="294"/>
                  </a:lnTo>
                  <a:lnTo>
                    <a:pt x="998" y="318"/>
                  </a:lnTo>
                  <a:lnTo>
                    <a:pt x="1007" y="341"/>
                  </a:lnTo>
                  <a:lnTo>
                    <a:pt x="1016" y="365"/>
                  </a:lnTo>
                  <a:lnTo>
                    <a:pt x="1022" y="389"/>
                  </a:lnTo>
                  <a:lnTo>
                    <a:pt x="1028" y="415"/>
                  </a:lnTo>
                  <a:lnTo>
                    <a:pt x="1033" y="440"/>
                  </a:lnTo>
                  <a:lnTo>
                    <a:pt x="1036" y="466"/>
                  </a:lnTo>
                  <a:lnTo>
                    <a:pt x="1038" y="493"/>
                  </a:lnTo>
                  <a:lnTo>
                    <a:pt x="1039" y="519"/>
                  </a:lnTo>
                  <a:lnTo>
                    <a:pt x="1038" y="546"/>
                  </a:lnTo>
                  <a:lnTo>
                    <a:pt x="1036" y="572"/>
                  </a:lnTo>
                  <a:lnTo>
                    <a:pt x="1033" y="598"/>
                  </a:lnTo>
                  <a:lnTo>
                    <a:pt x="1028" y="624"/>
                  </a:lnTo>
                  <a:lnTo>
                    <a:pt x="1022" y="649"/>
                  </a:lnTo>
                  <a:lnTo>
                    <a:pt x="1016" y="673"/>
                  </a:lnTo>
                  <a:lnTo>
                    <a:pt x="1007" y="698"/>
                  </a:lnTo>
                  <a:lnTo>
                    <a:pt x="998" y="722"/>
                  </a:lnTo>
                  <a:lnTo>
                    <a:pt x="987" y="745"/>
                  </a:lnTo>
                  <a:lnTo>
                    <a:pt x="976" y="767"/>
                  </a:lnTo>
                  <a:lnTo>
                    <a:pt x="964" y="788"/>
                  </a:lnTo>
                  <a:lnTo>
                    <a:pt x="950" y="809"/>
                  </a:lnTo>
                  <a:lnTo>
                    <a:pt x="935" y="830"/>
                  </a:lnTo>
                  <a:lnTo>
                    <a:pt x="919" y="850"/>
                  </a:lnTo>
                  <a:lnTo>
                    <a:pt x="903" y="869"/>
                  </a:lnTo>
                  <a:lnTo>
                    <a:pt x="886" y="887"/>
                  </a:lnTo>
                  <a:lnTo>
                    <a:pt x="869" y="904"/>
                  </a:lnTo>
                  <a:lnTo>
                    <a:pt x="849" y="920"/>
                  </a:lnTo>
                  <a:lnTo>
                    <a:pt x="830" y="935"/>
                  </a:lnTo>
                  <a:lnTo>
                    <a:pt x="809" y="950"/>
                  </a:lnTo>
                  <a:lnTo>
                    <a:pt x="788" y="964"/>
                  </a:lnTo>
                  <a:lnTo>
                    <a:pt x="766" y="976"/>
                  </a:lnTo>
                  <a:lnTo>
                    <a:pt x="744" y="987"/>
                  </a:lnTo>
                  <a:lnTo>
                    <a:pt x="722" y="998"/>
                  </a:lnTo>
                  <a:lnTo>
                    <a:pt x="698" y="1007"/>
                  </a:lnTo>
                  <a:lnTo>
                    <a:pt x="674" y="1016"/>
                  </a:lnTo>
                  <a:lnTo>
                    <a:pt x="649" y="1023"/>
                  </a:lnTo>
                  <a:lnTo>
                    <a:pt x="624" y="1028"/>
                  </a:lnTo>
                  <a:lnTo>
                    <a:pt x="598" y="1033"/>
                  </a:lnTo>
                  <a:lnTo>
                    <a:pt x="572" y="1037"/>
                  </a:lnTo>
                  <a:lnTo>
                    <a:pt x="546" y="1038"/>
                  </a:lnTo>
                  <a:lnTo>
                    <a:pt x="519" y="103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83" name="Freeform 187">
              <a:extLst>
                <a:ext uri="{FF2B5EF4-FFF2-40B4-BE49-F238E27FC236}">
                  <a16:creationId xmlns:a16="http://schemas.microsoft.com/office/drawing/2014/main" id="{CF336911-3A55-4A2B-96CB-247663535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6" y="5719763"/>
              <a:ext cx="307975" cy="307975"/>
            </a:xfrm>
            <a:custGeom>
              <a:avLst/>
              <a:gdLst>
                <a:gd name="T0" fmla="*/ 775 w 777"/>
                <a:gd name="T1" fmla="*/ 429 h 777"/>
                <a:gd name="T2" fmla="*/ 765 w 777"/>
                <a:gd name="T3" fmla="*/ 486 h 777"/>
                <a:gd name="T4" fmla="*/ 746 w 777"/>
                <a:gd name="T5" fmla="*/ 540 h 777"/>
                <a:gd name="T6" fmla="*/ 720 w 777"/>
                <a:gd name="T7" fmla="*/ 589 h 777"/>
                <a:gd name="T8" fmla="*/ 688 w 777"/>
                <a:gd name="T9" fmla="*/ 635 h 777"/>
                <a:gd name="T10" fmla="*/ 650 w 777"/>
                <a:gd name="T11" fmla="*/ 676 h 777"/>
                <a:gd name="T12" fmla="*/ 606 w 777"/>
                <a:gd name="T13" fmla="*/ 710 h 777"/>
                <a:gd name="T14" fmla="*/ 556 w 777"/>
                <a:gd name="T15" fmla="*/ 739 h 777"/>
                <a:gd name="T16" fmla="*/ 504 w 777"/>
                <a:gd name="T17" fmla="*/ 760 h 777"/>
                <a:gd name="T18" fmla="*/ 447 w 777"/>
                <a:gd name="T19" fmla="*/ 772 h 777"/>
                <a:gd name="T20" fmla="*/ 388 w 777"/>
                <a:gd name="T21" fmla="*/ 777 h 777"/>
                <a:gd name="T22" fmla="*/ 329 w 777"/>
                <a:gd name="T23" fmla="*/ 772 h 777"/>
                <a:gd name="T24" fmla="*/ 273 w 777"/>
                <a:gd name="T25" fmla="*/ 760 h 777"/>
                <a:gd name="T26" fmla="*/ 220 w 777"/>
                <a:gd name="T27" fmla="*/ 739 h 777"/>
                <a:gd name="T28" fmla="*/ 171 w 777"/>
                <a:gd name="T29" fmla="*/ 710 h 777"/>
                <a:gd name="T30" fmla="*/ 127 w 777"/>
                <a:gd name="T31" fmla="*/ 676 h 777"/>
                <a:gd name="T32" fmla="*/ 88 w 777"/>
                <a:gd name="T33" fmla="*/ 635 h 777"/>
                <a:gd name="T34" fmla="*/ 56 w 777"/>
                <a:gd name="T35" fmla="*/ 589 h 777"/>
                <a:gd name="T36" fmla="*/ 30 w 777"/>
                <a:gd name="T37" fmla="*/ 540 h 777"/>
                <a:gd name="T38" fmla="*/ 13 w 777"/>
                <a:gd name="T39" fmla="*/ 486 h 777"/>
                <a:gd name="T40" fmla="*/ 1 w 777"/>
                <a:gd name="T41" fmla="*/ 429 h 777"/>
                <a:gd name="T42" fmla="*/ 0 w 777"/>
                <a:gd name="T43" fmla="*/ 368 h 777"/>
                <a:gd name="T44" fmla="*/ 8 w 777"/>
                <a:gd name="T45" fmla="*/ 310 h 777"/>
                <a:gd name="T46" fmla="*/ 24 w 777"/>
                <a:gd name="T47" fmla="*/ 255 h 777"/>
                <a:gd name="T48" fmla="*/ 47 w 777"/>
                <a:gd name="T49" fmla="*/ 203 h 777"/>
                <a:gd name="T50" fmla="*/ 77 w 777"/>
                <a:gd name="T51" fmla="*/ 156 h 777"/>
                <a:gd name="T52" fmla="*/ 114 w 777"/>
                <a:gd name="T53" fmla="*/ 114 h 777"/>
                <a:gd name="T54" fmla="*/ 156 w 777"/>
                <a:gd name="T55" fmla="*/ 77 h 777"/>
                <a:gd name="T56" fmla="*/ 203 w 777"/>
                <a:gd name="T57" fmla="*/ 47 h 777"/>
                <a:gd name="T58" fmla="*/ 255 w 777"/>
                <a:gd name="T59" fmla="*/ 24 h 777"/>
                <a:gd name="T60" fmla="*/ 310 w 777"/>
                <a:gd name="T61" fmla="*/ 8 h 777"/>
                <a:gd name="T62" fmla="*/ 368 w 777"/>
                <a:gd name="T63" fmla="*/ 0 h 777"/>
                <a:gd name="T64" fmla="*/ 428 w 777"/>
                <a:gd name="T65" fmla="*/ 2 h 777"/>
                <a:gd name="T66" fmla="*/ 486 w 777"/>
                <a:gd name="T67" fmla="*/ 13 h 777"/>
                <a:gd name="T68" fmla="*/ 539 w 777"/>
                <a:gd name="T69" fmla="*/ 30 h 777"/>
                <a:gd name="T70" fmla="*/ 590 w 777"/>
                <a:gd name="T71" fmla="*/ 56 h 777"/>
                <a:gd name="T72" fmla="*/ 635 w 777"/>
                <a:gd name="T73" fmla="*/ 89 h 777"/>
                <a:gd name="T74" fmla="*/ 676 w 777"/>
                <a:gd name="T75" fmla="*/ 127 h 777"/>
                <a:gd name="T76" fmla="*/ 711 w 777"/>
                <a:gd name="T77" fmla="*/ 172 h 777"/>
                <a:gd name="T78" fmla="*/ 739 w 777"/>
                <a:gd name="T79" fmla="*/ 220 h 777"/>
                <a:gd name="T80" fmla="*/ 759 w 777"/>
                <a:gd name="T81" fmla="*/ 273 h 777"/>
                <a:gd name="T82" fmla="*/ 772 w 777"/>
                <a:gd name="T83" fmla="*/ 329 h 777"/>
                <a:gd name="T84" fmla="*/ 777 w 777"/>
                <a:gd name="T85" fmla="*/ 388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77" h="777">
                  <a:moveTo>
                    <a:pt x="777" y="388"/>
                  </a:moveTo>
                  <a:lnTo>
                    <a:pt x="776" y="409"/>
                  </a:lnTo>
                  <a:lnTo>
                    <a:pt x="775" y="429"/>
                  </a:lnTo>
                  <a:lnTo>
                    <a:pt x="772" y="447"/>
                  </a:lnTo>
                  <a:lnTo>
                    <a:pt x="769" y="467"/>
                  </a:lnTo>
                  <a:lnTo>
                    <a:pt x="765" y="486"/>
                  </a:lnTo>
                  <a:lnTo>
                    <a:pt x="759" y="504"/>
                  </a:lnTo>
                  <a:lnTo>
                    <a:pt x="753" y="523"/>
                  </a:lnTo>
                  <a:lnTo>
                    <a:pt x="746" y="540"/>
                  </a:lnTo>
                  <a:lnTo>
                    <a:pt x="739" y="557"/>
                  </a:lnTo>
                  <a:lnTo>
                    <a:pt x="730" y="573"/>
                  </a:lnTo>
                  <a:lnTo>
                    <a:pt x="720" y="589"/>
                  </a:lnTo>
                  <a:lnTo>
                    <a:pt x="711" y="605"/>
                  </a:lnTo>
                  <a:lnTo>
                    <a:pt x="699" y="621"/>
                  </a:lnTo>
                  <a:lnTo>
                    <a:pt x="688" y="635"/>
                  </a:lnTo>
                  <a:lnTo>
                    <a:pt x="676" y="650"/>
                  </a:lnTo>
                  <a:lnTo>
                    <a:pt x="662" y="663"/>
                  </a:lnTo>
                  <a:lnTo>
                    <a:pt x="650" y="676"/>
                  </a:lnTo>
                  <a:lnTo>
                    <a:pt x="635" y="688"/>
                  </a:lnTo>
                  <a:lnTo>
                    <a:pt x="620" y="699"/>
                  </a:lnTo>
                  <a:lnTo>
                    <a:pt x="606" y="710"/>
                  </a:lnTo>
                  <a:lnTo>
                    <a:pt x="590" y="720"/>
                  </a:lnTo>
                  <a:lnTo>
                    <a:pt x="573" y="730"/>
                  </a:lnTo>
                  <a:lnTo>
                    <a:pt x="556" y="739"/>
                  </a:lnTo>
                  <a:lnTo>
                    <a:pt x="539" y="746"/>
                  </a:lnTo>
                  <a:lnTo>
                    <a:pt x="522" y="754"/>
                  </a:lnTo>
                  <a:lnTo>
                    <a:pt x="504" y="760"/>
                  </a:lnTo>
                  <a:lnTo>
                    <a:pt x="486" y="765"/>
                  </a:lnTo>
                  <a:lnTo>
                    <a:pt x="466" y="768"/>
                  </a:lnTo>
                  <a:lnTo>
                    <a:pt x="447" y="772"/>
                  </a:lnTo>
                  <a:lnTo>
                    <a:pt x="428" y="775"/>
                  </a:lnTo>
                  <a:lnTo>
                    <a:pt x="408" y="776"/>
                  </a:lnTo>
                  <a:lnTo>
                    <a:pt x="388" y="777"/>
                  </a:lnTo>
                  <a:lnTo>
                    <a:pt x="368" y="776"/>
                  </a:lnTo>
                  <a:lnTo>
                    <a:pt x="349" y="775"/>
                  </a:lnTo>
                  <a:lnTo>
                    <a:pt x="329" y="772"/>
                  </a:lnTo>
                  <a:lnTo>
                    <a:pt x="310" y="768"/>
                  </a:lnTo>
                  <a:lnTo>
                    <a:pt x="292" y="765"/>
                  </a:lnTo>
                  <a:lnTo>
                    <a:pt x="273" y="760"/>
                  </a:lnTo>
                  <a:lnTo>
                    <a:pt x="255" y="754"/>
                  </a:lnTo>
                  <a:lnTo>
                    <a:pt x="237" y="746"/>
                  </a:lnTo>
                  <a:lnTo>
                    <a:pt x="220" y="739"/>
                  </a:lnTo>
                  <a:lnTo>
                    <a:pt x="203" y="730"/>
                  </a:lnTo>
                  <a:lnTo>
                    <a:pt x="187" y="720"/>
                  </a:lnTo>
                  <a:lnTo>
                    <a:pt x="171" y="710"/>
                  </a:lnTo>
                  <a:lnTo>
                    <a:pt x="156" y="699"/>
                  </a:lnTo>
                  <a:lnTo>
                    <a:pt x="141" y="688"/>
                  </a:lnTo>
                  <a:lnTo>
                    <a:pt x="127" y="676"/>
                  </a:lnTo>
                  <a:lnTo>
                    <a:pt x="114" y="663"/>
                  </a:lnTo>
                  <a:lnTo>
                    <a:pt x="100" y="650"/>
                  </a:lnTo>
                  <a:lnTo>
                    <a:pt x="88" y="635"/>
                  </a:lnTo>
                  <a:lnTo>
                    <a:pt x="77" y="621"/>
                  </a:lnTo>
                  <a:lnTo>
                    <a:pt x="66" y="605"/>
                  </a:lnTo>
                  <a:lnTo>
                    <a:pt x="56" y="589"/>
                  </a:lnTo>
                  <a:lnTo>
                    <a:pt x="47" y="573"/>
                  </a:lnTo>
                  <a:lnTo>
                    <a:pt x="38" y="557"/>
                  </a:lnTo>
                  <a:lnTo>
                    <a:pt x="30" y="540"/>
                  </a:lnTo>
                  <a:lnTo>
                    <a:pt x="24" y="523"/>
                  </a:lnTo>
                  <a:lnTo>
                    <a:pt x="17" y="504"/>
                  </a:lnTo>
                  <a:lnTo>
                    <a:pt x="13" y="486"/>
                  </a:lnTo>
                  <a:lnTo>
                    <a:pt x="8" y="467"/>
                  </a:lnTo>
                  <a:lnTo>
                    <a:pt x="4" y="447"/>
                  </a:lnTo>
                  <a:lnTo>
                    <a:pt x="1" y="429"/>
                  </a:lnTo>
                  <a:lnTo>
                    <a:pt x="0" y="409"/>
                  </a:lnTo>
                  <a:lnTo>
                    <a:pt x="0" y="388"/>
                  </a:lnTo>
                  <a:lnTo>
                    <a:pt x="0" y="368"/>
                  </a:lnTo>
                  <a:lnTo>
                    <a:pt x="1" y="349"/>
                  </a:lnTo>
                  <a:lnTo>
                    <a:pt x="4" y="329"/>
                  </a:lnTo>
                  <a:lnTo>
                    <a:pt x="8" y="310"/>
                  </a:lnTo>
                  <a:lnTo>
                    <a:pt x="13" y="292"/>
                  </a:lnTo>
                  <a:lnTo>
                    <a:pt x="17" y="273"/>
                  </a:lnTo>
                  <a:lnTo>
                    <a:pt x="24" y="255"/>
                  </a:lnTo>
                  <a:lnTo>
                    <a:pt x="30" y="237"/>
                  </a:lnTo>
                  <a:lnTo>
                    <a:pt x="38" y="220"/>
                  </a:lnTo>
                  <a:lnTo>
                    <a:pt x="47" y="203"/>
                  </a:lnTo>
                  <a:lnTo>
                    <a:pt x="56" y="187"/>
                  </a:lnTo>
                  <a:lnTo>
                    <a:pt x="66" y="172"/>
                  </a:lnTo>
                  <a:lnTo>
                    <a:pt x="77" y="156"/>
                  </a:lnTo>
                  <a:lnTo>
                    <a:pt x="88" y="141"/>
                  </a:lnTo>
                  <a:lnTo>
                    <a:pt x="100" y="127"/>
                  </a:lnTo>
                  <a:lnTo>
                    <a:pt x="114" y="114"/>
                  </a:lnTo>
                  <a:lnTo>
                    <a:pt x="127" y="102"/>
                  </a:lnTo>
                  <a:lnTo>
                    <a:pt x="141" y="89"/>
                  </a:lnTo>
                  <a:lnTo>
                    <a:pt x="156" y="77"/>
                  </a:lnTo>
                  <a:lnTo>
                    <a:pt x="171" y="67"/>
                  </a:lnTo>
                  <a:lnTo>
                    <a:pt x="187" y="56"/>
                  </a:lnTo>
                  <a:lnTo>
                    <a:pt x="203" y="47"/>
                  </a:lnTo>
                  <a:lnTo>
                    <a:pt x="220" y="39"/>
                  </a:lnTo>
                  <a:lnTo>
                    <a:pt x="237" y="30"/>
                  </a:lnTo>
                  <a:lnTo>
                    <a:pt x="255" y="24"/>
                  </a:lnTo>
                  <a:lnTo>
                    <a:pt x="273" y="18"/>
                  </a:lnTo>
                  <a:lnTo>
                    <a:pt x="292" y="13"/>
                  </a:lnTo>
                  <a:lnTo>
                    <a:pt x="310" y="8"/>
                  </a:lnTo>
                  <a:lnTo>
                    <a:pt x="329" y="4"/>
                  </a:lnTo>
                  <a:lnTo>
                    <a:pt x="349" y="2"/>
                  </a:lnTo>
                  <a:lnTo>
                    <a:pt x="368" y="0"/>
                  </a:lnTo>
                  <a:lnTo>
                    <a:pt x="388" y="0"/>
                  </a:lnTo>
                  <a:lnTo>
                    <a:pt x="408" y="0"/>
                  </a:lnTo>
                  <a:lnTo>
                    <a:pt x="428" y="2"/>
                  </a:lnTo>
                  <a:lnTo>
                    <a:pt x="447" y="4"/>
                  </a:lnTo>
                  <a:lnTo>
                    <a:pt x="466" y="8"/>
                  </a:lnTo>
                  <a:lnTo>
                    <a:pt x="486" y="13"/>
                  </a:lnTo>
                  <a:lnTo>
                    <a:pt x="504" y="18"/>
                  </a:lnTo>
                  <a:lnTo>
                    <a:pt x="522" y="24"/>
                  </a:lnTo>
                  <a:lnTo>
                    <a:pt x="539" y="30"/>
                  </a:lnTo>
                  <a:lnTo>
                    <a:pt x="556" y="39"/>
                  </a:lnTo>
                  <a:lnTo>
                    <a:pt x="573" y="47"/>
                  </a:lnTo>
                  <a:lnTo>
                    <a:pt x="590" y="56"/>
                  </a:lnTo>
                  <a:lnTo>
                    <a:pt x="606" y="67"/>
                  </a:lnTo>
                  <a:lnTo>
                    <a:pt x="620" y="77"/>
                  </a:lnTo>
                  <a:lnTo>
                    <a:pt x="635" y="89"/>
                  </a:lnTo>
                  <a:lnTo>
                    <a:pt x="650" y="102"/>
                  </a:lnTo>
                  <a:lnTo>
                    <a:pt x="662" y="114"/>
                  </a:lnTo>
                  <a:lnTo>
                    <a:pt x="676" y="127"/>
                  </a:lnTo>
                  <a:lnTo>
                    <a:pt x="688" y="141"/>
                  </a:lnTo>
                  <a:lnTo>
                    <a:pt x="699" y="156"/>
                  </a:lnTo>
                  <a:lnTo>
                    <a:pt x="711" y="172"/>
                  </a:lnTo>
                  <a:lnTo>
                    <a:pt x="720" y="187"/>
                  </a:lnTo>
                  <a:lnTo>
                    <a:pt x="730" y="203"/>
                  </a:lnTo>
                  <a:lnTo>
                    <a:pt x="739" y="220"/>
                  </a:lnTo>
                  <a:lnTo>
                    <a:pt x="746" y="237"/>
                  </a:lnTo>
                  <a:lnTo>
                    <a:pt x="753" y="255"/>
                  </a:lnTo>
                  <a:lnTo>
                    <a:pt x="759" y="273"/>
                  </a:lnTo>
                  <a:lnTo>
                    <a:pt x="765" y="292"/>
                  </a:lnTo>
                  <a:lnTo>
                    <a:pt x="769" y="310"/>
                  </a:lnTo>
                  <a:lnTo>
                    <a:pt x="772" y="329"/>
                  </a:lnTo>
                  <a:lnTo>
                    <a:pt x="775" y="349"/>
                  </a:lnTo>
                  <a:lnTo>
                    <a:pt x="776" y="368"/>
                  </a:lnTo>
                  <a:lnTo>
                    <a:pt x="777" y="38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84" name="Freeform 188">
              <a:extLst>
                <a:ext uri="{FF2B5EF4-FFF2-40B4-BE49-F238E27FC236}">
                  <a16:creationId xmlns:a16="http://schemas.microsoft.com/office/drawing/2014/main" id="{41B5B420-02DE-44DA-902B-8673345D44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5476" y="5715000"/>
              <a:ext cx="319088" cy="317500"/>
            </a:xfrm>
            <a:custGeom>
              <a:avLst/>
              <a:gdLst>
                <a:gd name="T0" fmla="*/ 325 w 800"/>
                <a:gd name="T1" fmla="*/ 32 h 801"/>
                <a:gd name="T2" fmla="*/ 237 w 800"/>
                <a:gd name="T3" fmla="*/ 62 h 801"/>
                <a:gd name="T4" fmla="*/ 160 w 800"/>
                <a:gd name="T5" fmla="*/ 110 h 801"/>
                <a:gd name="T6" fmla="*/ 99 w 800"/>
                <a:gd name="T7" fmla="*/ 175 h 801"/>
                <a:gd name="T8" fmla="*/ 53 w 800"/>
                <a:gd name="T9" fmla="*/ 254 h 801"/>
                <a:gd name="T10" fmla="*/ 28 w 800"/>
                <a:gd name="T11" fmla="*/ 343 h 801"/>
                <a:gd name="T12" fmla="*/ 26 w 800"/>
                <a:gd name="T13" fmla="*/ 438 h 801"/>
                <a:gd name="T14" fmla="*/ 47 w 800"/>
                <a:gd name="T15" fmla="*/ 530 h 801"/>
                <a:gd name="T16" fmla="*/ 89 w 800"/>
                <a:gd name="T17" fmla="*/ 611 h 801"/>
                <a:gd name="T18" fmla="*/ 147 w 800"/>
                <a:gd name="T19" fmla="*/ 679 h 801"/>
                <a:gd name="T20" fmla="*/ 221 w 800"/>
                <a:gd name="T21" fmla="*/ 731 h 801"/>
                <a:gd name="T22" fmla="*/ 306 w 800"/>
                <a:gd name="T23" fmla="*/ 766 h 801"/>
                <a:gd name="T24" fmla="*/ 400 w 800"/>
                <a:gd name="T25" fmla="*/ 777 h 801"/>
                <a:gd name="T26" fmla="*/ 494 w 800"/>
                <a:gd name="T27" fmla="*/ 766 h 801"/>
                <a:gd name="T28" fmla="*/ 579 w 800"/>
                <a:gd name="T29" fmla="*/ 731 h 801"/>
                <a:gd name="T30" fmla="*/ 653 w 800"/>
                <a:gd name="T31" fmla="*/ 679 h 801"/>
                <a:gd name="T32" fmla="*/ 713 w 800"/>
                <a:gd name="T33" fmla="*/ 611 h 801"/>
                <a:gd name="T34" fmla="*/ 753 w 800"/>
                <a:gd name="T35" fmla="*/ 530 h 801"/>
                <a:gd name="T36" fmla="*/ 774 w 800"/>
                <a:gd name="T37" fmla="*/ 438 h 801"/>
                <a:gd name="T38" fmla="*/ 772 w 800"/>
                <a:gd name="T39" fmla="*/ 343 h 801"/>
                <a:gd name="T40" fmla="*/ 747 w 800"/>
                <a:gd name="T41" fmla="*/ 254 h 801"/>
                <a:gd name="T42" fmla="*/ 702 w 800"/>
                <a:gd name="T43" fmla="*/ 175 h 801"/>
                <a:gd name="T44" fmla="*/ 640 w 800"/>
                <a:gd name="T45" fmla="*/ 110 h 801"/>
                <a:gd name="T46" fmla="*/ 563 w 800"/>
                <a:gd name="T47" fmla="*/ 62 h 801"/>
                <a:gd name="T48" fmla="*/ 475 w 800"/>
                <a:gd name="T49" fmla="*/ 32 h 801"/>
                <a:gd name="T50" fmla="*/ 400 w 800"/>
                <a:gd name="T51" fmla="*/ 801 h 801"/>
                <a:gd name="T52" fmla="*/ 300 w 800"/>
                <a:gd name="T53" fmla="*/ 788 h 801"/>
                <a:gd name="T54" fmla="*/ 210 w 800"/>
                <a:gd name="T55" fmla="*/ 752 h 801"/>
                <a:gd name="T56" fmla="*/ 131 w 800"/>
                <a:gd name="T57" fmla="*/ 696 h 801"/>
                <a:gd name="T58" fmla="*/ 68 w 800"/>
                <a:gd name="T59" fmla="*/ 625 h 801"/>
                <a:gd name="T60" fmla="*/ 25 w 800"/>
                <a:gd name="T61" fmla="*/ 538 h 801"/>
                <a:gd name="T62" fmla="*/ 2 w 800"/>
                <a:gd name="T63" fmla="*/ 441 h 801"/>
                <a:gd name="T64" fmla="*/ 5 w 800"/>
                <a:gd name="T65" fmla="*/ 340 h 801"/>
                <a:gd name="T66" fmla="*/ 31 w 800"/>
                <a:gd name="T67" fmla="*/ 244 h 801"/>
                <a:gd name="T68" fmla="*/ 79 w 800"/>
                <a:gd name="T69" fmla="*/ 162 h 801"/>
                <a:gd name="T70" fmla="*/ 146 w 800"/>
                <a:gd name="T71" fmla="*/ 91 h 801"/>
                <a:gd name="T72" fmla="*/ 227 w 800"/>
                <a:gd name="T73" fmla="*/ 39 h 801"/>
                <a:gd name="T74" fmla="*/ 320 w 800"/>
                <a:gd name="T75" fmla="*/ 9 h 801"/>
                <a:gd name="T76" fmla="*/ 421 w 800"/>
                <a:gd name="T77" fmla="*/ 1 h 801"/>
                <a:gd name="T78" fmla="*/ 519 w 800"/>
                <a:gd name="T79" fmla="*/ 18 h 801"/>
                <a:gd name="T80" fmla="*/ 608 w 800"/>
                <a:gd name="T81" fmla="*/ 58 h 801"/>
                <a:gd name="T82" fmla="*/ 683 w 800"/>
                <a:gd name="T83" fmla="*/ 117 h 801"/>
                <a:gd name="T84" fmla="*/ 742 w 800"/>
                <a:gd name="T85" fmla="*/ 193 h 801"/>
                <a:gd name="T86" fmla="*/ 783 w 800"/>
                <a:gd name="T87" fmla="*/ 282 h 801"/>
                <a:gd name="T88" fmla="*/ 800 w 800"/>
                <a:gd name="T89" fmla="*/ 380 h 801"/>
                <a:gd name="T90" fmla="*/ 793 w 800"/>
                <a:gd name="T91" fmla="*/ 482 h 801"/>
                <a:gd name="T92" fmla="*/ 761 w 800"/>
                <a:gd name="T93" fmla="*/ 574 h 801"/>
                <a:gd name="T94" fmla="*/ 709 w 800"/>
                <a:gd name="T95" fmla="*/ 654 h 801"/>
                <a:gd name="T96" fmla="*/ 640 w 800"/>
                <a:gd name="T97" fmla="*/ 721 h 801"/>
                <a:gd name="T98" fmla="*/ 556 w 800"/>
                <a:gd name="T99" fmla="*/ 769 h 801"/>
                <a:gd name="T100" fmla="*/ 461 w 800"/>
                <a:gd name="T101" fmla="*/ 797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00" h="801">
                  <a:moveTo>
                    <a:pt x="400" y="25"/>
                  </a:moveTo>
                  <a:lnTo>
                    <a:pt x="380" y="25"/>
                  </a:lnTo>
                  <a:lnTo>
                    <a:pt x="362" y="26"/>
                  </a:lnTo>
                  <a:lnTo>
                    <a:pt x="343" y="28"/>
                  </a:lnTo>
                  <a:lnTo>
                    <a:pt x="325" y="32"/>
                  </a:lnTo>
                  <a:lnTo>
                    <a:pt x="306" y="36"/>
                  </a:lnTo>
                  <a:lnTo>
                    <a:pt x="289" y="41"/>
                  </a:lnTo>
                  <a:lnTo>
                    <a:pt x="270" y="47"/>
                  </a:lnTo>
                  <a:lnTo>
                    <a:pt x="254" y="54"/>
                  </a:lnTo>
                  <a:lnTo>
                    <a:pt x="237" y="62"/>
                  </a:lnTo>
                  <a:lnTo>
                    <a:pt x="221" y="70"/>
                  </a:lnTo>
                  <a:lnTo>
                    <a:pt x="205" y="79"/>
                  </a:lnTo>
                  <a:lnTo>
                    <a:pt x="190" y="89"/>
                  </a:lnTo>
                  <a:lnTo>
                    <a:pt x="175" y="99"/>
                  </a:lnTo>
                  <a:lnTo>
                    <a:pt x="160" y="110"/>
                  </a:lnTo>
                  <a:lnTo>
                    <a:pt x="147" y="122"/>
                  </a:lnTo>
                  <a:lnTo>
                    <a:pt x="134" y="135"/>
                  </a:lnTo>
                  <a:lnTo>
                    <a:pt x="122" y="148"/>
                  </a:lnTo>
                  <a:lnTo>
                    <a:pt x="110" y="162"/>
                  </a:lnTo>
                  <a:lnTo>
                    <a:pt x="99" y="175"/>
                  </a:lnTo>
                  <a:lnTo>
                    <a:pt x="89" y="190"/>
                  </a:lnTo>
                  <a:lnTo>
                    <a:pt x="79" y="205"/>
                  </a:lnTo>
                  <a:lnTo>
                    <a:pt x="69" y="221"/>
                  </a:lnTo>
                  <a:lnTo>
                    <a:pt x="60" y="237"/>
                  </a:lnTo>
                  <a:lnTo>
                    <a:pt x="53" y="254"/>
                  </a:lnTo>
                  <a:lnTo>
                    <a:pt x="47" y="272"/>
                  </a:lnTo>
                  <a:lnTo>
                    <a:pt x="41" y="289"/>
                  </a:lnTo>
                  <a:lnTo>
                    <a:pt x="36" y="306"/>
                  </a:lnTo>
                  <a:lnTo>
                    <a:pt x="32" y="325"/>
                  </a:lnTo>
                  <a:lnTo>
                    <a:pt x="28" y="343"/>
                  </a:lnTo>
                  <a:lnTo>
                    <a:pt x="26" y="362"/>
                  </a:lnTo>
                  <a:lnTo>
                    <a:pt x="25" y="382"/>
                  </a:lnTo>
                  <a:lnTo>
                    <a:pt x="23" y="400"/>
                  </a:lnTo>
                  <a:lnTo>
                    <a:pt x="25" y="420"/>
                  </a:lnTo>
                  <a:lnTo>
                    <a:pt x="26" y="438"/>
                  </a:lnTo>
                  <a:lnTo>
                    <a:pt x="28" y="458"/>
                  </a:lnTo>
                  <a:lnTo>
                    <a:pt x="32" y="477"/>
                  </a:lnTo>
                  <a:lnTo>
                    <a:pt x="36" y="494"/>
                  </a:lnTo>
                  <a:lnTo>
                    <a:pt x="41" y="512"/>
                  </a:lnTo>
                  <a:lnTo>
                    <a:pt x="47" y="530"/>
                  </a:lnTo>
                  <a:lnTo>
                    <a:pt x="53" y="547"/>
                  </a:lnTo>
                  <a:lnTo>
                    <a:pt x="60" y="563"/>
                  </a:lnTo>
                  <a:lnTo>
                    <a:pt x="69" y="580"/>
                  </a:lnTo>
                  <a:lnTo>
                    <a:pt x="79" y="595"/>
                  </a:lnTo>
                  <a:lnTo>
                    <a:pt x="89" y="611"/>
                  </a:lnTo>
                  <a:lnTo>
                    <a:pt x="99" y="626"/>
                  </a:lnTo>
                  <a:lnTo>
                    <a:pt x="110" y="640"/>
                  </a:lnTo>
                  <a:lnTo>
                    <a:pt x="122" y="653"/>
                  </a:lnTo>
                  <a:lnTo>
                    <a:pt x="134" y="667"/>
                  </a:lnTo>
                  <a:lnTo>
                    <a:pt x="147" y="679"/>
                  </a:lnTo>
                  <a:lnTo>
                    <a:pt x="160" y="690"/>
                  </a:lnTo>
                  <a:lnTo>
                    <a:pt x="175" y="703"/>
                  </a:lnTo>
                  <a:lnTo>
                    <a:pt x="190" y="713"/>
                  </a:lnTo>
                  <a:lnTo>
                    <a:pt x="205" y="722"/>
                  </a:lnTo>
                  <a:lnTo>
                    <a:pt x="221" y="731"/>
                  </a:lnTo>
                  <a:lnTo>
                    <a:pt x="237" y="740"/>
                  </a:lnTo>
                  <a:lnTo>
                    <a:pt x="254" y="747"/>
                  </a:lnTo>
                  <a:lnTo>
                    <a:pt x="270" y="755"/>
                  </a:lnTo>
                  <a:lnTo>
                    <a:pt x="289" y="759"/>
                  </a:lnTo>
                  <a:lnTo>
                    <a:pt x="306" y="766"/>
                  </a:lnTo>
                  <a:lnTo>
                    <a:pt x="325" y="769"/>
                  </a:lnTo>
                  <a:lnTo>
                    <a:pt x="343" y="773"/>
                  </a:lnTo>
                  <a:lnTo>
                    <a:pt x="362" y="776"/>
                  </a:lnTo>
                  <a:lnTo>
                    <a:pt x="380" y="777"/>
                  </a:lnTo>
                  <a:lnTo>
                    <a:pt x="400" y="777"/>
                  </a:lnTo>
                  <a:lnTo>
                    <a:pt x="420" y="777"/>
                  </a:lnTo>
                  <a:lnTo>
                    <a:pt x="438" y="776"/>
                  </a:lnTo>
                  <a:lnTo>
                    <a:pt x="457" y="773"/>
                  </a:lnTo>
                  <a:lnTo>
                    <a:pt x="475" y="769"/>
                  </a:lnTo>
                  <a:lnTo>
                    <a:pt x="494" y="766"/>
                  </a:lnTo>
                  <a:lnTo>
                    <a:pt x="513" y="759"/>
                  </a:lnTo>
                  <a:lnTo>
                    <a:pt x="530" y="755"/>
                  </a:lnTo>
                  <a:lnTo>
                    <a:pt x="547" y="747"/>
                  </a:lnTo>
                  <a:lnTo>
                    <a:pt x="563" y="740"/>
                  </a:lnTo>
                  <a:lnTo>
                    <a:pt x="579" y="731"/>
                  </a:lnTo>
                  <a:lnTo>
                    <a:pt x="595" y="722"/>
                  </a:lnTo>
                  <a:lnTo>
                    <a:pt x="610" y="713"/>
                  </a:lnTo>
                  <a:lnTo>
                    <a:pt x="625" y="703"/>
                  </a:lnTo>
                  <a:lnTo>
                    <a:pt x="640" y="690"/>
                  </a:lnTo>
                  <a:lnTo>
                    <a:pt x="653" y="679"/>
                  </a:lnTo>
                  <a:lnTo>
                    <a:pt x="666" y="667"/>
                  </a:lnTo>
                  <a:lnTo>
                    <a:pt x="679" y="653"/>
                  </a:lnTo>
                  <a:lnTo>
                    <a:pt x="690" y="640"/>
                  </a:lnTo>
                  <a:lnTo>
                    <a:pt x="702" y="626"/>
                  </a:lnTo>
                  <a:lnTo>
                    <a:pt x="713" y="611"/>
                  </a:lnTo>
                  <a:lnTo>
                    <a:pt x="723" y="595"/>
                  </a:lnTo>
                  <a:lnTo>
                    <a:pt x="731" y="580"/>
                  </a:lnTo>
                  <a:lnTo>
                    <a:pt x="740" y="563"/>
                  </a:lnTo>
                  <a:lnTo>
                    <a:pt x="747" y="547"/>
                  </a:lnTo>
                  <a:lnTo>
                    <a:pt x="753" y="530"/>
                  </a:lnTo>
                  <a:lnTo>
                    <a:pt x="760" y="512"/>
                  </a:lnTo>
                  <a:lnTo>
                    <a:pt x="765" y="494"/>
                  </a:lnTo>
                  <a:lnTo>
                    <a:pt x="770" y="477"/>
                  </a:lnTo>
                  <a:lnTo>
                    <a:pt x="772" y="458"/>
                  </a:lnTo>
                  <a:lnTo>
                    <a:pt x="774" y="438"/>
                  </a:lnTo>
                  <a:lnTo>
                    <a:pt x="776" y="420"/>
                  </a:lnTo>
                  <a:lnTo>
                    <a:pt x="777" y="400"/>
                  </a:lnTo>
                  <a:lnTo>
                    <a:pt x="776" y="382"/>
                  </a:lnTo>
                  <a:lnTo>
                    <a:pt x="774" y="362"/>
                  </a:lnTo>
                  <a:lnTo>
                    <a:pt x="772" y="343"/>
                  </a:lnTo>
                  <a:lnTo>
                    <a:pt x="770" y="325"/>
                  </a:lnTo>
                  <a:lnTo>
                    <a:pt x="765" y="306"/>
                  </a:lnTo>
                  <a:lnTo>
                    <a:pt x="760" y="289"/>
                  </a:lnTo>
                  <a:lnTo>
                    <a:pt x="753" y="272"/>
                  </a:lnTo>
                  <a:lnTo>
                    <a:pt x="747" y="254"/>
                  </a:lnTo>
                  <a:lnTo>
                    <a:pt x="740" y="237"/>
                  </a:lnTo>
                  <a:lnTo>
                    <a:pt x="731" y="221"/>
                  </a:lnTo>
                  <a:lnTo>
                    <a:pt x="723" y="205"/>
                  </a:lnTo>
                  <a:lnTo>
                    <a:pt x="713" y="190"/>
                  </a:lnTo>
                  <a:lnTo>
                    <a:pt x="702" y="175"/>
                  </a:lnTo>
                  <a:lnTo>
                    <a:pt x="690" y="162"/>
                  </a:lnTo>
                  <a:lnTo>
                    <a:pt x="679" y="148"/>
                  </a:lnTo>
                  <a:lnTo>
                    <a:pt x="666" y="135"/>
                  </a:lnTo>
                  <a:lnTo>
                    <a:pt x="653" y="122"/>
                  </a:lnTo>
                  <a:lnTo>
                    <a:pt x="640" y="110"/>
                  </a:lnTo>
                  <a:lnTo>
                    <a:pt x="625" y="99"/>
                  </a:lnTo>
                  <a:lnTo>
                    <a:pt x="610" y="89"/>
                  </a:lnTo>
                  <a:lnTo>
                    <a:pt x="595" y="79"/>
                  </a:lnTo>
                  <a:lnTo>
                    <a:pt x="579" y="70"/>
                  </a:lnTo>
                  <a:lnTo>
                    <a:pt x="563" y="62"/>
                  </a:lnTo>
                  <a:lnTo>
                    <a:pt x="547" y="54"/>
                  </a:lnTo>
                  <a:lnTo>
                    <a:pt x="530" y="47"/>
                  </a:lnTo>
                  <a:lnTo>
                    <a:pt x="513" y="41"/>
                  </a:lnTo>
                  <a:lnTo>
                    <a:pt x="494" y="36"/>
                  </a:lnTo>
                  <a:lnTo>
                    <a:pt x="475" y="32"/>
                  </a:lnTo>
                  <a:lnTo>
                    <a:pt x="457" y="28"/>
                  </a:lnTo>
                  <a:lnTo>
                    <a:pt x="438" y="26"/>
                  </a:lnTo>
                  <a:lnTo>
                    <a:pt x="420" y="25"/>
                  </a:lnTo>
                  <a:lnTo>
                    <a:pt x="400" y="25"/>
                  </a:lnTo>
                  <a:close/>
                  <a:moveTo>
                    <a:pt x="400" y="801"/>
                  </a:moveTo>
                  <a:lnTo>
                    <a:pt x="379" y="800"/>
                  </a:lnTo>
                  <a:lnTo>
                    <a:pt x="359" y="799"/>
                  </a:lnTo>
                  <a:lnTo>
                    <a:pt x="340" y="797"/>
                  </a:lnTo>
                  <a:lnTo>
                    <a:pt x="320" y="793"/>
                  </a:lnTo>
                  <a:lnTo>
                    <a:pt x="300" y="788"/>
                  </a:lnTo>
                  <a:lnTo>
                    <a:pt x="282" y="783"/>
                  </a:lnTo>
                  <a:lnTo>
                    <a:pt x="263" y="777"/>
                  </a:lnTo>
                  <a:lnTo>
                    <a:pt x="244" y="769"/>
                  </a:lnTo>
                  <a:lnTo>
                    <a:pt x="227" y="762"/>
                  </a:lnTo>
                  <a:lnTo>
                    <a:pt x="210" y="752"/>
                  </a:lnTo>
                  <a:lnTo>
                    <a:pt x="193" y="743"/>
                  </a:lnTo>
                  <a:lnTo>
                    <a:pt x="176" y="732"/>
                  </a:lnTo>
                  <a:lnTo>
                    <a:pt x="160" y="721"/>
                  </a:lnTo>
                  <a:lnTo>
                    <a:pt x="146" y="709"/>
                  </a:lnTo>
                  <a:lnTo>
                    <a:pt x="131" y="696"/>
                  </a:lnTo>
                  <a:lnTo>
                    <a:pt x="117" y="684"/>
                  </a:lnTo>
                  <a:lnTo>
                    <a:pt x="104" y="669"/>
                  </a:lnTo>
                  <a:lnTo>
                    <a:pt x="91" y="654"/>
                  </a:lnTo>
                  <a:lnTo>
                    <a:pt x="79" y="640"/>
                  </a:lnTo>
                  <a:lnTo>
                    <a:pt x="68" y="625"/>
                  </a:lnTo>
                  <a:lnTo>
                    <a:pt x="58" y="608"/>
                  </a:lnTo>
                  <a:lnTo>
                    <a:pt x="48" y="591"/>
                  </a:lnTo>
                  <a:lnTo>
                    <a:pt x="39" y="574"/>
                  </a:lnTo>
                  <a:lnTo>
                    <a:pt x="31" y="556"/>
                  </a:lnTo>
                  <a:lnTo>
                    <a:pt x="25" y="538"/>
                  </a:lnTo>
                  <a:lnTo>
                    <a:pt x="17" y="520"/>
                  </a:lnTo>
                  <a:lnTo>
                    <a:pt x="12" y="500"/>
                  </a:lnTo>
                  <a:lnTo>
                    <a:pt x="7" y="482"/>
                  </a:lnTo>
                  <a:lnTo>
                    <a:pt x="5" y="462"/>
                  </a:lnTo>
                  <a:lnTo>
                    <a:pt x="2" y="441"/>
                  </a:lnTo>
                  <a:lnTo>
                    <a:pt x="0" y="421"/>
                  </a:lnTo>
                  <a:lnTo>
                    <a:pt x="0" y="400"/>
                  </a:lnTo>
                  <a:lnTo>
                    <a:pt x="0" y="380"/>
                  </a:lnTo>
                  <a:lnTo>
                    <a:pt x="2" y="359"/>
                  </a:lnTo>
                  <a:lnTo>
                    <a:pt x="5" y="340"/>
                  </a:lnTo>
                  <a:lnTo>
                    <a:pt x="7" y="320"/>
                  </a:lnTo>
                  <a:lnTo>
                    <a:pt x="12" y="300"/>
                  </a:lnTo>
                  <a:lnTo>
                    <a:pt x="17" y="282"/>
                  </a:lnTo>
                  <a:lnTo>
                    <a:pt x="25" y="263"/>
                  </a:lnTo>
                  <a:lnTo>
                    <a:pt x="31" y="244"/>
                  </a:lnTo>
                  <a:lnTo>
                    <a:pt x="39" y="227"/>
                  </a:lnTo>
                  <a:lnTo>
                    <a:pt x="48" y="210"/>
                  </a:lnTo>
                  <a:lnTo>
                    <a:pt x="58" y="193"/>
                  </a:lnTo>
                  <a:lnTo>
                    <a:pt x="68" y="177"/>
                  </a:lnTo>
                  <a:lnTo>
                    <a:pt x="79" y="162"/>
                  </a:lnTo>
                  <a:lnTo>
                    <a:pt x="91" y="146"/>
                  </a:lnTo>
                  <a:lnTo>
                    <a:pt x="104" y="132"/>
                  </a:lnTo>
                  <a:lnTo>
                    <a:pt x="117" y="117"/>
                  </a:lnTo>
                  <a:lnTo>
                    <a:pt x="131" y="105"/>
                  </a:lnTo>
                  <a:lnTo>
                    <a:pt x="146" y="91"/>
                  </a:lnTo>
                  <a:lnTo>
                    <a:pt x="160" y="80"/>
                  </a:lnTo>
                  <a:lnTo>
                    <a:pt x="176" y="69"/>
                  </a:lnTo>
                  <a:lnTo>
                    <a:pt x="193" y="58"/>
                  </a:lnTo>
                  <a:lnTo>
                    <a:pt x="210" y="48"/>
                  </a:lnTo>
                  <a:lnTo>
                    <a:pt x="227" y="39"/>
                  </a:lnTo>
                  <a:lnTo>
                    <a:pt x="244" y="32"/>
                  </a:lnTo>
                  <a:lnTo>
                    <a:pt x="263" y="25"/>
                  </a:lnTo>
                  <a:lnTo>
                    <a:pt x="282" y="18"/>
                  </a:lnTo>
                  <a:lnTo>
                    <a:pt x="300" y="12"/>
                  </a:lnTo>
                  <a:lnTo>
                    <a:pt x="320" y="9"/>
                  </a:lnTo>
                  <a:lnTo>
                    <a:pt x="340" y="5"/>
                  </a:lnTo>
                  <a:lnTo>
                    <a:pt x="359" y="2"/>
                  </a:lnTo>
                  <a:lnTo>
                    <a:pt x="379" y="1"/>
                  </a:lnTo>
                  <a:lnTo>
                    <a:pt x="400" y="0"/>
                  </a:lnTo>
                  <a:lnTo>
                    <a:pt x="421" y="1"/>
                  </a:lnTo>
                  <a:lnTo>
                    <a:pt x="441" y="2"/>
                  </a:lnTo>
                  <a:lnTo>
                    <a:pt x="461" y="5"/>
                  </a:lnTo>
                  <a:lnTo>
                    <a:pt x="480" y="9"/>
                  </a:lnTo>
                  <a:lnTo>
                    <a:pt x="500" y="12"/>
                  </a:lnTo>
                  <a:lnTo>
                    <a:pt x="519" y="18"/>
                  </a:lnTo>
                  <a:lnTo>
                    <a:pt x="537" y="25"/>
                  </a:lnTo>
                  <a:lnTo>
                    <a:pt x="556" y="32"/>
                  </a:lnTo>
                  <a:lnTo>
                    <a:pt x="574" y="39"/>
                  </a:lnTo>
                  <a:lnTo>
                    <a:pt x="590" y="48"/>
                  </a:lnTo>
                  <a:lnTo>
                    <a:pt x="608" y="58"/>
                  </a:lnTo>
                  <a:lnTo>
                    <a:pt x="624" y="69"/>
                  </a:lnTo>
                  <a:lnTo>
                    <a:pt x="640" y="80"/>
                  </a:lnTo>
                  <a:lnTo>
                    <a:pt x="655" y="91"/>
                  </a:lnTo>
                  <a:lnTo>
                    <a:pt x="669" y="105"/>
                  </a:lnTo>
                  <a:lnTo>
                    <a:pt x="683" y="117"/>
                  </a:lnTo>
                  <a:lnTo>
                    <a:pt x="697" y="132"/>
                  </a:lnTo>
                  <a:lnTo>
                    <a:pt x="709" y="146"/>
                  </a:lnTo>
                  <a:lnTo>
                    <a:pt x="721" y="162"/>
                  </a:lnTo>
                  <a:lnTo>
                    <a:pt x="732" y="177"/>
                  </a:lnTo>
                  <a:lnTo>
                    <a:pt x="742" y="193"/>
                  </a:lnTo>
                  <a:lnTo>
                    <a:pt x="752" y="210"/>
                  </a:lnTo>
                  <a:lnTo>
                    <a:pt x="761" y="227"/>
                  </a:lnTo>
                  <a:lnTo>
                    <a:pt x="770" y="244"/>
                  </a:lnTo>
                  <a:lnTo>
                    <a:pt x="777" y="263"/>
                  </a:lnTo>
                  <a:lnTo>
                    <a:pt x="783" y="282"/>
                  </a:lnTo>
                  <a:lnTo>
                    <a:pt x="788" y="300"/>
                  </a:lnTo>
                  <a:lnTo>
                    <a:pt x="793" y="320"/>
                  </a:lnTo>
                  <a:lnTo>
                    <a:pt x="797" y="340"/>
                  </a:lnTo>
                  <a:lnTo>
                    <a:pt x="799" y="359"/>
                  </a:lnTo>
                  <a:lnTo>
                    <a:pt x="800" y="380"/>
                  </a:lnTo>
                  <a:lnTo>
                    <a:pt x="800" y="400"/>
                  </a:lnTo>
                  <a:lnTo>
                    <a:pt x="800" y="421"/>
                  </a:lnTo>
                  <a:lnTo>
                    <a:pt x="799" y="441"/>
                  </a:lnTo>
                  <a:lnTo>
                    <a:pt x="797" y="462"/>
                  </a:lnTo>
                  <a:lnTo>
                    <a:pt x="793" y="482"/>
                  </a:lnTo>
                  <a:lnTo>
                    <a:pt x="788" y="500"/>
                  </a:lnTo>
                  <a:lnTo>
                    <a:pt x="783" y="520"/>
                  </a:lnTo>
                  <a:lnTo>
                    <a:pt x="777" y="538"/>
                  </a:lnTo>
                  <a:lnTo>
                    <a:pt x="770" y="556"/>
                  </a:lnTo>
                  <a:lnTo>
                    <a:pt x="761" y="574"/>
                  </a:lnTo>
                  <a:lnTo>
                    <a:pt x="752" y="591"/>
                  </a:lnTo>
                  <a:lnTo>
                    <a:pt x="742" y="608"/>
                  </a:lnTo>
                  <a:lnTo>
                    <a:pt x="732" y="625"/>
                  </a:lnTo>
                  <a:lnTo>
                    <a:pt x="721" y="640"/>
                  </a:lnTo>
                  <a:lnTo>
                    <a:pt x="709" y="654"/>
                  </a:lnTo>
                  <a:lnTo>
                    <a:pt x="697" y="669"/>
                  </a:lnTo>
                  <a:lnTo>
                    <a:pt x="683" y="684"/>
                  </a:lnTo>
                  <a:lnTo>
                    <a:pt x="669" y="696"/>
                  </a:lnTo>
                  <a:lnTo>
                    <a:pt x="655" y="709"/>
                  </a:lnTo>
                  <a:lnTo>
                    <a:pt x="640" y="721"/>
                  </a:lnTo>
                  <a:lnTo>
                    <a:pt x="624" y="732"/>
                  </a:lnTo>
                  <a:lnTo>
                    <a:pt x="608" y="743"/>
                  </a:lnTo>
                  <a:lnTo>
                    <a:pt x="590" y="752"/>
                  </a:lnTo>
                  <a:lnTo>
                    <a:pt x="574" y="762"/>
                  </a:lnTo>
                  <a:lnTo>
                    <a:pt x="556" y="769"/>
                  </a:lnTo>
                  <a:lnTo>
                    <a:pt x="537" y="777"/>
                  </a:lnTo>
                  <a:lnTo>
                    <a:pt x="519" y="783"/>
                  </a:lnTo>
                  <a:lnTo>
                    <a:pt x="500" y="788"/>
                  </a:lnTo>
                  <a:lnTo>
                    <a:pt x="480" y="793"/>
                  </a:lnTo>
                  <a:lnTo>
                    <a:pt x="461" y="797"/>
                  </a:lnTo>
                  <a:lnTo>
                    <a:pt x="441" y="799"/>
                  </a:lnTo>
                  <a:lnTo>
                    <a:pt x="421" y="800"/>
                  </a:lnTo>
                  <a:lnTo>
                    <a:pt x="400" y="801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85" name="Freeform 189">
              <a:extLst>
                <a:ext uri="{FF2B5EF4-FFF2-40B4-BE49-F238E27FC236}">
                  <a16:creationId xmlns:a16="http://schemas.microsoft.com/office/drawing/2014/main" id="{A3848E73-E1B0-4A69-AAD7-EBE54C2DB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413" y="5849938"/>
              <a:ext cx="49213" cy="47625"/>
            </a:xfrm>
            <a:custGeom>
              <a:avLst/>
              <a:gdLst>
                <a:gd name="T0" fmla="*/ 124 w 124"/>
                <a:gd name="T1" fmla="*/ 60 h 122"/>
                <a:gd name="T2" fmla="*/ 123 w 124"/>
                <a:gd name="T3" fmla="*/ 72 h 122"/>
                <a:gd name="T4" fmla="*/ 119 w 124"/>
                <a:gd name="T5" fmla="*/ 85 h 122"/>
                <a:gd name="T6" fmla="*/ 113 w 124"/>
                <a:gd name="T7" fmla="*/ 95 h 122"/>
                <a:gd name="T8" fmla="*/ 105 w 124"/>
                <a:gd name="T9" fmla="*/ 105 h 122"/>
                <a:gd name="T10" fmla="*/ 97 w 124"/>
                <a:gd name="T11" fmla="*/ 112 h 122"/>
                <a:gd name="T12" fmla="*/ 86 w 124"/>
                <a:gd name="T13" fmla="*/ 117 h 122"/>
                <a:gd name="T14" fmla="*/ 81 w 124"/>
                <a:gd name="T15" fmla="*/ 119 h 122"/>
                <a:gd name="T16" fmla="*/ 74 w 124"/>
                <a:gd name="T17" fmla="*/ 121 h 122"/>
                <a:gd name="T18" fmla="*/ 68 w 124"/>
                <a:gd name="T19" fmla="*/ 122 h 122"/>
                <a:gd name="T20" fmla="*/ 62 w 124"/>
                <a:gd name="T21" fmla="*/ 122 h 122"/>
                <a:gd name="T22" fmla="*/ 56 w 124"/>
                <a:gd name="T23" fmla="*/ 122 h 122"/>
                <a:gd name="T24" fmla="*/ 50 w 124"/>
                <a:gd name="T25" fmla="*/ 121 h 122"/>
                <a:gd name="T26" fmla="*/ 44 w 124"/>
                <a:gd name="T27" fmla="*/ 119 h 122"/>
                <a:gd name="T28" fmla="*/ 39 w 124"/>
                <a:gd name="T29" fmla="*/ 117 h 122"/>
                <a:gd name="T30" fmla="*/ 28 w 124"/>
                <a:gd name="T31" fmla="*/ 112 h 122"/>
                <a:gd name="T32" fmla="*/ 19 w 124"/>
                <a:gd name="T33" fmla="*/ 105 h 122"/>
                <a:gd name="T34" fmla="*/ 11 w 124"/>
                <a:gd name="T35" fmla="*/ 95 h 122"/>
                <a:gd name="T36" fmla="*/ 5 w 124"/>
                <a:gd name="T37" fmla="*/ 85 h 122"/>
                <a:gd name="T38" fmla="*/ 2 w 124"/>
                <a:gd name="T39" fmla="*/ 72 h 122"/>
                <a:gd name="T40" fmla="*/ 0 w 124"/>
                <a:gd name="T41" fmla="*/ 60 h 122"/>
                <a:gd name="T42" fmla="*/ 2 w 124"/>
                <a:gd name="T43" fmla="*/ 48 h 122"/>
                <a:gd name="T44" fmla="*/ 5 w 124"/>
                <a:gd name="T45" fmla="*/ 37 h 122"/>
                <a:gd name="T46" fmla="*/ 11 w 124"/>
                <a:gd name="T47" fmla="*/ 27 h 122"/>
                <a:gd name="T48" fmla="*/ 19 w 124"/>
                <a:gd name="T49" fmla="*/ 17 h 122"/>
                <a:gd name="T50" fmla="*/ 28 w 124"/>
                <a:gd name="T51" fmla="*/ 9 h 122"/>
                <a:gd name="T52" fmla="*/ 39 w 124"/>
                <a:gd name="T53" fmla="*/ 4 h 122"/>
                <a:gd name="T54" fmla="*/ 50 w 124"/>
                <a:gd name="T55" fmla="*/ 1 h 122"/>
                <a:gd name="T56" fmla="*/ 62 w 124"/>
                <a:gd name="T57" fmla="*/ 0 h 122"/>
                <a:gd name="T58" fmla="*/ 74 w 124"/>
                <a:gd name="T59" fmla="*/ 1 h 122"/>
                <a:gd name="T60" fmla="*/ 86 w 124"/>
                <a:gd name="T61" fmla="*/ 4 h 122"/>
                <a:gd name="T62" fmla="*/ 97 w 124"/>
                <a:gd name="T63" fmla="*/ 9 h 122"/>
                <a:gd name="T64" fmla="*/ 105 w 124"/>
                <a:gd name="T65" fmla="*/ 17 h 122"/>
                <a:gd name="T66" fmla="*/ 113 w 124"/>
                <a:gd name="T67" fmla="*/ 27 h 122"/>
                <a:gd name="T68" fmla="*/ 119 w 124"/>
                <a:gd name="T69" fmla="*/ 37 h 122"/>
                <a:gd name="T70" fmla="*/ 123 w 124"/>
                <a:gd name="T71" fmla="*/ 48 h 122"/>
                <a:gd name="T72" fmla="*/ 124 w 124"/>
                <a:gd name="T73" fmla="*/ 6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4" h="122">
                  <a:moveTo>
                    <a:pt x="124" y="60"/>
                  </a:moveTo>
                  <a:lnTo>
                    <a:pt x="123" y="72"/>
                  </a:lnTo>
                  <a:lnTo>
                    <a:pt x="119" y="85"/>
                  </a:lnTo>
                  <a:lnTo>
                    <a:pt x="113" y="95"/>
                  </a:lnTo>
                  <a:lnTo>
                    <a:pt x="105" y="105"/>
                  </a:lnTo>
                  <a:lnTo>
                    <a:pt x="97" y="112"/>
                  </a:lnTo>
                  <a:lnTo>
                    <a:pt x="86" y="117"/>
                  </a:lnTo>
                  <a:lnTo>
                    <a:pt x="81" y="119"/>
                  </a:lnTo>
                  <a:lnTo>
                    <a:pt x="74" y="121"/>
                  </a:lnTo>
                  <a:lnTo>
                    <a:pt x="68" y="122"/>
                  </a:lnTo>
                  <a:lnTo>
                    <a:pt x="62" y="122"/>
                  </a:lnTo>
                  <a:lnTo>
                    <a:pt x="56" y="122"/>
                  </a:lnTo>
                  <a:lnTo>
                    <a:pt x="50" y="121"/>
                  </a:lnTo>
                  <a:lnTo>
                    <a:pt x="44" y="119"/>
                  </a:lnTo>
                  <a:lnTo>
                    <a:pt x="39" y="117"/>
                  </a:lnTo>
                  <a:lnTo>
                    <a:pt x="28" y="112"/>
                  </a:lnTo>
                  <a:lnTo>
                    <a:pt x="19" y="105"/>
                  </a:lnTo>
                  <a:lnTo>
                    <a:pt x="11" y="95"/>
                  </a:lnTo>
                  <a:lnTo>
                    <a:pt x="5" y="85"/>
                  </a:lnTo>
                  <a:lnTo>
                    <a:pt x="2" y="72"/>
                  </a:lnTo>
                  <a:lnTo>
                    <a:pt x="0" y="60"/>
                  </a:lnTo>
                  <a:lnTo>
                    <a:pt x="2" y="48"/>
                  </a:lnTo>
                  <a:lnTo>
                    <a:pt x="5" y="37"/>
                  </a:lnTo>
                  <a:lnTo>
                    <a:pt x="11" y="27"/>
                  </a:lnTo>
                  <a:lnTo>
                    <a:pt x="19" y="17"/>
                  </a:lnTo>
                  <a:lnTo>
                    <a:pt x="28" y="9"/>
                  </a:lnTo>
                  <a:lnTo>
                    <a:pt x="39" y="4"/>
                  </a:lnTo>
                  <a:lnTo>
                    <a:pt x="50" y="1"/>
                  </a:lnTo>
                  <a:lnTo>
                    <a:pt x="62" y="0"/>
                  </a:lnTo>
                  <a:lnTo>
                    <a:pt x="74" y="1"/>
                  </a:lnTo>
                  <a:lnTo>
                    <a:pt x="86" y="4"/>
                  </a:lnTo>
                  <a:lnTo>
                    <a:pt x="97" y="9"/>
                  </a:lnTo>
                  <a:lnTo>
                    <a:pt x="105" y="17"/>
                  </a:lnTo>
                  <a:lnTo>
                    <a:pt x="113" y="27"/>
                  </a:lnTo>
                  <a:lnTo>
                    <a:pt x="119" y="37"/>
                  </a:lnTo>
                  <a:lnTo>
                    <a:pt x="123" y="48"/>
                  </a:lnTo>
                  <a:lnTo>
                    <a:pt x="124" y="60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86" name="Freeform 190">
              <a:extLst>
                <a:ext uri="{FF2B5EF4-FFF2-40B4-BE49-F238E27FC236}">
                  <a16:creationId xmlns:a16="http://schemas.microsoft.com/office/drawing/2014/main" id="{A88C9C8B-37C6-4810-B666-8FC81CAED7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5651" y="5845175"/>
              <a:ext cx="58738" cy="58738"/>
            </a:xfrm>
            <a:custGeom>
              <a:avLst/>
              <a:gdLst>
                <a:gd name="T0" fmla="*/ 63 w 147"/>
                <a:gd name="T1" fmla="*/ 25 h 147"/>
                <a:gd name="T2" fmla="*/ 46 w 147"/>
                <a:gd name="T3" fmla="*/ 32 h 147"/>
                <a:gd name="T4" fmla="*/ 32 w 147"/>
                <a:gd name="T5" fmla="*/ 46 h 147"/>
                <a:gd name="T6" fmla="*/ 25 w 147"/>
                <a:gd name="T7" fmla="*/ 63 h 147"/>
                <a:gd name="T8" fmla="*/ 25 w 147"/>
                <a:gd name="T9" fmla="*/ 83 h 147"/>
                <a:gd name="T10" fmla="*/ 32 w 147"/>
                <a:gd name="T11" fmla="*/ 101 h 147"/>
                <a:gd name="T12" fmla="*/ 46 w 147"/>
                <a:gd name="T13" fmla="*/ 115 h 147"/>
                <a:gd name="T14" fmla="*/ 63 w 147"/>
                <a:gd name="T15" fmla="*/ 122 h 147"/>
                <a:gd name="T16" fmla="*/ 83 w 147"/>
                <a:gd name="T17" fmla="*/ 122 h 147"/>
                <a:gd name="T18" fmla="*/ 100 w 147"/>
                <a:gd name="T19" fmla="*/ 115 h 147"/>
                <a:gd name="T20" fmla="*/ 114 w 147"/>
                <a:gd name="T21" fmla="*/ 101 h 147"/>
                <a:gd name="T22" fmla="*/ 121 w 147"/>
                <a:gd name="T23" fmla="*/ 83 h 147"/>
                <a:gd name="T24" fmla="*/ 121 w 147"/>
                <a:gd name="T25" fmla="*/ 63 h 147"/>
                <a:gd name="T26" fmla="*/ 114 w 147"/>
                <a:gd name="T27" fmla="*/ 46 h 147"/>
                <a:gd name="T28" fmla="*/ 100 w 147"/>
                <a:gd name="T29" fmla="*/ 32 h 147"/>
                <a:gd name="T30" fmla="*/ 83 w 147"/>
                <a:gd name="T31" fmla="*/ 25 h 147"/>
                <a:gd name="T32" fmla="*/ 73 w 147"/>
                <a:gd name="T33" fmla="*/ 147 h 147"/>
                <a:gd name="T34" fmla="*/ 58 w 147"/>
                <a:gd name="T35" fmla="*/ 146 h 147"/>
                <a:gd name="T36" fmla="*/ 45 w 147"/>
                <a:gd name="T37" fmla="*/ 141 h 147"/>
                <a:gd name="T38" fmla="*/ 32 w 147"/>
                <a:gd name="T39" fmla="*/ 135 h 147"/>
                <a:gd name="T40" fmla="*/ 21 w 147"/>
                <a:gd name="T41" fmla="*/ 125 h 147"/>
                <a:gd name="T42" fmla="*/ 13 w 147"/>
                <a:gd name="T43" fmla="*/ 115 h 147"/>
                <a:gd name="T44" fmla="*/ 5 w 147"/>
                <a:gd name="T45" fmla="*/ 103 h 147"/>
                <a:gd name="T46" fmla="*/ 1 w 147"/>
                <a:gd name="T47" fmla="*/ 88 h 147"/>
                <a:gd name="T48" fmla="*/ 0 w 147"/>
                <a:gd name="T49" fmla="*/ 73 h 147"/>
                <a:gd name="T50" fmla="*/ 1 w 147"/>
                <a:gd name="T51" fmla="*/ 58 h 147"/>
                <a:gd name="T52" fmla="*/ 5 w 147"/>
                <a:gd name="T53" fmla="*/ 45 h 147"/>
                <a:gd name="T54" fmla="*/ 13 w 147"/>
                <a:gd name="T55" fmla="*/ 32 h 147"/>
                <a:gd name="T56" fmla="*/ 21 w 147"/>
                <a:gd name="T57" fmla="*/ 21 h 147"/>
                <a:gd name="T58" fmla="*/ 32 w 147"/>
                <a:gd name="T59" fmla="*/ 13 h 147"/>
                <a:gd name="T60" fmla="*/ 45 w 147"/>
                <a:gd name="T61" fmla="*/ 6 h 147"/>
                <a:gd name="T62" fmla="*/ 58 w 147"/>
                <a:gd name="T63" fmla="*/ 1 h 147"/>
                <a:gd name="T64" fmla="*/ 73 w 147"/>
                <a:gd name="T65" fmla="*/ 0 h 147"/>
                <a:gd name="T66" fmla="*/ 88 w 147"/>
                <a:gd name="T67" fmla="*/ 1 h 147"/>
                <a:gd name="T68" fmla="*/ 102 w 147"/>
                <a:gd name="T69" fmla="*/ 6 h 147"/>
                <a:gd name="T70" fmla="*/ 114 w 147"/>
                <a:gd name="T71" fmla="*/ 13 h 147"/>
                <a:gd name="T72" fmla="*/ 125 w 147"/>
                <a:gd name="T73" fmla="*/ 21 h 147"/>
                <a:gd name="T74" fmla="*/ 134 w 147"/>
                <a:gd name="T75" fmla="*/ 32 h 147"/>
                <a:gd name="T76" fmla="*/ 141 w 147"/>
                <a:gd name="T77" fmla="*/ 45 h 147"/>
                <a:gd name="T78" fmla="*/ 145 w 147"/>
                <a:gd name="T79" fmla="*/ 58 h 147"/>
                <a:gd name="T80" fmla="*/ 147 w 147"/>
                <a:gd name="T81" fmla="*/ 73 h 147"/>
                <a:gd name="T82" fmla="*/ 145 w 147"/>
                <a:gd name="T83" fmla="*/ 88 h 147"/>
                <a:gd name="T84" fmla="*/ 141 w 147"/>
                <a:gd name="T85" fmla="*/ 103 h 147"/>
                <a:gd name="T86" fmla="*/ 134 w 147"/>
                <a:gd name="T87" fmla="*/ 115 h 147"/>
                <a:gd name="T88" fmla="*/ 125 w 147"/>
                <a:gd name="T89" fmla="*/ 125 h 147"/>
                <a:gd name="T90" fmla="*/ 114 w 147"/>
                <a:gd name="T91" fmla="*/ 135 h 147"/>
                <a:gd name="T92" fmla="*/ 102 w 147"/>
                <a:gd name="T93" fmla="*/ 141 h 147"/>
                <a:gd name="T94" fmla="*/ 88 w 147"/>
                <a:gd name="T95" fmla="*/ 146 h 147"/>
                <a:gd name="T96" fmla="*/ 73 w 147"/>
                <a:gd name="T9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7" h="147">
                  <a:moveTo>
                    <a:pt x="73" y="24"/>
                  </a:moveTo>
                  <a:lnTo>
                    <a:pt x="63" y="25"/>
                  </a:lnTo>
                  <a:lnTo>
                    <a:pt x="55" y="29"/>
                  </a:lnTo>
                  <a:lnTo>
                    <a:pt x="46" y="32"/>
                  </a:lnTo>
                  <a:lnTo>
                    <a:pt x="39" y="38"/>
                  </a:lnTo>
                  <a:lnTo>
                    <a:pt x="32" y="46"/>
                  </a:lnTo>
                  <a:lnTo>
                    <a:pt x="27" y="55"/>
                  </a:lnTo>
                  <a:lnTo>
                    <a:pt x="25" y="63"/>
                  </a:lnTo>
                  <a:lnTo>
                    <a:pt x="24" y="73"/>
                  </a:lnTo>
                  <a:lnTo>
                    <a:pt x="25" y="83"/>
                  </a:lnTo>
                  <a:lnTo>
                    <a:pt x="27" y="93"/>
                  </a:lnTo>
                  <a:lnTo>
                    <a:pt x="32" y="101"/>
                  </a:lnTo>
                  <a:lnTo>
                    <a:pt x="39" y="109"/>
                  </a:lnTo>
                  <a:lnTo>
                    <a:pt x="46" y="115"/>
                  </a:lnTo>
                  <a:lnTo>
                    <a:pt x="55" y="119"/>
                  </a:lnTo>
                  <a:lnTo>
                    <a:pt x="63" y="122"/>
                  </a:lnTo>
                  <a:lnTo>
                    <a:pt x="73" y="122"/>
                  </a:lnTo>
                  <a:lnTo>
                    <a:pt x="83" y="122"/>
                  </a:lnTo>
                  <a:lnTo>
                    <a:pt x="93" y="119"/>
                  </a:lnTo>
                  <a:lnTo>
                    <a:pt x="100" y="115"/>
                  </a:lnTo>
                  <a:lnTo>
                    <a:pt x="108" y="109"/>
                  </a:lnTo>
                  <a:lnTo>
                    <a:pt x="114" y="101"/>
                  </a:lnTo>
                  <a:lnTo>
                    <a:pt x="119" y="93"/>
                  </a:lnTo>
                  <a:lnTo>
                    <a:pt x="121" y="83"/>
                  </a:lnTo>
                  <a:lnTo>
                    <a:pt x="123" y="73"/>
                  </a:lnTo>
                  <a:lnTo>
                    <a:pt x="121" y="63"/>
                  </a:lnTo>
                  <a:lnTo>
                    <a:pt x="119" y="55"/>
                  </a:lnTo>
                  <a:lnTo>
                    <a:pt x="114" y="46"/>
                  </a:lnTo>
                  <a:lnTo>
                    <a:pt x="108" y="38"/>
                  </a:lnTo>
                  <a:lnTo>
                    <a:pt x="100" y="32"/>
                  </a:lnTo>
                  <a:lnTo>
                    <a:pt x="93" y="29"/>
                  </a:lnTo>
                  <a:lnTo>
                    <a:pt x="83" y="25"/>
                  </a:lnTo>
                  <a:lnTo>
                    <a:pt x="73" y="24"/>
                  </a:lnTo>
                  <a:close/>
                  <a:moveTo>
                    <a:pt x="73" y="147"/>
                  </a:moveTo>
                  <a:lnTo>
                    <a:pt x="66" y="147"/>
                  </a:lnTo>
                  <a:lnTo>
                    <a:pt x="58" y="146"/>
                  </a:lnTo>
                  <a:lnTo>
                    <a:pt x="51" y="143"/>
                  </a:lnTo>
                  <a:lnTo>
                    <a:pt x="45" y="141"/>
                  </a:lnTo>
                  <a:lnTo>
                    <a:pt x="39" y="139"/>
                  </a:lnTo>
                  <a:lnTo>
                    <a:pt x="32" y="135"/>
                  </a:lnTo>
                  <a:lnTo>
                    <a:pt x="26" y="130"/>
                  </a:lnTo>
                  <a:lnTo>
                    <a:pt x="21" y="125"/>
                  </a:lnTo>
                  <a:lnTo>
                    <a:pt x="16" y="120"/>
                  </a:lnTo>
                  <a:lnTo>
                    <a:pt x="13" y="115"/>
                  </a:lnTo>
                  <a:lnTo>
                    <a:pt x="9" y="109"/>
                  </a:lnTo>
                  <a:lnTo>
                    <a:pt x="5" y="103"/>
                  </a:lnTo>
                  <a:lnTo>
                    <a:pt x="3" y="95"/>
                  </a:lnTo>
                  <a:lnTo>
                    <a:pt x="1" y="88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0" y="66"/>
                  </a:lnTo>
                  <a:lnTo>
                    <a:pt x="1" y="58"/>
                  </a:lnTo>
                  <a:lnTo>
                    <a:pt x="3" y="52"/>
                  </a:lnTo>
                  <a:lnTo>
                    <a:pt x="5" y="45"/>
                  </a:lnTo>
                  <a:lnTo>
                    <a:pt x="9" y="38"/>
                  </a:lnTo>
                  <a:lnTo>
                    <a:pt x="13" y="32"/>
                  </a:lnTo>
                  <a:lnTo>
                    <a:pt x="16" y="27"/>
                  </a:lnTo>
                  <a:lnTo>
                    <a:pt x="21" y="21"/>
                  </a:lnTo>
                  <a:lnTo>
                    <a:pt x="26" y="17"/>
                  </a:lnTo>
                  <a:lnTo>
                    <a:pt x="32" y="13"/>
                  </a:lnTo>
                  <a:lnTo>
                    <a:pt x="39" y="9"/>
                  </a:lnTo>
                  <a:lnTo>
                    <a:pt x="45" y="6"/>
                  </a:lnTo>
                  <a:lnTo>
                    <a:pt x="51" y="4"/>
                  </a:lnTo>
                  <a:lnTo>
                    <a:pt x="58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5" y="4"/>
                  </a:lnTo>
                  <a:lnTo>
                    <a:pt x="102" y="6"/>
                  </a:lnTo>
                  <a:lnTo>
                    <a:pt x="108" y="9"/>
                  </a:lnTo>
                  <a:lnTo>
                    <a:pt x="114" y="13"/>
                  </a:lnTo>
                  <a:lnTo>
                    <a:pt x="120" y="17"/>
                  </a:lnTo>
                  <a:lnTo>
                    <a:pt x="125" y="21"/>
                  </a:lnTo>
                  <a:lnTo>
                    <a:pt x="130" y="27"/>
                  </a:lnTo>
                  <a:lnTo>
                    <a:pt x="134" y="32"/>
                  </a:lnTo>
                  <a:lnTo>
                    <a:pt x="137" y="38"/>
                  </a:lnTo>
                  <a:lnTo>
                    <a:pt x="141" y="45"/>
                  </a:lnTo>
                  <a:lnTo>
                    <a:pt x="144" y="52"/>
                  </a:lnTo>
                  <a:lnTo>
                    <a:pt x="145" y="58"/>
                  </a:lnTo>
                  <a:lnTo>
                    <a:pt x="146" y="66"/>
                  </a:lnTo>
                  <a:lnTo>
                    <a:pt x="147" y="73"/>
                  </a:lnTo>
                  <a:lnTo>
                    <a:pt x="146" y="80"/>
                  </a:lnTo>
                  <a:lnTo>
                    <a:pt x="145" y="88"/>
                  </a:lnTo>
                  <a:lnTo>
                    <a:pt x="144" y="95"/>
                  </a:lnTo>
                  <a:lnTo>
                    <a:pt x="141" y="103"/>
                  </a:lnTo>
                  <a:lnTo>
                    <a:pt x="137" y="109"/>
                  </a:lnTo>
                  <a:lnTo>
                    <a:pt x="134" y="115"/>
                  </a:lnTo>
                  <a:lnTo>
                    <a:pt x="130" y="120"/>
                  </a:lnTo>
                  <a:lnTo>
                    <a:pt x="125" y="125"/>
                  </a:lnTo>
                  <a:lnTo>
                    <a:pt x="120" y="130"/>
                  </a:lnTo>
                  <a:lnTo>
                    <a:pt x="114" y="135"/>
                  </a:lnTo>
                  <a:lnTo>
                    <a:pt x="108" y="139"/>
                  </a:lnTo>
                  <a:lnTo>
                    <a:pt x="102" y="141"/>
                  </a:lnTo>
                  <a:lnTo>
                    <a:pt x="95" y="143"/>
                  </a:lnTo>
                  <a:lnTo>
                    <a:pt x="88" y="146"/>
                  </a:lnTo>
                  <a:lnTo>
                    <a:pt x="81" y="147"/>
                  </a:lnTo>
                  <a:lnTo>
                    <a:pt x="73" y="147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87" name="Freeform 191">
              <a:extLst>
                <a:ext uri="{FF2B5EF4-FFF2-40B4-BE49-F238E27FC236}">
                  <a16:creationId xmlns:a16="http://schemas.microsoft.com/office/drawing/2014/main" id="{76C9CCE2-C28C-40CE-99AA-BAE9260667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001" y="5640388"/>
              <a:ext cx="11113" cy="36513"/>
            </a:xfrm>
            <a:custGeom>
              <a:avLst/>
              <a:gdLst>
                <a:gd name="T0" fmla="*/ 13 w 25"/>
                <a:gd name="T1" fmla="*/ 93 h 93"/>
                <a:gd name="T2" fmla="*/ 8 w 25"/>
                <a:gd name="T3" fmla="*/ 93 h 93"/>
                <a:gd name="T4" fmla="*/ 4 w 25"/>
                <a:gd name="T5" fmla="*/ 89 h 93"/>
                <a:gd name="T6" fmla="*/ 2 w 25"/>
                <a:gd name="T7" fmla="*/ 85 h 93"/>
                <a:gd name="T8" fmla="*/ 0 w 25"/>
                <a:gd name="T9" fmla="*/ 80 h 93"/>
                <a:gd name="T10" fmla="*/ 0 w 25"/>
                <a:gd name="T11" fmla="*/ 13 h 93"/>
                <a:gd name="T12" fmla="*/ 2 w 25"/>
                <a:gd name="T13" fmla="*/ 8 h 93"/>
                <a:gd name="T14" fmla="*/ 4 w 25"/>
                <a:gd name="T15" fmla="*/ 4 h 93"/>
                <a:gd name="T16" fmla="*/ 8 w 25"/>
                <a:gd name="T17" fmla="*/ 1 h 93"/>
                <a:gd name="T18" fmla="*/ 13 w 25"/>
                <a:gd name="T19" fmla="*/ 0 h 93"/>
                <a:gd name="T20" fmla="*/ 18 w 25"/>
                <a:gd name="T21" fmla="*/ 1 h 93"/>
                <a:gd name="T22" fmla="*/ 21 w 25"/>
                <a:gd name="T23" fmla="*/ 4 h 93"/>
                <a:gd name="T24" fmla="*/ 24 w 25"/>
                <a:gd name="T25" fmla="*/ 8 h 93"/>
                <a:gd name="T26" fmla="*/ 25 w 25"/>
                <a:gd name="T27" fmla="*/ 13 h 93"/>
                <a:gd name="T28" fmla="*/ 25 w 25"/>
                <a:gd name="T29" fmla="*/ 80 h 93"/>
                <a:gd name="T30" fmla="*/ 24 w 25"/>
                <a:gd name="T31" fmla="*/ 85 h 93"/>
                <a:gd name="T32" fmla="*/ 21 w 25"/>
                <a:gd name="T33" fmla="*/ 89 h 93"/>
                <a:gd name="T34" fmla="*/ 18 w 25"/>
                <a:gd name="T35" fmla="*/ 93 h 93"/>
                <a:gd name="T36" fmla="*/ 13 w 25"/>
                <a:gd name="T3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93">
                  <a:moveTo>
                    <a:pt x="13" y="93"/>
                  </a:moveTo>
                  <a:lnTo>
                    <a:pt x="8" y="93"/>
                  </a:lnTo>
                  <a:lnTo>
                    <a:pt x="4" y="89"/>
                  </a:lnTo>
                  <a:lnTo>
                    <a:pt x="2" y="85"/>
                  </a:lnTo>
                  <a:lnTo>
                    <a:pt x="0" y="80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8" y="1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5" y="13"/>
                  </a:lnTo>
                  <a:lnTo>
                    <a:pt x="25" y="80"/>
                  </a:lnTo>
                  <a:lnTo>
                    <a:pt x="24" y="85"/>
                  </a:lnTo>
                  <a:lnTo>
                    <a:pt x="21" y="89"/>
                  </a:lnTo>
                  <a:lnTo>
                    <a:pt x="18" y="93"/>
                  </a:lnTo>
                  <a:lnTo>
                    <a:pt x="13" y="93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88" name="Freeform 192">
              <a:extLst>
                <a:ext uri="{FF2B5EF4-FFF2-40B4-BE49-F238E27FC236}">
                  <a16:creationId xmlns:a16="http://schemas.microsoft.com/office/drawing/2014/main" id="{1F9C5A81-3E82-4675-98CD-D5EFD6512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8513" y="5640388"/>
              <a:ext cx="9525" cy="36513"/>
            </a:xfrm>
            <a:custGeom>
              <a:avLst/>
              <a:gdLst>
                <a:gd name="T0" fmla="*/ 13 w 25"/>
                <a:gd name="T1" fmla="*/ 93 h 93"/>
                <a:gd name="T2" fmla="*/ 8 w 25"/>
                <a:gd name="T3" fmla="*/ 93 h 93"/>
                <a:gd name="T4" fmla="*/ 4 w 25"/>
                <a:gd name="T5" fmla="*/ 89 h 93"/>
                <a:gd name="T6" fmla="*/ 1 w 25"/>
                <a:gd name="T7" fmla="*/ 85 h 93"/>
                <a:gd name="T8" fmla="*/ 0 w 25"/>
                <a:gd name="T9" fmla="*/ 80 h 93"/>
                <a:gd name="T10" fmla="*/ 0 w 25"/>
                <a:gd name="T11" fmla="*/ 13 h 93"/>
                <a:gd name="T12" fmla="*/ 1 w 25"/>
                <a:gd name="T13" fmla="*/ 8 h 93"/>
                <a:gd name="T14" fmla="*/ 4 w 25"/>
                <a:gd name="T15" fmla="*/ 4 h 93"/>
                <a:gd name="T16" fmla="*/ 8 w 25"/>
                <a:gd name="T17" fmla="*/ 1 h 93"/>
                <a:gd name="T18" fmla="*/ 13 w 25"/>
                <a:gd name="T19" fmla="*/ 0 h 93"/>
                <a:gd name="T20" fmla="*/ 18 w 25"/>
                <a:gd name="T21" fmla="*/ 1 h 93"/>
                <a:gd name="T22" fmla="*/ 21 w 25"/>
                <a:gd name="T23" fmla="*/ 4 h 93"/>
                <a:gd name="T24" fmla="*/ 24 w 25"/>
                <a:gd name="T25" fmla="*/ 8 h 93"/>
                <a:gd name="T26" fmla="*/ 25 w 25"/>
                <a:gd name="T27" fmla="*/ 13 h 93"/>
                <a:gd name="T28" fmla="*/ 25 w 25"/>
                <a:gd name="T29" fmla="*/ 80 h 93"/>
                <a:gd name="T30" fmla="*/ 24 w 25"/>
                <a:gd name="T31" fmla="*/ 85 h 93"/>
                <a:gd name="T32" fmla="*/ 21 w 25"/>
                <a:gd name="T33" fmla="*/ 89 h 93"/>
                <a:gd name="T34" fmla="*/ 18 w 25"/>
                <a:gd name="T35" fmla="*/ 93 h 93"/>
                <a:gd name="T36" fmla="*/ 13 w 25"/>
                <a:gd name="T3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93">
                  <a:moveTo>
                    <a:pt x="13" y="93"/>
                  </a:moveTo>
                  <a:lnTo>
                    <a:pt x="8" y="93"/>
                  </a:lnTo>
                  <a:lnTo>
                    <a:pt x="4" y="89"/>
                  </a:lnTo>
                  <a:lnTo>
                    <a:pt x="1" y="85"/>
                  </a:lnTo>
                  <a:lnTo>
                    <a:pt x="0" y="80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8" y="1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5" y="13"/>
                  </a:lnTo>
                  <a:lnTo>
                    <a:pt x="25" y="80"/>
                  </a:lnTo>
                  <a:lnTo>
                    <a:pt x="24" y="85"/>
                  </a:lnTo>
                  <a:lnTo>
                    <a:pt x="21" y="89"/>
                  </a:lnTo>
                  <a:lnTo>
                    <a:pt x="18" y="93"/>
                  </a:lnTo>
                  <a:lnTo>
                    <a:pt x="13" y="93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89" name="Freeform 193">
              <a:extLst>
                <a:ext uri="{FF2B5EF4-FFF2-40B4-BE49-F238E27FC236}">
                  <a16:creationId xmlns:a16="http://schemas.microsoft.com/office/drawing/2014/main" id="{DDFA9180-0F49-48BC-9F7E-05F44BB6C7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1838" y="5599113"/>
              <a:ext cx="106363" cy="50800"/>
            </a:xfrm>
            <a:custGeom>
              <a:avLst/>
              <a:gdLst>
                <a:gd name="T0" fmla="*/ 37 w 266"/>
                <a:gd name="T1" fmla="*/ 25 h 130"/>
                <a:gd name="T2" fmla="*/ 31 w 266"/>
                <a:gd name="T3" fmla="*/ 27 h 130"/>
                <a:gd name="T4" fmla="*/ 27 w 266"/>
                <a:gd name="T5" fmla="*/ 32 h 130"/>
                <a:gd name="T6" fmla="*/ 23 w 266"/>
                <a:gd name="T7" fmla="*/ 39 h 130"/>
                <a:gd name="T8" fmla="*/ 23 w 266"/>
                <a:gd name="T9" fmla="*/ 88 h 130"/>
                <a:gd name="T10" fmla="*/ 25 w 266"/>
                <a:gd name="T11" fmla="*/ 95 h 130"/>
                <a:gd name="T12" fmla="*/ 28 w 266"/>
                <a:gd name="T13" fmla="*/ 100 h 130"/>
                <a:gd name="T14" fmla="*/ 35 w 266"/>
                <a:gd name="T15" fmla="*/ 104 h 130"/>
                <a:gd name="T16" fmla="*/ 41 w 266"/>
                <a:gd name="T17" fmla="*/ 105 h 130"/>
                <a:gd name="T18" fmla="*/ 227 w 266"/>
                <a:gd name="T19" fmla="*/ 105 h 130"/>
                <a:gd name="T20" fmla="*/ 233 w 266"/>
                <a:gd name="T21" fmla="*/ 103 h 130"/>
                <a:gd name="T22" fmla="*/ 238 w 266"/>
                <a:gd name="T23" fmla="*/ 98 h 130"/>
                <a:gd name="T24" fmla="*/ 241 w 266"/>
                <a:gd name="T25" fmla="*/ 92 h 130"/>
                <a:gd name="T26" fmla="*/ 241 w 266"/>
                <a:gd name="T27" fmla="*/ 42 h 130"/>
                <a:gd name="T28" fmla="*/ 240 w 266"/>
                <a:gd name="T29" fmla="*/ 35 h 130"/>
                <a:gd name="T30" fmla="*/ 236 w 266"/>
                <a:gd name="T31" fmla="*/ 30 h 130"/>
                <a:gd name="T32" fmla="*/ 231 w 266"/>
                <a:gd name="T33" fmla="*/ 26 h 130"/>
                <a:gd name="T34" fmla="*/ 224 w 266"/>
                <a:gd name="T35" fmla="*/ 25 h 130"/>
                <a:gd name="T36" fmla="*/ 224 w 266"/>
                <a:gd name="T37" fmla="*/ 130 h 130"/>
                <a:gd name="T38" fmla="*/ 32 w 266"/>
                <a:gd name="T39" fmla="*/ 129 h 130"/>
                <a:gd name="T40" fmla="*/ 17 w 266"/>
                <a:gd name="T41" fmla="*/ 123 h 130"/>
                <a:gd name="T42" fmla="*/ 6 w 266"/>
                <a:gd name="T43" fmla="*/ 111 h 130"/>
                <a:gd name="T44" fmla="*/ 0 w 266"/>
                <a:gd name="T45" fmla="*/ 97 h 130"/>
                <a:gd name="T46" fmla="*/ 0 w 266"/>
                <a:gd name="T47" fmla="*/ 42 h 130"/>
                <a:gd name="T48" fmla="*/ 2 w 266"/>
                <a:gd name="T49" fmla="*/ 26 h 130"/>
                <a:gd name="T50" fmla="*/ 11 w 266"/>
                <a:gd name="T51" fmla="*/ 13 h 130"/>
                <a:gd name="T52" fmla="*/ 25 w 266"/>
                <a:gd name="T53" fmla="*/ 4 h 130"/>
                <a:gd name="T54" fmla="*/ 41 w 266"/>
                <a:gd name="T55" fmla="*/ 0 h 130"/>
                <a:gd name="T56" fmla="*/ 232 w 266"/>
                <a:gd name="T57" fmla="*/ 1 h 130"/>
                <a:gd name="T58" fmla="*/ 247 w 266"/>
                <a:gd name="T59" fmla="*/ 8 h 130"/>
                <a:gd name="T60" fmla="*/ 258 w 266"/>
                <a:gd name="T61" fmla="*/ 19 h 130"/>
                <a:gd name="T62" fmla="*/ 264 w 266"/>
                <a:gd name="T63" fmla="*/ 34 h 130"/>
                <a:gd name="T64" fmla="*/ 266 w 266"/>
                <a:gd name="T65" fmla="*/ 88 h 130"/>
                <a:gd name="T66" fmla="*/ 262 w 266"/>
                <a:gd name="T67" fmla="*/ 104 h 130"/>
                <a:gd name="T68" fmla="*/ 253 w 266"/>
                <a:gd name="T69" fmla="*/ 118 h 130"/>
                <a:gd name="T70" fmla="*/ 240 w 266"/>
                <a:gd name="T71" fmla="*/ 126 h 130"/>
                <a:gd name="T72" fmla="*/ 224 w 266"/>
                <a:gd name="T7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6" h="130">
                  <a:moveTo>
                    <a:pt x="41" y="25"/>
                  </a:moveTo>
                  <a:lnTo>
                    <a:pt x="37" y="25"/>
                  </a:lnTo>
                  <a:lnTo>
                    <a:pt x="35" y="26"/>
                  </a:lnTo>
                  <a:lnTo>
                    <a:pt x="31" y="27"/>
                  </a:lnTo>
                  <a:lnTo>
                    <a:pt x="28" y="30"/>
                  </a:lnTo>
                  <a:lnTo>
                    <a:pt x="27" y="32"/>
                  </a:lnTo>
                  <a:lnTo>
                    <a:pt x="25" y="35"/>
                  </a:lnTo>
                  <a:lnTo>
                    <a:pt x="23" y="39"/>
                  </a:lnTo>
                  <a:lnTo>
                    <a:pt x="23" y="42"/>
                  </a:lnTo>
                  <a:lnTo>
                    <a:pt x="23" y="88"/>
                  </a:lnTo>
                  <a:lnTo>
                    <a:pt x="23" y="92"/>
                  </a:lnTo>
                  <a:lnTo>
                    <a:pt x="25" y="95"/>
                  </a:lnTo>
                  <a:lnTo>
                    <a:pt x="27" y="98"/>
                  </a:lnTo>
                  <a:lnTo>
                    <a:pt x="28" y="100"/>
                  </a:lnTo>
                  <a:lnTo>
                    <a:pt x="31" y="103"/>
                  </a:lnTo>
                  <a:lnTo>
                    <a:pt x="35" y="104"/>
                  </a:lnTo>
                  <a:lnTo>
                    <a:pt x="37" y="105"/>
                  </a:lnTo>
                  <a:lnTo>
                    <a:pt x="41" y="105"/>
                  </a:lnTo>
                  <a:lnTo>
                    <a:pt x="224" y="105"/>
                  </a:lnTo>
                  <a:lnTo>
                    <a:pt x="227" y="105"/>
                  </a:lnTo>
                  <a:lnTo>
                    <a:pt x="231" y="104"/>
                  </a:lnTo>
                  <a:lnTo>
                    <a:pt x="233" y="103"/>
                  </a:lnTo>
                  <a:lnTo>
                    <a:pt x="236" y="100"/>
                  </a:lnTo>
                  <a:lnTo>
                    <a:pt x="238" y="98"/>
                  </a:lnTo>
                  <a:lnTo>
                    <a:pt x="240" y="95"/>
                  </a:lnTo>
                  <a:lnTo>
                    <a:pt x="241" y="92"/>
                  </a:lnTo>
                  <a:lnTo>
                    <a:pt x="241" y="88"/>
                  </a:lnTo>
                  <a:lnTo>
                    <a:pt x="241" y="42"/>
                  </a:lnTo>
                  <a:lnTo>
                    <a:pt x="241" y="39"/>
                  </a:lnTo>
                  <a:lnTo>
                    <a:pt x="240" y="35"/>
                  </a:lnTo>
                  <a:lnTo>
                    <a:pt x="238" y="32"/>
                  </a:lnTo>
                  <a:lnTo>
                    <a:pt x="236" y="30"/>
                  </a:lnTo>
                  <a:lnTo>
                    <a:pt x="233" y="27"/>
                  </a:lnTo>
                  <a:lnTo>
                    <a:pt x="231" y="26"/>
                  </a:lnTo>
                  <a:lnTo>
                    <a:pt x="227" y="25"/>
                  </a:lnTo>
                  <a:lnTo>
                    <a:pt x="224" y="25"/>
                  </a:lnTo>
                  <a:lnTo>
                    <a:pt x="41" y="25"/>
                  </a:lnTo>
                  <a:close/>
                  <a:moveTo>
                    <a:pt x="224" y="130"/>
                  </a:moveTo>
                  <a:lnTo>
                    <a:pt x="41" y="130"/>
                  </a:lnTo>
                  <a:lnTo>
                    <a:pt x="32" y="129"/>
                  </a:lnTo>
                  <a:lnTo>
                    <a:pt x="25" y="126"/>
                  </a:lnTo>
                  <a:lnTo>
                    <a:pt x="17" y="123"/>
                  </a:lnTo>
                  <a:lnTo>
                    <a:pt x="11" y="118"/>
                  </a:lnTo>
                  <a:lnTo>
                    <a:pt x="6" y="111"/>
                  </a:lnTo>
                  <a:lnTo>
                    <a:pt x="2" y="104"/>
                  </a:lnTo>
                  <a:lnTo>
                    <a:pt x="0" y="97"/>
                  </a:lnTo>
                  <a:lnTo>
                    <a:pt x="0" y="88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6" y="19"/>
                  </a:lnTo>
                  <a:lnTo>
                    <a:pt x="11" y="13"/>
                  </a:lnTo>
                  <a:lnTo>
                    <a:pt x="17" y="8"/>
                  </a:lnTo>
                  <a:lnTo>
                    <a:pt x="25" y="4"/>
                  </a:lnTo>
                  <a:lnTo>
                    <a:pt x="32" y="1"/>
                  </a:lnTo>
                  <a:lnTo>
                    <a:pt x="41" y="0"/>
                  </a:lnTo>
                  <a:lnTo>
                    <a:pt x="224" y="0"/>
                  </a:lnTo>
                  <a:lnTo>
                    <a:pt x="232" y="1"/>
                  </a:lnTo>
                  <a:lnTo>
                    <a:pt x="240" y="4"/>
                  </a:lnTo>
                  <a:lnTo>
                    <a:pt x="247" y="8"/>
                  </a:lnTo>
                  <a:lnTo>
                    <a:pt x="253" y="13"/>
                  </a:lnTo>
                  <a:lnTo>
                    <a:pt x="258" y="19"/>
                  </a:lnTo>
                  <a:lnTo>
                    <a:pt x="262" y="26"/>
                  </a:lnTo>
                  <a:lnTo>
                    <a:pt x="264" y="34"/>
                  </a:lnTo>
                  <a:lnTo>
                    <a:pt x="266" y="42"/>
                  </a:lnTo>
                  <a:lnTo>
                    <a:pt x="266" y="88"/>
                  </a:lnTo>
                  <a:lnTo>
                    <a:pt x="264" y="97"/>
                  </a:lnTo>
                  <a:lnTo>
                    <a:pt x="262" y="104"/>
                  </a:lnTo>
                  <a:lnTo>
                    <a:pt x="258" y="111"/>
                  </a:lnTo>
                  <a:lnTo>
                    <a:pt x="253" y="118"/>
                  </a:lnTo>
                  <a:lnTo>
                    <a:pt x="247" y="123"/>
                  </a:lnTo>
                  <a:lnTo>
                    <a:pt x="240" y="126"/>
                  </a:lnTo>
                  <a:lnTo>
                    <a:pt x="232" y="129"/>
                  </a:lnTo>
                  <a:lnTo>
                    <a:pt x="224" y="13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93" name="Freeform 194">
              <a:extLst>
                <a:ext uri="{FF2B5EF4-FFF2-40B4-BE49-F238E27FC236}">
                  <a16:creationId xmlns:a16="http://schemas.microsoft.com/office/drawing/2014/main" id="{830961E0-D8B8-45D8-A442-8DA1587F2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463" y="5740400"/>
              <a:ext cx="11113" cy="114300"/>
            </a:xfrm>
            <a:custGeom>
              <a:avLst/>
              <a:gdLst>
                <a:gd name="T0" fmla="*/ 12 w 24"/>
                <a:gd name="T1" fmla="*/ 287 h 287"/>
                <a:gd name="T2" fmla="*/ 7 w 24"/>
                <a:gd name="T3" fmla="*/ 287 h 287"/>
                <a:gd name="T4" fmla="*/ 3 w 24"/>
                <a:gd name="T5" fmla="*/ 284 h 287"/>
                <a:gd name="T6" fmla="*/ 1 w 24"/>
                <a:gd name="T7" fmla="*/ 279 h 287"/>
                <a:gd name="T8" fmla="*/ 0 w 24"/>
                <a:gd name="T9" fmla="*/ 276 h 287"/>
                <a:gd name="T10" fmla="*/ 0 w 24"/>
                <a:gd name="T11" fmla="*/ 13 h 287"/>
                <a:gd name="T12" fmla="*/ 1 w 24"/>
                <a:gd name="T13" fmla="*/ 8 h 287"/>
                <a:gd name="T14" fmla="*/ 3 w 24"/>
                <a:gd name="T15" fmla="*/ 4 h 287"/>
                <a:gd name="T16" fmla="*/ 7 w 24"/>
                <a:gd name="T17" fmla="*/ 1 h 287"/>
                <a:gd name="T18" fmla="*/ 12 w 24"/>
                <a:gd name="T19" fmla="*/ 0 h 287"/>
                <a:gd name="T20" fmla="*/ 17 w 24"/>
                <a:gd name="T21" fmla="*/ 1 h 287"/>
                <a:gd name="T22" fmla="*/ 21 w 24"/>
                <a:gd name="T23" fmla="*/ 4 h 287"/>
                <a:gd name="T24" fmla="*/ 23 w 24"/>
                <a:gd name="T25" fmla="*/ 8 h 287"/>
                <a:gd name="T26" fmla="*/ 24 w 24"/>
                <a:gd name="T27" fmla="*/ 13 h 287"/>
                <a:gd name="T28" fmla="*/ 24 w 24"/>
                <a:gd name="T29" fmla="*/ 276 h 287"/>
                <a:gd name="T30" fmla="*/ 23 w 24"/>
                <a:gd name="T31" fmla="*/ 279 h 287"/>
                <a:gd name="T32" fmla="*/ 21 w 24"/>
                <a:gd name="T33" fmla="*/ 284 h 287"/>
                <a:gd name="T34" fmla="*/ 17 w 24"/>
                <a:gd name="T35" fmla="*/ 287 h 287"/>
                <a:gd name="T36" fmla="*/ 12 w 24"/>
                <a:gd name="T37" fmla="*/ 287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7">
                  <a:moveTo>
                    <a:pt x="12" y="287"/>
                  </a:moveTo>
                  <a:lnTo>
                    <a:pt x="7" y="287"/>
                  </a:lnTo>
                  <a:lnTo>
                    <a:pt x="3" y="284"/>
                  </a:lnTo>
                  <a:lnTo>
                    <a:pt x="1" y="279"/>
                  </a:lnTo>
                  <a:lnTo>
                    <a:pt x="0" y="276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276"/>
                  </a:lnTo>
                  <a:lnTo>
                    <a:pt x="23" y="279"/>
                  </a:lnTo>
                  <a:lnTo>
                    <a:pt x="21" y="284"/>
                  </a:lnTo>
                  <a:lnTo>
                    <a:pt x="17" y="287"/>
                  </a:lnTo>
                  <a:lnTo>
                    <a:pt x="12" y="287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94" name="Freeform 195">
              <a:extLst>
                <a:ext uri="{FF2B5EF4-FFF2-40B4-BE49-F238E27FC236}">
                  <a16:creationId xmlns:a16="http://schemas.microsoft.com/office/drawing/2014/main" id="{7AB12491-C747-429D-A47A-80C4666E4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463" y="5895975"/>
              <a:ext cx="11113" cy="46038"/>
            </a:xfrm>
            <a:custGeom>
              <a:avLst/>
              <a:gdLst>
                <a:gd name="T0" fmla="*/ 12 w 24"/>
                <a:gd name="T1" fmla="*/ 117 h 117"/>
                <a:gd name="T2" fmla="*/ 7 w 24"/>
                <a:gd name="T3" fmla="*/ 115 h 117"/>
                <a:gd name="T4" fmla="*/ 3 w 24"/>
                <a:gd name="T5" fmla="*/ 113 h 117"/>
                <a:gd name="T6" fmla="*/ 1 w 24"/>
                <a:gd name="T7" fmla="*/ 109 h 117"/>
                <a:gd name="T8" fmla="*/ 0 w 24"/>
                <a:gd name="T9" fmla="*/ 104 h 117"/>
                <a:gd name="T10" fmla="*/ 0 w 24"/>
                <a:gd name="T11" fmla="*/ 13 h 117"/>
                <a:gd name="T12" fmla="*/ 1 w 24"/>
                <a:gd name="T13" fmla="*/ 8 h 117"/>
                <a:gd name="T14" fmla="*/ 3 w 24"/>
                <a:gd name="T15" fmla="*/ 4 h 117"/>
                <a:gd name="T16" fmla="*/ 7 w 24"/>
                <a:gd name="T17" fmla="*/ 2 h 117"/>
                <a:gd name="T18" fmla="*/ 12 w 24"/>
                <a:gd name="T19" fmla="*/ 0 h 117"/>
                <a:gd name="T20" fmla="*/ 17 w 24"/>
                <a:gd name="T21" fmla="*/ 2 h 117"/>
                <a:gd name="T22" fmla="*/ 21 w 24"/>
                <a:gd name="T23" fmla="*/ 4 h 117"/>
                <a:gd name="T24" fmla="*/ 23 w 24"/>
                <a:gd name="T25" fmla="*/ 8 h 117"/>
                <a:gd name="T26" fmla="*/ 24 w 24"/>
                <a:gd name="T27" fmla="*/ 13 h 117"/>
                <a:gd name="T28" fmla="*/ 24 w 24"/>
                <a:gd name="T29" fmla="*/ 104 h 117"/>
                <a:gd name="T30" fmla="*/ 23 w 24"/>
                <a:gd name="T31" fmla="*/ 109 h 117"/>
                <a:gd name="T32" fmla="*/ 21 w 24"/>
                <a:gd name="T33" fmla="*/ 113 h 117"/>
                <a:gd name="T34" fmla="*/ 17 w 24"/>
                <a:gd name="T35" fmla="*/ 115 h 117"/>
                <a:gd name="T36" fmla="*/ 12 w 24"/>
                <a:gd name="T3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17">
                  <a:moveTo>
                    <a:pt x="12" y="117"/>
                  </a:moveTo>
                  <a:lnTo>
                    <a:pt x="7" y="115"/>
                  </a:lnTo>
                  <a:lnTo>
                    <a:pt x="3" y="113"/>
                  </a:lnTo>
                  <a:lnTo>
                    <a:pt x="1" y="109"/>
                  </a:lnTo>
                  <a:lnTo>
                    <a:pt x="0" y="104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04"/>
                  </a:lnTo>
                  <a:lnTo>
                    <a:pt x="23" y="109"/>
                  </a:lnTo>
                  <a:lnTo>
                    <a:pt x="21" y="113"/>
                  </a:lnTo>
                  <a:lnTo>
                    <a:pt x="17" y="115"/>
                  </a:lnTo>
                  <a:lnTo>
                    <a:pt x="12" y="117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95" name="Freeform 196">
              <a:extLst>
                <a:ext uri="{FF2B5EF4-FFF2-40B4-BE49-F238E27FC236}">
                  <a16:creationId xmlns:a16="http://schemas.microsoft.com/office/drawing/2014/main" id="{165781C9-EC42-4913-B998-517F4405D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9763" y="5689600"/>
              <a:ext cx="26988" cy="30163"/>
            </a:xfrm>
            <a:custGeom>
              <a:avLst/>
              <a:gdLst>
                <a:gd name="T0" fmla="*/ 53 w 65"/>
                <a:gd name="T1" fmla="*/ 76 h 76"/>
                <a:gd name="T2" fmla="*/ 50 w 65"/>
                <a:gd name="T3" fmla="*/ 75 h 76"/>
                <a:gd name="T4" fmla="*/ 48 w 65"/>
                <a:gd name="T5" fmla="*/ 75 h 76"/>
                <a:gd name="T6" fmla="*/ 45 w 65"/>
                <a:gd name="T7" fmla="*/ 73 h 76"/>
                <a:gd name="T8" fmla="*/ 44 w 65"/>
                <a:gd name="T9" fmla="*/ 71 h 76"/>
                <a:gd name="T10" fmla="*/ 2 w 65"/>
                <a:gd name="T11" fmla="*/ 18 h 76"/>
                <a:gd name="T12" fmla="*/ 1 w 65"/>
                <a:gd name="T13" fmla="*/ 15 h 76"/>
                <a:gd name="T14" fmla="*/ 0 w 65"/>
                <a:gd name="T15" fmla="*/ 10 h 76"/>
                <a:gd name="T16" fmla="*/ 1 w 65"/>
                <a:gd name="T17" fmla="*/ 6 h 76"/>
                <a:gd name="T18" fmla="*/ 5 w 65"/>
                <a:gd name="T19" fmla="*/ 2 h 76"/>
                <a:gd name="T20" fmla="*/ 8 w 65"/>
                <a:gd name="T21" fmla="*/ 0 h 76"/>
                <a:gd name="T22" fmla="*/ 13 w 65"/>
                <a:gd name="T23" fmla="*/ 0 h 76"/>
                <a:gd name="T24" fmla="*/ 18 w 65"/>
                <a:gd name="T25" fmla="*/ 1 h 76"/>
                <a:gd name="T26" fmla="*/ 22 w 65"/>
                <a:gd name="T27" fmla="*/ 3 h 76"/>
                <a:gd name="T28" fmla="*/ 63 w 65"/>
                <a:gd name="T29" fmla="*/ 57 h 76"/>
                <a:gd name="T30" fmla="*/ 65 w 65"/>
                <a:gd name="T31" fmla="*/ 60 h 76"/>
                <a:gd name="T32" fmla="*/ 65 w 65"/>
                <a:gd name="T33" fmla="*/ 65 h 76"/>
                <a:gd name="T34" fmla="*/ 64 w 65"/>
                <a:gd name="T35" fmla="*/ 70 h 76"/>
                <a:gd name="T36" fmla="*/ 60 w 65"/>
                <a:gd name="T37" fmla="*/ 74 h 76"/>
                <a:gd name="T38" fmla="*/ 56 w 65"/>
                <a:gd name="T39" fmla="*/ 75 h 76"/>
                <a:gd name="T40" fmla="*/ 53 w 65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5" h="76">
                  <a:moveTo>
                    <a:pt x="53" y="76"/>
                  </a:moveTo>
                  <a:lnTo>
                    <a:pt x="50" y="75"/>
                  </a:lnTo>
                  <a:lnTo>
                    <a:pt x="48" y="75"/>
                  </a:lnTo>
                  <a:lnTo>
                    <a:pt x="45" y="73"/>
                  </a:lnTo>
                  <a:lnTo>
                    <a:pt x="44" y="71"/>
                  </a:lnTo>
                  <a:lnTo>
                    <a:pt x="2" y="18"/>
                  </a:lnTo>
                  <a:lnTo>
                    <a:pt x="1" y="15"/>
                  </a:lnTo>
                  <a:lnTo>
                    <a:pt x="0" y="10"/>
                  </a:lnTo>
                  <a:lnTo>
                    <a:pt x="1" y="6"/>
                  </a:lnTo>
                  <a:lnTo>
                    <a:pt x="5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8" y="1"/>
                  </a:lnTo>
                  <a:lnTo>
                    <a:pt x="22" y="3"/>
                  </a:lnTo>
                  <a:lnTo>
                    <a:pt x="63" y="57"/>
                  </a:lnTo>
                  <a:lnTo>
                    <a:pt x="65" y="60"/>
                  </a:lnTo>
                  <a:lnTo>
                    <a:pt x="65" y="65"/>
                  </a:lnTo>
                  <a:lnTo>
                    <a:pt x="64" y="70"/>
                  </a:lnTo>
                  <a:lnTo>
                    <a:pt x="60" y="74"/>
                  </a:lnTo>
                  <a:lnTo>
                    <a:pt x="56" y="75"/>
                  </a:lnTo>
                  <a:lnTo>
                    <a:pt x="53" y="7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96" name="Freeform 197">
              <a:extLst>
                <a:ext uri="{FF2B5EF4-FFF2-40B4-BE49-F238E27FC236}">
                  <a16:creationId xmlns:a16="http://schemas.microsoft.com/office/drawing/2014/main" id="{36371EEA-FEF8-4F31-9FC9-ADD62E5E6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5476" y="5680075"/>
              <a:ext cx="36513" cy="28575"/>
            </a:xfrm>
            <a:custGeom>
              <a:avLst/>
              <a:gdLst>
                <a:gd name="T0" fmla="*/ 12 w 89"/>
                <a:gd name="T1" fmla="*/ 74 h 74"/>
                <a:gd name="T2" fmla="*/ 10 w 89"/>
                <a:gd name="T3" fmla="*/ 74 h 74"/>
                <a:gd name="T4" fmla="*/ 6 w 89"/>
                <a:gd name="T5" fmla="*/ 73 h 74"/>
                <a:gd name="T6" fmla="*/ 5 w 89"/>
                <a:gd name="T7" fmla="*/ 72 h 74"/>
                <a:gd name="T8" fmla="*/ 2 w 89"/>
                <a:gd name="T9" fmla="*/ 69 h 74"/>
                <a:gd name="T10" fmla="*/ 0 w 89"/>
                <a:gd name="T11" fmla="*/ 65 h 74"/>
                <a:gd name="T12" fmla="*/ 0 w 89"/>
                <a:gd name="T13" fmla="*/ 61 h 74"/>
                <a:gd name="T14" fmla="*/ 1 w 89"/>
                <a:gd name="T15" fmla="*/ 57 h 74"/>
                <a:gd name="T16" fmla="*/ 5 w 89"/>
                <a:gd name="T17" fmla="*/ 53 h 74"/>
                <a:gd name="T18" fmla="*/ 69 w 89"/>
                <a:gd name="T19" fmla="*/ 2 h 74"/>
                <a:gd name="T20" fmla="*/ 74 w 89"/>
                <a:gd name="T21" fmla="*/ 0 h 74"/>
                <a:gd name="T22" fmla="*/ 79 w 89"/>
                <a:gd name="T23" fmla="*/ 0 h 74"/>
                <a:gd name="T24" fmla="*/ 83 w 89"/>
                <a:gd name="T25" fmla="*/ 1 h 74"/>
                <a:gd name="T26" fmla="*/ 86 w 89"/>
                <a:gd name="T27" fmla="*/ 4 h 74"/>
                <a:gd name="T28" fmla="*/ 89 w 89"/>
                <a:gd name="T29" fmla="*/ 7 h 74"/>
                <a:gd name="T30" fmla="*/ 89 w 89"/>
                <a:gd name="T31" fmla="*/ 12 h 74"/>
                <a:gd name="T32" fmla="*/ 88 w 89"/>
                <a:gd name="T33" fmla="*/ 17 h 74"/>
                <a:gd name="T34" fmla="*/ 84 w 89"/>
                <a:gd name="T35" fmla="*/ 21 h 74"/>
                <a:gd name="T36" fmla="*/ 20 w 89"/>
                <a:gd name="T37" fmla="*/ 72 h 74"/>
                <a:gd name="T38" fmla="*/ 16 w 89"/>
                <a:gd name="T39" fmla="*/ 74 h 74"/>
                <a:gd name="T40" fmla="*/ 12 w 89"/>
                <a:gd name="T4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9" h="74">
                  <a:moveTo>
                    <a:pt x="12" y="74"/>
                  </a:moveTo>
                  <a:lnTo>
                    <a:pt x="10" y="74"/>
                  </a:lnTo>
                  <a:lnTo>
                    <a:pt x="6" y="73"/>
                  </a:lnTo>
                  <a:lnTo>
                    <a:pt x="5" y="72"/>
                  </a:lnTo>
                  <a:lnTo>
                    <a:pt x="2" y="69"/>
                  </a:lnTo>
                  <a:lnTo>
                    <a:pt x="0" y="65"/>
                  </a:lnTo>
                  <a:lnTo>
                    <a:pt x="0" y="61"/>
                  </a:lnTo>
                  <a:lnTo>
                    <a:pt x="1" y="57"/>
                  </a:lnTo>
                  <a:lnTo>
                    <a:pt x="5" y="53"/>
                  </a:lnTo>
                  <a:lnTo>
                    <a:pt x="69" y="2"/>
                  </a:lnTo>
                  <a:lnTo>
                    <a:pt x="74" y="0"/>
                  </a:lnTo>
                  <a:lnTo>
                    <a:pt x="79" y="0"/>
                  </a:lnTo>
                  <a:lnTo>
                    <a:pt x="83" y="1"/>
                  </a:lnTo>
                  <a:lnTo>
                    <a:pt x="86" y="4"/>
                  </a:lnTo>
                  <a:lnTo>
                    <a:pt x="89" y="7"/>
                  </a:lnTo>
                  <a:lnTo>
                    <a:pt x="89" y="12"/>
                  </a:lnTo>
                  <a:lnTo>
                    <a:pt x="88" y="17"/>
                  </a:lnTo>
                  <a:lnTo>
                    <a:pt x="84" y="21"/>
                  </a:lnTo>
                  <a:lnTo>
                    <a:pt x="20" y="72"/>
                  </a:lnTo>
                  <a:lnTo>
                    <a:pt x="16" y="74"/>
                  </a:lnTo>
                  <a:lnTo>
                    <a:pt x="12" y="7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97" name="Freeform 198">
              <a:extLst>
                <a:ext uri="{FF2B5EF4-FFF2-40B4-BE49-F238E27FC236}">
                  <a16:creationId xmlns:a16="http://schemas.microsoft.com/office/drawing/2014/main" id="{7495A838-37DB-40DA-9AD8-A0D3CFA0C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3288" y="5689600"/>
              <a:ext cx="26988" cy="30163"/>
            </a:xfrm>
            <a:custGeom>
              <a:avLst/>
              <a:gdLst>
                <a:gd name="T0" fmla="*/ 12 w 66"/>
                <a:gd name="T1" fmla="*/ 76 h 76"/>
                <a:gd name="T2" fmla="*/ 9 w 66"/>
                <a:gd name="T3" fmla="*/ 75 h 76"/>
                <a:gd name="T4" fmla="*/ 5 w 66"/>
                <a:gd name="T5" fmla="*/ 74 h 76"/>
                <a:gd name="T6" fmla="*/ 1 w 66"/>
                <a:gd name="T7" fmla="*/ 70 h 76"/>
                <a:gd name="T8" fmla="*/ 0 w 66"/>
                <a:gd name="T9" fmla="*/ 65 h 76"/>
                <a:gd name="T10" fmla="*/ 1 w 66"/>
                <a:gd name="T11" fmla="*/ 60 h 76"/>
                <a:gd name="T12" fmla="*/ 3 w 66"/>
                <a:gd name="T13" fmla="*/ 57 h 76"/>
                <a:gd name="T14" fmla="*/ 45 w 66"/>
                <a:gd name="T15" fmla="*/ 3 h 76"/>
                <a:gd name="T16" fmla="*/ 48 w 66"/>
                <a:gd name="T17" fmla="*/ 1 h 76"/>
                <a:gd name="T18" fmla="*/ 52 w 66"/>
                <a:gd name="T19" fmla="*/ 0 h 76"/>
                <a:gd name="T20" fmla="*/ 57 w 66"/>
                <a:gd name="T21" fmla="*/ 0 h 76"/>
                <a:gd name="T22" fmla="*/ 61 w 66"/>
                <a:gd name="T23" fmla="*/ 2 h 76"/>
                <a:gd name="T24" fmla="*/ 64 w 66"/>
                <a:gd name="T25" fmla="*/ 6 h 76"/>
                <a:gd name="T26" fmla="*/ 66 w 66"/>
                <a:gd name="T27" fmla="*/ 10 h 76"/>
                <a:gd name="T28" fmla="*/ 66 w 66"/>
                <a:gd name="T29" fmla="*/ 15 h 76"/>
                <a:gd name="T30" fmla="*/ 63 w 66"/>
                <a:gd name="T31" fmla="*/ 18 h 76"/>
                <a:gd name="T32" fmla="*/ 22 w 66"/>
                <a:gd name="T33" fmla="*/ 71 h 76"/>
                <a:gd name="T34" fmla="*/ 20 w 66"/>
                <a:gd name="T35" fmla="*/ 73 h 76"/>
                <a:gd name="T36" fmla="*/ 17 w 66"/>
                <a:gd name="T37" fmla="*/ 75 h 76"/>
                <a:gd name="T38" fmla="*/ 15 w 66"/>
                <a:gd name="T39" fmla="*/ 75 h 76"/>
                <a:gd name="T40" fmla="*/ 12 w 66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" h="76">
                  <a:moveTo>
                    <a:pt x="12" y="76"/>
                  </a:moveTo>
                  <a:lnTo>
                    <a:pt x="9" y="75"/>
                  </a:lnTo>
                  <a:lnTo>
                    <a:pt x="5" y="74"/>
                  </a:lnTo>
                  <a:lnTo>
                    <a:pt x="1" y="70"/>
                  </a:lnTo>
                  <a:lnTo>
                    <a:pt x="0" y="65"/>
                  </a:lnTo>
                  <a:lnTo>
                    <a:pt x="1" y="60"/>
                  </a:lnTo>
                  <a:lnTo>
                    <a:pt x="3" y="57"/>
                  </a:lnTo>
                  <a:lnTo>
                    <a:pt x="45" y="3"/>
                  </a:lnTo>
                  <a:lnTo>
                    <a:pt x="48" y="1"/>
                  </a:lnTo>
                  <a:lnTo>
                    <a:pt x="52" y="0"/>
                  </a:lnTo>
                  <a:lnTo>
                    <a:pt x="57" y="0"/>
                  </a:lnTo>
                  <a:lnTo>
                    <a:pt x="61" y="2"/>
                  </a:lnTo>
                  <a:lnTo>
                    <a:pt x="64" y="6"/>
                  </a:lnTo>
                  <a:lnTo>
                    <a:pt x="66" y="10"/>
                  </a:lnTo>
                  <a:lnTo>
                    <a:pt x="66" y="15"/>
                  </a:lnTo>
                  <a:lnTo>
                    <a:pt x="63" y="18"/>
                  </a:lnTo>
                  <a:lnTo>
                    <a:pt x="22" y="71"/>
                  </a:lnTo>
                  <a:lnTo>
                    <a:pt x="20" y="73"/>
                  </a:lnTo>
                  <a:lnTo>
                    <a:pt x="17" y="75"/>
                  </a:lnTo>
                  <a:lnTo>
                    <a:pt x="15" y="75"/>
                  </a:lnTo>
                  <a:lnTo>
                    <a:pt x="12" y="7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98" name="Freeform 199">
              <a:extLst>
                <a:ext uri="{FF2B5EF4-FFF2-40B4-BE49-F238E27FC236}">
                  <a16:creationId xmlns:a16="http://schemas.microsoft.com/office/drawing/2014/main" id="{1A30CFCF-331D-42FB-AFEA-A830B7134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8051" y="5680075"/>
              <a:ext cx="36513" cy="28575"/>
            </a:xfrm>
            <a:custGeom>
              <a:avLst/>
              <a:gdLst>
                <a:gd name="T0" fmla="*/ 78 w 89"/>
                <a:gd name="T1" fmla="*/ 74 h 74"/>
                <a:gd name="T2" fmla="*/ 75 w 89"/>
                <a:gd name="T3" fmla="*/ 74 h 74"/>
                <a:gd name="T4" fmla="*/ 71 w 89"/>
                <a:gd name="T5" fmla="*/ 72 h 74"/>
                <a:gd name="T6" fmla="*/ 5 w 89"/>
                <a:gd name="T7" fmla="*/ 21 h 74"/>
                <a:gd name="T8" fmla="*/ 2 w 89"/>
                <a:gd name="T9" fmla="*/ 17 h 74"/>
                <a:gd name="T10" fmla="*/ 0 w 89"/>
                <a:gd name="T11" fmla="*/ 12 h 74"/>
                <a:gd name="T12" fmla="*/ 0 w 89"/>
                <a:gd name="T13" fmla="*/ 7 h 74"/>
                <a:gd name="T14" fmla="*/ 3 w 89"/>
                <a:gd name="T15" fmla="*/ 4 h 74"/>
                <a:gd name="T16" fmla="*/ 7 w 89"/>
                <a:gd name="T17" fmla="*/ 1 h 74"/>
                <a:gd name="T18" fmla="*/ 12 w 89"/>
                <a:gd name="T19" fmla="*/ 0 h 74"/>
                <a:gd name="T20" fmla="*/ 15 w 89"/>
                <a:gd name="T21" fmla="*/ 0 h 74"/>
                <a:gd name="T22" fmla="*/ 20 w 89"/>
                <a:gd name="T23" fmla="*/ 2 h 74"/>
                <a:gd name="T24" fmla="*/ 86 w 89"/>
                <a:gd name="T25" fmla="*/ 53 h 74"/>
                <a:gd name="T26" fmla="*/ 88 w 89"/>
                <a:gd name="T27" fmla="*/ 57 h 74"/>
                <a:gd name="T28" fmla="*/ 89 w 89"/>
                <a:gd name="T29" fmla="*/ 61 h 74"/>
                <a:gd name="T30" fmla="*/ 89 w 89"/>
                <a:gd name="T31" fmla="*/ 65 h 74"/>
                <a:gd name="T32" fmla="*/ 87 w 89"/>
                <a:gd name="T33" fmla="*/ 69 h 74"/>
                <a:gd name="T34" fmla="*/ 86 w 89"/>
                <a:gd name="T35" fmla="*/ 72 h 74"/>
                <a:gd name="T36" fmla="*/ 83 w 89"/>
                <a:gd name="T37" fmla="*/ 73 h 74"/>
                <a:gd name="T38" fmla="*/ 81 w 89"/>
                <a:gd name="T39" fmla="*/ 74 h 74"/>
                <a:gd name="T40" fmla="*/ 78 w 89"/>
                <a:gd name="T4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9" h="74">
                  <a:moveTo>
                    <a:pt x="78" y="74"/>
                  </a:moveTo>
                  <a:lnTo>
                    <a:pt x="75" y="74"/>
                  </a:lnTo>
                  <a:lnTo>
                    <a:pt x="71" y="72"/>
                  </a:lnTo>
                  <a:lnTo>
                    <a:pt x="5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20" y="2"/>
                  </a:lnTo>
                  <a:lnTo>
                    <a:pt x="86" y="53"/>
                  </a:lnTo>
                  <a:lnTo>
                    <a:pt x="88" y="57"/>
                  </a:lnTo>
                  <a:lnTo>
                    <a:pt x="89" y="61"/>
                  </a:lnTo>
                  <a:lnTo>
                    <a:pt x="89" y="65"/>
                  </a:lnTo>
                  <a:lnTo>
                    <a:pt x="87" y="69"/>
                  </a:lnTo>
                  <a:lnTo>
                    <a:pt x="86" y="72"/>
                  </a:lnTo>
                  <a:lnTo>
                    <a:pt x="83" y="73"/>
                  </a:lnTo>
                  <a:lnTo>
                    <a:pt x="81" y="74"/>
                  </a:lnTo>
                  <a:lnTo>
                    <a:pt x="78" y="7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6710" tIns="28355" rIns="56710" bIns="28355" numCol="1" anchor="t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</p:grp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id="{15AC746E-38C3-40FA-96C4-2C7105D52405}"/>
              </a:ext>
            </a:extLst>
          </p:cNvPr>
          <p:cNvCxnSpPr>
            <a:cxnSpLocks/>
          </p:cNvCxnSpPr>
          <p:nvPr/>
        </p:nvCxnSpPr>
        <p:spPr>
          <a:xfrm>
            <a:off x="8150789" y="1704507"/>
            <a:ext cx="0" cy="391167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Прямоугольник 114">
            <a:extLst>
              <a:ext uri="{FF2B5EF4-FFF2-40B4-BE49-F238E27FC236}">
                <a16:creationId xmlns:a16="http://schemas.microsoft.com/office/drawing/2014/main" id="{1BBB9855-8A8A-4B89-95E6-3D73BB7F8D17}"/>
              </a:ext>
            </a:extLst>
          </p:cNvPr>
          <p:cNvSpPr/>
          <p:nvPr/>
        </p:nvSpPr>
        <p:spPr>
          <a:xfrm>
            <a:off x="1122372" y="1704509"/>
            <a:ext cx="22148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97"/>
            <a:r>
              <a:rPr lang="ru-RU" sz="1200" b="1" dirty="0">
                <a:solidFill>
                  <a:schemeClr val="accent2"/>
                </a:solidFill>
                <a:latin typeface="Arial"/>
              </a:rPr>
              <a:t>П. 2 Решения:</a:t>
            </a:r>
            <a:endParaRPr lang="ru-RU" sz="1200" b="1" dirty="0">
              <a:solidFill>
                <a:schemeClr val="accent2"/>
              </a:solidFill>
              <a:highlight>
                <a:srgbClr val="FFFF00"/>
              </a:highlight>
              <a:latin typeface="Arial"/>
            </a:endParaRPr>
          </a:p>
        </p:txBody>
      </p:sp>
      <p:pic>
        <p:nvPicPr>
          <p:cNvPr id="120" name="Рисунок 119">
            <a:extLst>
              <a:ext uri="{FF2B5EF4-FFF2-40B4-BE49-F238E27FC236}">
                <a16:creationId xmlns:a16="http://schemas.microsoft.com/office/drawing/2014/main" id="{76A64682-AFC7-4AD4-B105-ADFDDE101C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38326" y="3351292"/>
            <a:ext cx="170923" cy="186823"/>
          </a:xfrm>
          <a:prstGeom prst="rect">
            <a:avLst/>
          </a:prstGeom>
        </p:spPr>
      </p:pic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id="{DD79029A-FA0E-4DCB-A728-CB61F880C1C3}"/>
              </a:ext>
            </a:extLst>
          </p:cNvPr>
          <p:cNvCxnSpPr>
            <a:cxnSpLocks/>
          </p:cNvCxnSpPr>
          <p:nvPr/>
        </p:nvCxnSpPr>
        <p:spPr>
          <a:xfrm>
            <a:off x="3988961" y="1711115"/>
            <a:ext cx="0" cy="391167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Прямоугольник 122">
            <a:extLst>
              <a:ext uri="{FF2B5EF4-FFF2-40B4-BE49-F238E27FC236}">
                <a16:creationId xmlns:a16="http://schemas.microsoft.com/office/drawing/2014/main" id="{E8FDF80A-CCAF-4AB3-9CFF-649850F08784}"/>
              </a:ext>
            </a:extLst>
          </p:cNvPr>
          <p:cNvSpPr/>
          <p:nvPr/>
        </p:nvSpPr>
        <p:spPr>
          <a:xfrm>
            <a:off x="5081355" y="1718865"/>
            <a:ext cx="371624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97"/>
            <a:r>
              <a:rPr lang="ru-RU" sz="1200" b="1" dirty="0">
                <a:solidFill>
                  <a:schemeClr val="accent2"/>
                </a:solidFill>
                <a:latin typeface="Arial"/>
              </a:rPr>
              <a:t>Дальнейшие шаги ЕЭК</a:t>
            </a: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id="{0DA2638E-987D-456A-A1E6-A6769C821FA4}"/>
              </a:ext>
            </a:extLst>
          </p:cNvPr>
          <p:cNvSpPr/>
          <p:nvPr/>
        </p:nvSpPr>
        <p:spPr>
          <a:xfrm>
            <a:off x="8598931" y="1711115"/>
            <a:ext cx="221486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97"/>
            <a:r>
              <a:rPr lang="ru-RU" sz="1100" b="1" dirty="0">
                <a:solidFill>
                  <a:schemeClr val="accent2"/>
                </a:solidFill>
                <a:latin typeface="Arial"/>
              </a:rPr>
              <a:t>Вопросы, требующие детализации:</a:t>
            </a:r>
          </a:p>
        </p:txBody>
      </p:sp>
      <p:sp>
        <p:nvSpPr>
          <p:cNvPr id="137" name="Заголовок 29">
            <a:extLst>
              <a:ext uri="{FF2B5EF4-FFF2-40B4-BE49-F238E27FC236}">
                <a16:creationId xmlns:a16="http://schemas.microsoft.com/office/drawing/2014/main" id="{96B8007E-F4D4-4435-87F6-7740CA96FF48}"/>
              </a:ext>
            </a:extLst>
          </p:cNvPr>
          <p:cNvSpPr txBox="1">
            <a:spLocks/>
          </p:cNvSpPr>
          <p:nvPr/>
        </p:nvSpPr>
        <p:spPr>
          <a:xfrm>
            <a:off x="4537486" y="1911169"/>
            <a:ext cx="3115604" cy="23083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ru-RU"/>
            </a:defPPr>
            <a:lvl1pPr defTabSz="895350">
              <a:buClr>
                <a:schemeClr val="tx2"/>
              </a:buClr>
              <a:buSzPct val="100000"/>
              <a:defRPr sz="1000"/>
            </a:lvl1pPr>
          </a:lstStyle>
          <a:p>
            <a:endParaRPr lang="ru-RU" sz="750" dirty="0"/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EEE1BF3D-C543-40C5-9095-87CBA1D8703B}"/>
              </a:ext>
            </a:extLst>
          </p:cNvPr>
          <p:cNvSpPr/>
          <p:nvPr/>
        </p:nvSpPr>
        <p:spPr>
          <a:xfrm>
            <a:off x="1165384" y="1943899"/>
            <a:ext cx="23109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97">
              <a:lnSpc>
                <a:spcPct val="80000"/>
              </a:lnSpc>
              <a:spcBef>
                <a:spcPts val="450"/>
              </a:spcBef>
            </a:pPr>
            <a:r>
              <a:rPr lang="ru-RU" sz="750" dirty="0">
                <a:solidFill>
                  <a:srgbClr val="3C3C3C"/>
                </a:solidFill>
              </a:rPr>
              <a:t>«2. Евразийской экономической комиссии совместно с правительствами государств –членов Евразийского экономического союза разработать и утвердить порядок формирования и ведения реестра химических веществ и смесей Евразийского экономического Союза и порядок нотификации новых химических веществ, обеспечив их вступление в силу </a:t>
            </a:r>
            <a:r>
              <a:rPr lang="ru-RU" sz="750" dirty="0">
                <a:solidFill>
                  <a:srgbClr val="FF0000"/>
                </a:solidFill>
              </a:rPr>
              <a:t>до1 декабря 2018 г.»</a:t>
            </a: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6E4EC085-7936-4BA1-9633-5E84EB7DEBE7}"/>
              </a:ext>
            </a:extLst>
          </p:cNvPr>
          <p:cNvSpPr/>
          <p:nvPr/>
        </p:nvSpPr>
        <p:spPr>
          <a:xfrm>
            <a:off x="8598931" y="2043407"/>
            <a:ext cx="2183121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8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  <a:latin typeface="Calibri" panose="020F0502020204030204" pitchFamily="34" charset="0"/>
              </a:rPr>
              <a:t>Какие химические вещества относятся к запрещенным и ограниченным к применению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  <a:latin typeface="Calibri" panose="020F0502020204030204" pitchFamily="34" charset="0"/>
              </a:rPr>
              <a:t>Какие источники информации признаны официальными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  <a:latin typeface="Calibri" panose="020F0502020204030204" pitchFamily="34" charset="0"/>
              </a:rPr>
              <a:t>Какая часть Реестра будет открыта для публичного просмотра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  <a:latin typeface="Calibri" panose="020F0502020204030204" pitchFamily="34" charset="0"/>
              </a:rPr>
              <a:t>Будет ли предусмотрена защита конфиденциальной информации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  <a:latin typeface="Calibri" panose="020F0502020204030204" pitchFamily="34" charset="0"/>
              </a:rPr>
              <a:t>Сколько будет длиться процедура нотификации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  <a:latin typeface="Calibri" panose="020F0502020204030204" pitchFamily="34" charset="0"/>
              </a:rPr>
              <a:t>Может ли нотификация быть отдельной процедурой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  <a:latin typeface="Calibri" panose="020F0502020204030204" pitchFamily="34" charset="0"/>
              </a:rPr>
              <a:t>В каких случаях в регистрации может быть отказано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  <a:latin typeface="Calibri" panose="020F0502020204030204" pitchFamily="34" charset="0"/>
              </a:rPr>
              <a:t>Как будет проходить процедура переоформления разрешения на использование спустя пять лет, если нет замечаний ….и т.д.</a:t>
            </a:r>
            <a:endParaRPr lang="ru-RU" sz="1000" dirty="0">
              <a:solidFill>
                <a:srgbClr val="3C3C3C"/>
              </a:solidFill>
              <a:highlight>
                <a:srgbClr val="00FF00"/>
              </a:highlight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775114CA-F6C0-4EEE-82CE-C3D792FF10B8}"/>
              </a:ext>
            </a:extLst>
          </p:cNvPr>
          <p:cNvSpPr/>
          <p:nvPr/>
        </p:nvSpPr>
        <p:spPr>
          <a:xfrm>
            <a:off x="1165385" y="3662227"/>
            <a:ext cx="221486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49290" algn="ctr"/>
            <a:r>
              <a:rPr lang="ru-RU" sz="800" b="1" dirty="0">
                <a:solidFill>
                  <a:schemeClr val="accent2"/>
                </a:solidFill>
                <a:latin typeface="Arial"/>
              </a:rPr>
              <a:t>Порядки еще называют «документы второго уровня». </a:t>
            </a:r>
          </a:p>
          <a:p>
            <a:pPr marR="81570" algn="ctr"/>
            <a:r>
              <a:rPr lang="ru-RU" sz="800" b="1" dirty="0">
                <a:solidFill>
                  <a:schemeClr val="accent2"/>
                </a:solidFill>
                <a:latin typeface="Arial"/>
              </a:rPr>
              <a:t>Они детализируют положения ТР.</a:t>
            </a:r>
          </a:p>
          <a:p>
            <a:pPr marR="9410" algn="ctr"/>
            <a:r>
              <a:rPr lang="ru-RU" sz="800" b="1" dirty="0">
                <a:solidFill>
                  <a:schemeClr val="accent2"/>
                </a:solidFill>
                <a:latin typeface="Arial"/>
              </a:rPr>
              <a:t>Без этих документов реализовать требования ТР на практике будет невозможно </a:t>
            </a:r>
          </a:p>
        </p:txBody>
      </p:sp>
      <p:sp>
        <p:nvSpPr>
          <p:cNvPr id="53" name="Заголовок 4"/>
          <p:cNvSpPr txBox="1">
            <a:spLocks/>
          </p:cNvSpPr>
          <p:nvPr/>
        </p:nvSpPr>
        <p:spPr>
          <a:xfrm>
            <a:off x="463802" y="173221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5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Введение в действие ТР ЕАЭС 041/2017 «О безопасности химической продукции"</a:t>
            </a:r>
          </a:p>
        </p:txBody>
      </p:sp>
      <p:sp>
        <p:nvSpPr>
          <p:cNvPr id="2" name="Стрелка вниз 1"/>
          <p:cNvSpPr/>
          <p:nvPr/>
        </p:nvSpPr>
        <p:spPr>
          <a:xfrm>
            <a:off x="2011615" y="2867229"/>
            <a:ext cx="124358" cy="212470"/>
          </a:xfrm>
          <a:prstGeom prst="downArrow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337970" y="3087484"/>
            <a:ext cx="14716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Calibri" panose="020F0502020204030204" pitchFamily="34" charset="0"/>
              </a:rPr>
              <a:t>[по истечении 30 месяцев с даты вступления</a:t>
            </a:r>
          </a:p>
          <a:p>
            <a:pPr algn="ctr"/>
            <a:r>
              <a:rPr lang="ru-RU" sz="800" dirty="0">
                <a:solidFill>
                  <a:srgbClr val="000000"/>
                </a:solidFill>
                <a:latin typeface="Calibri" panose="020F0502020204030204" pitchFamily="34" charset="0"/>
              </a:rPr>
              <a:t> в силу Порядков]</a:t>
            </a:r>
            <a:endParaRPr lang="ru-RU" sz="8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174921" y="5843042"/>
            <a:ext cx="96388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i="1" dirty="0"/>
              <a:t>ТР ЕАЭС 041/2017 принят, вступает в силу в 2021 году, меры, необходимые для перехода практически не реализованы и в настоящее время в очень сжатые сроки идет стадия инвентаризации химических веществ. У изготовителей накопилось множество вопросов каким образом представлять информацию, отвечать на которые пока не кому.</a:t>
            </a:r>
          </a:p>
        </p:txBody>
      </p:sp>
      <p:sp>
        <p:nvSpPr>
          <p:cNvPr id="56" name="Picture165"/>
          <p:cNvSpPr>
            <a:spLocks/>
          </p:cNvSpPr>
          <p:nvPr/>
        </p:nvSpPr>
        <p:spPr bwMode="auto">
          <a:xfrm>
            <a:off x="684480" y="5844891"/>
            <a:ext cx="504056" cy="417066"/>
          </a:xfrm>
          <a:custGeom>
            <a:avLst/>
            <a:gdLst>
              <a:gd name="T0" fmla="*/ 0 w 762"/>
              <a:gd name="T1" fmla="*/ 467 h 912"/>
              <a:gd name="T2" fmla="*/ 152 w 762"/>
              <a:gd name="T3" fmla="*/ 372 h 912"/>
              <a:gd name="T4" fmla="*/ 280 w 762"/>
              <a:gd name="T5" fmla="*/ 608 h 912"/>
              <a:gd name="T6" fmla="*/ 609 w 762"/>
              <a:gd name="T7" fmla="*/ 0 h 912"/>
              <a:gd name="T8" fmla="*/ 762 w 762"/>
              <a:gd name="T9" fmla="*/ 95 h 912"/>
              <a:gd name="T10" fmla="*/ 280 w 762"/>
              <a:gd name="T11" fmla="*/ 912 h 912"/>
              <a:gd name="T12" fmla="*/ 0 w 762"/>
              <a:gd name="T13" fmla="*/ 467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2" h="912">
                <a:moveTo>
                  <a:pt x="0" y="467"/>
                </a:moveTo>
                <a:lnTo>
                  <a:pt x="152" y="372"/>
                </a:lnTo>
                <a:lnTo>
                  <a:pt x="280" y="608"/>
                </a:lnTo>
                <a:lnTo>
                  <a:pt x="609" y="0"/>
                </a:lnTo>
                <a:lnTo>
                  <a:pt x="762" y="95"/>
                </a:lnTo>
                <a:lnTo>
                  <a:pt x="280" y="912"/>
                </a:lnTo>
                <a:lnTo>
                  <a:pt x="0" y="467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lIns="75613" tIns="37806" rIns="75613" bIns="37806"/>
          <a:lstStyle/>
          <a:p>
            <a:pPr>
              <a:defRPr/>
            </a:pPr>
            <a:endParaRPr lang="ru-RU" sz="1100"/>
          </a:p>
        </p:txBody>
      </p:sp>
      <p:sp>
        <p:nvSpPr>
          <p:cNvPr id="9" name="Прямоугольник 8"/>
          <p:cNvSpPr/>
          <p:nvPr/>
        </p:nvSpPr>
        <p:spPr>
          <a:xfrm>
            <a:off x="5096213" y="3517289"/>
            <a:ext cx="198288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ить перечни межгосударственных/национальных стандартов, необходимых для применения и исполнения требований ЕАЭС 041/2017и программу по разработке (актуализации)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73" name="Трапеция 72"/>
          <p:cNvSpPr/>
          <p:nvPr/>
        </p:nvSpPr>
        <p:spPr>
          <a:xfrm>
            <a:off x="4217184" y="4554529"/>
            <a:ext cx="3684757" cy="995226"/>
          </a:xfrm>
          <a:prstGeom prst="trapezoid">
            <a:avLst>
              <a:gd name="adj" fmla="val 53197"/>
            </a:avLst>
          </a:prstGeom>
          <a:solidFill>
            <a:srgbClr val="0071A4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4669832" y="4728977"/>
            <a:ext cx="27953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 сентября 2019г.–определить органы (организации),ответственные за формирование и ведение национальной части реестра и проведение нотификации</a:t>
            </a:r>
          </a:p>
        </p:txBody>
      </p:sp>
      <p:sp>
        <p:nvSpPr>
          <p:cNvPr id="77" name="Трапеция 76"/>
          <p:cNvSpPr/>
          <p:nvPr/>
        </p:nvSpPr>
        <p:spPr>
          <a:xfrm>
            <a:off x="5312606" y="2136235"/>
            <a:ext cx="1483710" cy="1363757"/>
          </a:xfrm>
          <a:prstGeom prst="trapezoid">
            <a:avLst>
              <a:gd name="adj" fmla="val 60899"/>
            </a:avLst>
          </a:prstGeom>
          <a:solidFill>
            <a:schemeClr val="bg1">
              <a:lumMod val="75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5213828" y="2708045"/>
            <a:ext cx="163210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9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дить </a:t>
            </a:r>
          </a:p>
          <a:p>
            <a:pPr lvl="0" algn="ctr"/>
            <a:r>
              <a:rPr lang="ru-RU" sz="9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ы                            второго уровня</a:t>
            </a:r>
          </a:p>
          <a:p>
            <a:pPr lvl="0" algn="ctr"/>
            <a:r>
              <a:rPr lang="ru-RU" sz="9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Консультативном комитете и на Совете</a:t>
            </a:r>
          </a:p>
        </p:txBody>
      </p:sp>
    </p:spTree>
    <p:extLst>
      <p:ext uri="{BB962C8B-B14F-4D97-AF65-F5344CB8AC3E}">
        <p14:creationId xmlns:p14="http://schemas.microsoft.com/office/powerpoint/2010/main" val="4253927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721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Slide" r:id="rId4" imgW="366" imgH="369" progId="TCLayout.ActiveDocument.1">
                  <p:embed/>
                </p:oleObj>
              </mc:Choice>
              <mc:Fallback>
                <p:oleObj name="think-cell Slide" r:id="rId4" imgW="366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ктуальные вопросы внедрения ГОСТ </a:t>
            </a:r>
            <a:r>
              <a:rPr lang="en-US" dirty="0"/>
              <a:t>ISO/IEC 17025-2019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2"/>
          </p:nvPr>
        </p:nvSpPr>
        <p:spPr>
          <a:xfrm>
            <a:off x="6194947" y="3086617"/>
            <a:ext cx="4978379" cy="2747748"/>
          </a:xfrm>
        </p:spPr>
        <p:txBody>
          <a:bodyPr/>
          <a:lstStyle/>
          <a:p>
            <a:r>
              <a:rPr lang="ru-RU" dirty="0" smtClean="0"/>
              <a:t>Внедрение процессного и риск-ориентированного подхода при реализации положений Стандарта.</a:t>
            </a:r>
          </a:p>
          <a:p>
            <a:r>
              <a:rPr lang="ru-RU" dirty="0" smtClean="0"/>
              <a:t>Появление новых процедур по сравнению с предыдущей версией</a:t>
            </a:r>
          </a:p>
          <a:p>
            <a:r>
              <a:rPr lang="ru-RU" dirty="0"/>
              <a:t>«Беспристрастность», </a:t>
            </a:r>
            <a:r>
              <a:rPr lang="ru-RU" dirty="0" smtClean="0"/>
              <a:t>«Конфиденциальность</a:t>
            </a:r>
            <a:r>
              <a:rPr lang="ru-RU" dirty="0"/>
              <a:t>», «Требования к структуре», «Требования к системе менеджмента», «Управление данными и информационный менеджмент», «Действия, связанные с рисками и возможностями» </a:t>
            </a:r>
            <a:r>
              <a:rPr lang="ru-RU" dirty="0" smtClean="0"/>
              <a:t>- </a:t>
            </a:r>
            <a:r>
              <a:rPr lang="ru-RU" dirty="0" smtClean="0">
                <a:solidFill>
                  <a:srgbClr val="FF0000"/>
                </a:solidFill>
              </a:rPr>
              <a:t>должны </a:t>
            </a:r>
            <a:r>
              <a:rPr lang="ru-RU" dirty="0">
                <a:solidFill>
                  <a:srgbClr val="FF0000"/>
                </a:solidFill>
              </a:rPr>
              <a:t>быть созданы </a:t>
            </a:r>
            <a:r>
              <a:rPr lang="ru-RU" dirty="0" smtClean="0">
                <a:solidFill>
                  <a:srgbClr val="FF0000"/>
                </a:solidFill>
              </a:rPr>
              <a:t>впервые</a:t>
            </a:r>
          </a:p>
          <a:p>
            <a:r>
              <a:rPr lang="ru-RU" dirty="0" smtClean="0"/>
              <a:t>Процедуры </a:t>
            </a:r>
            <a:r>
              <a:rPr lang="ru-RU" dirty="0"/>
              <a:t>«Персонал», «Внешние поставки продукции и услуг», «Жалобы (претензии)», «Рассмотрение запросов, тендеров и контрактов», «Технические записи», «Управление записями», «Выбор, верификация и </a:t>
            </a:r>
            <a:r>
              <a:rPr lang="ru-RU" dirty="0" err="1"/>
              <a:t>валидация</a:t>
            </a:r>
            <a:r>
              <a:rPr lang="ru-RU" dirty="0"/>
              <a:t> методов», </a:t>
            </a:r>
            <a:r>
              <a:rPr lang="ru-RU" dirty="0" smtClean="0"/>
              <a:t>«Отчетность </a:t>
            </a:r>
            <a:r>
              <a:rPr lang="ru-RU" dirty="0"/>
              <a:t>о результатах», «Обеспечение достоверности </a:t>
            </a:r>
            <a:r>
              <a:rPr lang="ru-RU" dirty="0" smtClean="0"/>
              <a:t>результатов</a:t>
            </a:r>
            <a:r>
              <a:rPr lang="ru-RU" dirty="0"/>
              <a:t>» </a:t>
            </a:r>
            <a:r>
              <a:rPr lang="ru-RU" dirty="0" smtClean="0">
                <a:solidFill>
                  <a:srgbClr val="FF0000"/>
                </a:solidFill>
              </a:rPr>
              <a:t>- требуют изменений</a:t>
            </a:r>
          </a:p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6218357" y="1261240"/>
            <a:ext cx="4798799" cy="1047581"/>
          </a:xfrm>
        </p:spPr>
        <p:txBody>
          <a:bodyPr/>
          <a:lstStyle/>
          <a:p>
            <a:r>
              <a:rPr lang="ru-RU" dirty="0" smtClean="0"/>
              <a:t>Следовательно, к </a:t>
            </a:r>
            <a:r>
              <a:rPr lang="ru-RU" dirty="0"/>
              <a:t>ноябрю 2020 года </a:t>
            </a:r>
            <a:r>
              <a:rPr lang="ru-RU" dirty="0" smtClean="0"/>
              <a:t>все испытательные </a:t>
            </a:r>
            <a:r>
              <a:rPr lang="ru-RU" dirty="0"/>
              <a:t>лаборатории, аккредитованные органами по аккредитации членами </a:t>
            </a:r>
            <a:r>
              <a:rPr lang="ru-RU" dirty="0" smtClean="0"/>
              <a:t>ILAC (два органа в РФ «Аналитика» и </a:t>
            </a:r>
            <a:r>
              <a:rPr lang="ru-RU" dirty="0" err="1" smtClean="0"/>
              <a:t>Росакредитация</a:t>
            </a:r>
            <a:r>
              <a:rPr lang="ru-RU" dirty="0" smtClean="0"/>
              <a:t>), </a:t>
            </a:r>
            <a:r>
              <a:rPr lang="ru-RU" dirty="0"/>
              <a:t>должны пройти оценку на соответствие новому </a:t>
            </a:r>
            <a:r>
              <a:rPr lang="ru-RU" dirty="0" smtClean="0"/>
              <a:t>стандарту?</a:t>
            </a:r>
          </a:p>
        </p:txBody>
      </p:sp>
      <p:sp>
        <p:nvSpPr>
          <p:cNvPr id="10" name="Объект 3"/>
          <p:cNvSpPr txBox="1">
            <a:spLocks/>
          </p:cNvSpPr>
          <p:nvPr/>
        </p:nvSpPr>
        <p:spPr>
          <a:xfrm>
            <a:off x="6194947" y="2220907"/>
            <a:ext cx="4798799" cy="8603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С какой даты происходит оценка испытательных лабораторий по новому стандарту, с какой даты инспекционные проверки будут происходить по новому стандарту?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537123" y="5750035"/>
            <a:ext cx="87378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i="1" dirty="0"/>
              <a:t>Необходимо более широкое информирование со стороны </a:t>
            </a:r>
            <a:r>
              <a:rPr lang="ru-RU" sz="1200" b="1" i="1" dirty="0" err="1"/>
              <a:t>Росаккредитации</a:t>
            </a:r>
            <a:r>
              <a:rPr lang="ru-RU" sz="1200" b="1" i="1" dirty="0"/>
              <a:t> предстоящих изменений в критериях, процедурах аккредитации и подтверждения компетентности.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553538" y="3935777"/>
            <a:ext cx="42596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i="1" dirty="0">
                <a:solidFill>
                  <a:srgbClr val="0070C0"/>
                </a:solidFill>
              </a:rPr>
              <a:t>Разъяснения по отдельным вопросам не дают понимания целевого состояния реализации новых и трансформированных процессов в ИЛ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553537" y="1283980"/>
            <a:ext cx="33874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0070C0"/>
                </a:solidFill>
              </a:rPr>
              <a:t>Стандарт ИСО/МЭК 17025:2017 был утвержден в ноябре 2017 года. Комитет ИСО/МЭК установил 3-х летний переходный период. 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601543" y="2461869"/>
            <a:ext cx="36114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0070C0"/>
                </a:solidFill>
              </a:rPr>
              <a:t>В сжатые сроки лабораториям предстоит не только описать новые процессы, но и внедрить их в повседневную деятельность (с учетом сроков планирования деятельности)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51571" y="1123403"/>
            <a:ext cx="731583" cy="920576"/>
          </a:xfrm>
          <a:prstGeom prst="rect">
            <a:avLst/>
          </a:prstGeom>
        </p:spPr>
      </p:pic>
      <p:grpSp>
        <p:nvGrpSpPr>
          <p:cNvPr id="11" name="time_recor_z"/>
          <p:cNvGrpSpPr>
            <a:grpSpLocks noChangeAspect="1"/>
          </p:cNvGrpSpPr>
          <p:nvPr/>
        </p:nvGrpSpPr>
        <p:grpSpPr>
          <a:xfrm>
            <a:off x="4951571" y="2816742"/>
            <a:ext cx="528638" cy="539750"/>
            <a:chOff x="6410325" y="3125788"/>
            <a:chExt cx="528638" cy="539750"/>
          </a:xfrm>
        </p:grpSpPr>
        <p:sp>
          <p:nvSpPr>
            <p:cNvPr id="12" name="Freeform 44"/>
            <p:cNvSpPr>
              <a:spLocks/>
            </p:cNvSpPr>
            <p:nvPr/>
          </p:nvSpPr>
          <p:spPr bwMode="auto">
            <a:xfrm>
              <a:off x="6489700" y="3203575"/>
              <a:ext cx="369888" cy="384175"/>
            </a:xfrm>
            <a:custGeom>
              <a:avLst/>
              <a:gdLst>
                <a:gd name="T0" fmla="*/ 701 w 701"/>
                <a:gd name="T1" fmla="*/ 381 h 726"/>
                <a:gd name="T2" fmla="*/ 696 w 701"/>
                <a:gd name="T3" fmla="*/ 418 h 726"/>
                <a:gd name="T4" fmla="*/ 690 w 701"/>
                <a:gd name="T5" fmla="*/ 453 h 726"/>
                <a:gd name="T6" fmla="*/ 679 w 701"/>
                <a:gd name="T7" fmla="*/ 488 h 726"/>
                <a:gd name="T8" fmla="*/ 666 w 701"/>
                <a:gd name="T9" fmla="*/ 520 h 726"/>
                <a:gd name="T10" fmla="*/ 650 w 701"/>
                <a:gd name="T11" fmla="*/ 551 h 726"/>
                <a:gd name="T12" fmla="*/ 631 w 701"/>
                <a:gd name="T13" fmla="*/ 580 h 726"/>
                <a:gd name="T14" fmla="*/ 609 w 701"/>
                <a:gd name="T15" fmla="*/ 607 h 726"/>
                <a:gd name="T16" fmla="*/ 586 w 701"/>
                <a:gd name="T17" fmla="*/ 632 h 726"/>
                <a:gd name="T18" fmla="*/ 560 w 701"/>
                <a:gd name="T19" fmla="*/ 653 h 726"/>
                <a:gd name="T20" fmla="*/ 532 w 701"/>
                <a:gd name="T21" fmla="*/ 674 h 726"/>
                <a:gd name="T22" fmla="*/ 502 w 701"/>
                <a:gd name="T23" fmla="*/ 690 h 726"/>
                <a:gd name="T24" fmla="*/ 471 w 701"/>
                <a:gd name="T25" fmla="*/ 704 h 726"/>
                <a:gd name="T26" fmla="*/ 438 w 701"/>
                <a:gd name="T27" fmla="*/ 714 h 726"/>
                <a:gd name="T28" fmla="*/ 404 w 701"/>
                <a:gd name="T29" fmla="*/ 722 h 726"/>
                <a:gd name="T30" fmla="*/ 369 w 701"/>
                <a:gd name="T31" fmla="*/ 725 h 726"/>
                <a:gd name="T32" fmla="*/ 332 w 701"/>
                <a:gd name="T33" fmla="*/ 725 h 726"/>
                <a:gd name="T34" fmla="*/ 297 w 701"/>
                <a:gd name="T35" fmla="*/ 722 h 726"/>
                <a:gd name="T36" fmla="*/ 262 w 701"/>
                <a:gd name="T37" fmla="*/ 714 h 726"/>
                <a:gd name="T38" fmla="*/ 230 w 701"/>
                <a:gd name="T39" fmla="*/ 705 h 726"/>
                <a:gd name="T40" fmla="*/ 199 w 701"/>
                <a:gd name="T41" fmla="*/ 691 h 726"/>
                <a:gd name="T42" fmla="*/ 169 w 701"/>
                <a:gd name="T43" fmla="*/ 675 h 726"/>
                <a:gd name="T44" fmla="*/ 141 w 701"/>
                <a:gd name="T45" fmla="*/ 655 h 726"/>
                <a:gd name="T46" fmla="*/ 115 w 701"/>
                <a:gd name="T47" fmla="*/ 634 h 726"/>
                <a:gd name="T48" fmla="*/ 90 w 701"/>
                <a:gd name="T49" fmla="*/ 609 h 726"/>
                <a:gd name="T50" fmla="*/ 70 w 701"/>
                <a:gd name="T51" fmla="*/ 582 h 726"/>
                <a:gd name="T52" fmla="*/ 50 w 701"/>
                <a:gd name="T53" fmla="*/ 554 h 726"/>
                <a:gd name="T54" fmla="*/ 34 w 701"/>
                <a:gd name="T55" fmla="*/ 523 h 726"/>
                <a:gd name="T56" fmla="*/ 21 w 701"/>
                <a:gd name="T57" fmla="*/ 490 h 726"/>
                <a:gd name="T58" fmla="*/ 11 w 701"/>
                <a:gd name="T59" fmla="*/ 455 h 726"/>
                <a:gd name="T60" fmla="*/ 4 w 701"/>
                <a:gd name="T61" fmla="*/ 420 h 726"/>
                <a:gd name="T62" fmla="*/ 0 w 701"/>
                <a:gd name="T63" fmla="*/ 382 h 726"/>
                <a:gd name="T64" fmla="*/ 0 w 701"/>
                <a:gd name="T65" fmla="*/ 337 h 726"/>
                <a:gd name="T66" fmla="*/ 3 w 701"/>
                <a:gd name="T67" fmla="*/ 291 h 726"/>
                <a:gd name="T68" fmla="*/ 12 w 701"/>
                <a:gd name="T69" fmla="*/ 245 h 726"/>
                <a:gd name="T70" fmla="*/ 93 w 701"/>
                <a:gd name="T71" fmla="*/ 234 h 726"/>
                <a:gd name="T72" fmla="*/ 92 w 701"/>
                <a:gd name="T73" fmla="*/ 211 h 726"/>
                <a:gd name="T74" fmla="*/ 73 w 701"/>
                <a:gd name="T75" fmla="*/ 190 h 726"/>
                <a:gd name="T76" fmla="*/ 60 w 701"/>
                <a:gd name="T77" fmla="*/ 145 h 726"/>
                <a:gd name="T78" fmla="*/ 91 w 701"/>
                <a:gd name="T79" fmla="*/ 112 h 726"/>
                <a:gd name="T80" fmla="*/ 124 w 701"/>
                <a:gd name="T81" fmla="*/ 83 h 726"/>
                <a:gd name="T82" fmla="*/ 159 w 701"/>
                <a:gd name="T83" fmla="*/ 57 h 726"/>
                <a:gd name="T84" fmla="*/ 196 w 701"/>
                <a:gd name="T85" fmla="*/ 35 h 726"/>
                <a:gd name="T86" fmla="*/ 235 w 701"/>
                <a:gd name="T87" fmla="*/ 19 h 726"/>
                <a:gd name="T88" fmla="*/ 278 w 701"/>
                <a:gd name="T89" fmla="*/ 7 h 726"/>
                <a:gd name="T90" fmla="*/ 326 w 701"/>
                <a:gd name="T91" fmla="*/ 1 h 726"/>
                <a:gd name="T92" fmla="*/ 369 w 701"/>
                <a:gd name="T93" fmla="*/ 1 h 726"/>
                <a:gd name="T94" fmla="*/ 404 w 701"/>
                <a:gd name="T95" fmla="*/ 4 h 726"/>
                <a:gd name="T96" fmla="*/ 438 w 701"/>
                <a:gd name="T97" fmla="*/ 12 h 726"/>
                <a:gd name="T98" fmla="*/ 471 w 701"/>
                <a:gd name="T99" fmla="*/ 22 h 726"/>
                <a:gd name="T100" fmla="*/ 502 w 701"/>
                <a:gd name="T101" fmla="*/ 35 h 726"/>
                <a:gd name="T102" fmla="*/ 532 w 701"/>
                <a:gd name="T103" fmla="*/ 53 h 726"/>
                <a:gd name="T104" fmla="*/ 560 w 701"/>
                <a:gd name="T105" fmla="*/ 72 h 726"/>
                <a:gd name="T106" fmla="*/ 586 w 701"/>
                <a:gd name="T107" fmla="*/ 94 h 726"/>
                <a:gd name="T108" fmla="*/ 609 w 701"/>
                <a:gd name="T109" fmla="*/ 119 h 726"/>
                <a:gd name="T110" fmla="*/ 631 w 701"/>
                <a:gd name="T111" fmla="*/ 146 h 726"/>
                <a:gd name="T112" fmla="*/ 650 w 701"/>
                <a:gd name="T113" fmla="*/ 175 h 726"/>
                <a:gd name="T114" fmla="*/ 666 w 701"/>
                <a:gd name="T115" fmla="*/ 205 h 726"/>
                <a:gd name="T116" fmla="*/ 679 w 701"/>
                <a:gd name="T117" fmla="*/ 238 h 726"/>
                <a:gd name="T118" fmla="*/ 690 w 701"/>
                <a:gd name="T119" fmla="*/ 272 h 726"/>
                <a:gd name="T120" fmla="*/ 696 w 701"/>
                <a:gd name="T121" fmla="*/ 307 h 726"/>
                <a:gd name="T122" fmla="*/ 701 w 701"/>
                <a:gd name="T123" fmla="*/ 344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1" h="726">
                  <a:moveTo>
                    <a:pt x="701" y="363"/>
                  </a:moveTo>
                  <a:lnTo>
                    <a:pt x="701" y="381"/>
                  </a:lnTo>
                  <a:lnTo>
                    <a:pt x="699" y="400"/>
                  </a:lnTo>
                  <a:lnTo>
                    <a:pt x="696" y="418"/>
                  </a:lnTo>
                  <a:lnTo>
                    <a:pt x="693" y="436"/>
                  </a:lnTo>
                  <a:lnTo>
                    <a:pt x="690" y="453"/>
                  </a:lnTo>
                  <a:lnTo>
                    <a:pt x="685" y="471"/>
                  </a:lnTo>
                  <a:lnTo>
                    <a:pt x="679" y="488"/>
                  </a:lnTo>
                  <a:lnTo>
                    <a:pt x="673" y="504"/>
                  </a:lnTo>
                  <a:lnTo>
                    <a:pt x="666" y="520"/>
                  </a:lnTo>
                  <a:lnTo>
                    <a:pt x="659" y="536"/>
                  </a:lnTo>
                  <a:lnTo>
                    <a:pt x="650" y="551"/>
                  </a:lnTo>
                  <a:lnTo>
                    <a:pt x="641" y="566"/>
                  </a:lnTo>
                  <a:lnTo>
                    <a:pt x="631" y="580"/>
                  </a:lnTo>
                  <a:lnTo>
                    <a:pt x="621" y="594"/>
                  </a:lnTo>
                  <a:lnTo>
                    <a:pt x="609" y="607"/>
                  </a:lnTo>
                  <a:lnTo>
                    <a:pt x="599" y="620"/>
                  </a:lnTo>
                  <a:lnTo>
                    <a:pt x="586" y="632"/>
                  </a:lnTo>
                  <a:lnTo>
                    <a:pt x="573" y="642"/>
                  </a:lnTo>
                  <a:lnTo>
                    <a:pt x="560" y="653"/>
                  </a:lnTo>
                  <a:lnTo>
                    <a:pt x="546" y="664"/>
                  </a:lnTo>
                  <a:lnTo>
                    <a:pt x="532" y="674"/>
                  </a:lnTo>
                  <a:lnTo>
                    <a:pt x="518" y="682"/>
                  </a:lnTo>
                  <a:lnTo>
                    <a:pt x="502" y="690"/>
                  </a:lnTo>
                  <a:lnTo>
                    <a:pt x="487" y="697"/>
                  </a:lnTo>
                  <a:lnTo>
                    <a:pt x="471" y="704"/>
                  </a:lnTo>
                  <a:lnTo>
                    <a:pt x="455" y="709"/>
                  </a:lnTo>
                  <a:lnTo>
                    <a:pt x="438" y="714"/>
                  </a:lnTo>
                  <a:lnTo>
                    <a:pt x="421" y="719"/>
                  </a:lnTo>
                  <a:lnTo>
                    <a:pt x="404" y="722"/>
                  </a:lnTo>
                  <a:lnTo>
                    <a:pt x="386" y="724"/>
                  </a:lnTo>
                  <a:lnTo>
                    <a:pt x="369" y="725"/>
                  </a:lnTo>
                  <a:lnTo>
                    <a:pt x="350" y="726"/>
                  </a:lnTo>
                  <a:lnTo>
                    <a:pt x="332" y="725"/>
                  </a:lnTo>
                  <a:lnTo>
                    <a:pt x="315" y="724"/>
                  </a:lnTo>
                  <a:lnTo>
                    <a:pt x="297" y="722"/>
                  </a:lnTo>
                  <a:lnTo>
                    <a:pt x="279" y="719"/>
                  </a:lnTo>
                  <a:lnTo>
                    <a:pt x="262" y="714"/>
                  </a:lnTo>
                  <a:lnTo>
                    <a:pt x="246" y="710"/>
                  </a:lnTo>
                  <a:lnTo>
                    <a:pt x="230" y="705"/>
                  </a:lnTo>
                  <a:lnTo>
                    <a:pt x="214" y="698"/>
                  </a:lnTo>
                  <a:lnTo>
                    <a:pt x="199" y="691"/>
                  </a:lnTo>
                  <a:lnTo>
                    <a:pt x="183" y="683"/>
                  </a:lnTo>
                  <a:lnTo>
                    <a:pt x="169" y="675"/>
                  </a:lnTo>
                  <a:lnTo>
                    <a:pt x="155" y="665"/>
                  </a:lnTo>
                  <a:lnTo>
                    <a:pt x="141" y="655"/>
                  </a:lnTo>
                  <a:lnTo>
                    <a:pt x="127" y="645"/>
                  </a:lnTo>
                  <a:lnTo>
                    <a:pt x="115" y="634"/>
                  </a:lnTo>
                  <a:lnTo>
                    <a:pt x="102" y="622"/>
                  </a:lnTo>
                  <a:lnTo>
                    <a:pt x="90" y="609"/>
                  </a:lnTo>
                  <a:lnTo>
                    <a:pt x="80" y="596"/>
                  </a:lnTo>
                  <a:lnTo>
                    <a:pt x="70" y="582"/>
                  </a:lnTo>
                  <a:lnTo>
                    <a:pt x="59" y="568"/>
                  </a:lnTo>
                  <a:lnTo>
                    <a:pt x="50" y="554"/>
                  </a:lnTo>
                  <a:lnTo>
                    <a:pt x="42" y="538"/>
                  </a:lnTo>
                  <a:lnTo>
                    <a:pt x="34" y="523"/>
                  </a:lnTo>
                  <a:lnTo>
                    <a:pt x="27" y="507"/>
                  </a:lnTo>
                  <a:lnTo>
                    <a:pt x="21" y="490"/>
                  </a:lnTo>
                  <a:lnTo>
                    <a:pt x="15" y="473"/>
                  </a:lnTo>
                  <a:lnTo>
                    <a:pt x="11" y="455"/>
                  </a:lnTo>
                  <a:lnTo>
                    <a:pt x="6" y="438"/>
                  </a:lnTo>
                  <a:lnTo>
                    <a:pt x="4" y="420"/>
                  </a:lnTo>
                  <a:lnTo>
                    <a:pt x="2" y="401"/>
                  </a:lnTo>
                  <a:lnTo>
                    <a:pt x="0" y="382"/>
                  </a:lnTo>
                  <a:lnTo>
                    <a:pt x="0" y="363"/>
                  </a:lnTo>
                  <a:lnTo>
                    <a:pt x="0" y="337"/>
                  </a:lnTo>
                  <a:lnTo>
                    <a:pt x="1" y="313"/>
                  </a:lnTo>
                  <a:lnTo>
                    <a:pt x="3" y="291"/>
                  </a:lnTo>
                  <a:lnTo>
                    <a:pt x="6" y="272"/>
                  </a:lnTo>
                  <a:lnTo>
                    <a:pt x="12" y="245"/>
                  </a:lnTo>
                  <a:lnTo>
                    <a:pt x="15" y="234"/>
                  </a:lnTo>
                  <a:lnTo>
                    <a:pt x="93" y="234"/>
                  </a:lnTo>
                  <a:lnTo>
                    <a:pt x="93" y="211"/>
                  </a:lnTo>
                  <a:lnTo>
                    <a:pt x="92" y="211"/>
                  </a:lnTo>
                  <a:lnTo>
                    <a:pt x="87" y="205"/>
                  </a:lnTo>
                  <a:lnTo>
                    <a:pt x="73" y="190"/>
                  </a:lnTo>
                  <a:lnTo>
                    <a:pt x="44" y="162"/>
                  </a:lnTo>
                  <a:lnTo>
                    <a:pt x="60" y="145"/>
                  </a:lnTo>
                  <a:lnTo>
                    <a:pt x="75" y="128"/>
                  </a:lnTo>
                  <a:lnTo>
                    <a:pt x="91" y="112"/>
                  </a:lnTo>
                  <a:lnTo>
                    <a:pt x="107" y="97"/>
                  </a:lnTo>
                  <a:lnTo>
                    <a:pt x="124" y="83"/>
                  </a:lnTo>
                  <a:lnTo>
                    <a:pt x="141" y="70"/>
                  </a:lnTo>
                  <a:lnTo>
                    <a:pt x="159" y="57"/>
                  </a:lnTo>
                  <a:lnTo>
                    <a:pt x="177" y="46"/>
                  </a:lnTo>
                  <a:lnTo>
                    <a:pt x="196" y="35"/>
                  </a:lnTo>
                  <a:lnTo>
                    <a:pt x="215" y="27"/>
                  </a:lnTo>
                  <a:lnTo>
                    <a:pt x="235" y="19"/>
                  </a:lnTo>
                  <a:lnTo>
                    <a:pt x="257" y="12"/>
                  </a:lnTo>
                  <a:lnTo>
                    <a:pt x="278" y="7"/>
                  </a:lnTo>
                  <a:lnTo>
                    <a:pt x="301" y="3"/>
                  </a:lnTo>
                  <a:lnTo>
                    <a:pt x="326" y="1"/>
                  </a:lnTo>
                  <a:lnTo>
                    <a:pt x="350" y="0"/>
                  </a:lnTo>
                  <a:lnTo>
                    <a:pt x="369" y="1"/>
                  </a:lnTo>
                  <a:lnTo>
                    <a:pt x="386" y="2"/>
                  </a:lnTo>
                  <a:lnTo>
                    <a:pt x="404" y="4"/>
                  </a:lnTo>
                  <a:lnTo>
                    <a:pt x="421" y="7"/>
                  </a:lnTo>
                  <a:lnTo>
                    <a:pt x="438" y="12"/>
                  </a:lnTo>
                  <a:lnTo>
                    <a:pt x="455" y="16"/>
                  </a:lnTo>
                  <a:lnTo>
                    <a:pt x="471" y="22"/>
                  </a:lnTo>
                  <a:lnTo>
                    <a:pt x="487" y="29"/>
                  </a:lnTo>
                  <a:lnTo>
                    <a:pt x="502" y="35"/>
                  </a:lnTo>
                  <a:lnTo>
                    <a:pt x="518" y="44"/>
                  </a:lnTo>
                  <a:lnTo>
                    <a:pt x="532" y="53"/>
                  </a:lnTo>
                  <a:lnTo>
                    <a:pt x="546" y="62"/>
                  </a:lnTo>
                  <a:lnTo>
                    <a:pt x="560" y="72"/>
                  </a:lnTo>
                  <a:lnTo>
                    <a:pt x="573" y="83"/>
                  </a:lnTo>
                  <a:lnTo>
                    <a:pt x="586" y="94"/>
                  </a:lnTo>
                  <a:lnTo>
                    <a:pt x="599" y="106"/>
                  </a:lnTo>
                  <a:lnTo>
                    <a:pt x="609" y="119"/>
                  </a:lnTo>
                  <a:lnTo>
                    <a:pt x="621" y="132"/>
                  </a:lnTo>
                  <a:lnTo>
                    <a:pt x="631" y="146"/>
                  </a:lnTo>
                  <a:lnTo>
                    <a:pt x="641" y="160"/>
                  </a:lnTo>
                  <a:lnTo>
                    <a:pt x="650" y="175"/>
                  </a:lnTo>
                  <a:lnTo>
                    <a:pt x="659" y="190"/>
                  </a:lnTo>
                  <a:lnTo>
                    <a:pt x="666" y="205"/>
                  </a:lnTo>
                  <a:lnTo>
                    <a:pt x="673" y="221"/>
                  </a:lnTo>
                  <a:lnTo>
                    <a:pt x="679" y="238"/>
                  </a:lnTo>
                  <a:lnTo>
                    <a:pt x="685" y="255"/>
                  </a:lnTo>
                  <a:lnTo>
                    <a:pt x="690" y="272"/>
                  </a:lnTo>
                  <a:lnTo>
                    <a:pt x="693" y="290"/>
                  </a:lnTo>
                  <a:lnTo>
                    <a:pt x="696" y="307"/>
                  </a:lnTo>
                  <a:lnTo>
                    <a:pt x="699" y="325"/>
                  </a:lnTo>
                  <a:lnTo>
                    <a:pt x="701" y="344"/>
                  </a:lnTo>
                  <a:lnTo>
                    <a:pt x="701" y="363"/>
                  </a:lnTo>
                  <a:close/>
                </a:path>
              </a:pathLst>
            </a:custGeom>
            <a:solidFill>
              <a:srgbClr val="46B3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45"/>
            <p:cNvSpPr>
              <a:spLocks/>
            </p:cNvSpPr>
            <p:nvPr/>
          </p:nvSpPr>
          <p:spPr bwMode="auto">
            <a:xfrm>
              <a:off x="6415088" y="3130550"/>
              <a:ext cx="519113" cy="530225"/>
            </a:xfrm>
            <a:custGeom>
              <a:avLst/>
              <a:gdLst>
                <a:gd name="T0" fmla="*/ 979 w 982"/>
                <a:gd name="T1" fmla="*/ 459 h 1002"/>
                <a:gd name="T2" fmla="*/ 970 w 982"/>
                <a:gd name="T3" fmla="*/ 384 h 1002"/>
                <a:gd name="T4" fmla="*/ 948 w 982"/>
                <a:gd name="T5" fmla="*/ 313 h 1002"/>
                <a:gd name="T6" fmla="*/ 916 w 982"/>
                <a:gd name="T7" fmla="*/ 245 h 1002"/>
                <a:gd name="T8" fmla="*/ 873 w 982"/>
                <a:gd name="T9" fmla="*/ 183 h 1002"/>
                <a:gd name="T10" fmla="*/ 819 w 982"/>
                <a:gd name="T11" fmla="*/ 127 h 1002"/>
                <a:gd name="T12" fmla="*/ 760 w 982"/>
                <a:gd name="T13" fmla="*/ 82 h 1002"/>
                <a:gd name="T14" fmla="*/ 697 w 982"/>
                <a:gd name="T15" fmla="*/ 47 h 1002"/>
                <a:gd name="T16" fmla="*/ 630 w 982"/>
                <a:gd name="T17" fmla="*/ 21 h 1002"/>
                <a:gd name="T18" fmla="*/ 561 w 982"/>
                <a:gd name="T19" fmla="*/ 6 h 1002"/>
                <a:gd name="T20" fmla="*/ 490 w 982"/>
                <a:gd name="T21" fmla="*/ 0 h 1002"/>
                <a:gd name="T22" fmla="*/ 420 w 982"/>
                <a:gd name="T23" fmla="*/ 5 h 1002"/>
                <a:gd name="T24" fmla="*/ 351 w 982"/>
                <a:gd name="T25" fmla="*/ 20 h 1002"/>
                <a:gd name="T26" fmla="*/ 284 w 982"/>
                <a:gd name="T27" fmla="*/ 45 h 1002"/>
                <a:gd name="T28" fmla="*/ 221 w 982"/>
                <a:gd name="T29" fmla="*/ 80 h 1002"/>
                <a:gd name="T30" fmla="*/ 161 w 982"/>
                <a:gd name="T31" fmla="*/ 125 h 1002"/>
                <a:gd name="T32" fmla="*/ 23 w 982"/>
                <a:gd name="T33" fmla="*/ 138 h 1002"/>
                <a:gd name="T34" fmla="*/ 233 w 982"/>
                <a:gd name="T35" fmla="*/ 371 h 1002"/>
                <a:gd name="T36" fmla="*/ 242 w 982"/>
                <a:gd name="T37" fmla="*/ 240 h 1002"/>
                <a:gd name="T38" fmla="*/ 283 w 982"/>
                <a:gd name="T39" fmla="*/ 206 h 1002"/>
                <a:gd name="T40" fmla="*/ 327 w 982"/>
                <a:gd name="T41" fmla="*/ 178 h 1002"/>
                <a:gd name="T42" fmla="*/ 374 w 982"/>
                <a:gd name="T43" fmla="*/ 158 h 1002"/>
                <a:gd name="T44" fmla="*/ 424 w 982"/>
                <a:gd name="T45" fmla="*/ 146 h 1002"/>
                <a:gd name="T46" fmla="*/ 474 w 982"/>
                <a:gd name="T47" fmla="*/ 140 h 1002"/>
                <a:gd name="T48" fmla="*/ 524 w 982"/>
                <a:gd name="T49" fmla="*/ 141 h 1002"/>
                <a:gd name="T50" fmla="*/ 574 w 982"/>
                <a:gd name="T51" fmla="*/ 150 h 1002"/>
                <a:gd name="T52" fmla="*/ 623 w 982"/>
                <a:gd name="T53" fmla="*/ 166 h 1002"/>
                <a:gd name="T54" fmla="*/ 669 w 982"/>
                <a:gd name="T55" fmla="*/ 190 h 1002"/>
                <a:gd name="T56" fmla="*/ 712 w 982"/>
                <a:gd name="T57" fmla="*/ 220 h 1002"/>
                <a:gd name="T58" fmla="*/ 752 w 982"/>
                <a:gd name="T59" fmla="*/ 257 h 1002"/>
                <a:gd name="T60" fmla="*/ 786 w 982"/>
                <a:gd name="T61" fmla="*/ 303 h 1002"/>
                <a:gd name="T62" fmla="*/ 812 w 982"/>
                <a:gd name="T63" fmla="*/ 353 h 1002"/>
                <a:gd name="T64" fmla="*/ 829 w 982"/>
                <a:gd name="T65" fmla="*/ 404 h 1002"/>
                <a:gd name="T66" fmla="*/ 839 w 982"/>
                <a:gd name="T67" fmla="*/ 458 h 1002"/>
                <a:gd name="T68" fmla="*/ 841 w 982"/>
                <a:gd name="T69" fmla="*/ 512 h 1002"/>
                <a:gd name="T70" fmla="*/ 836 w 982"/>
                <a:gd name="T71" fmla="*/ 565 h 1002"/>
                <a:gd name="T72" fmla="*/ 825 w 982"/>
                <a:gd name="T73" fmla="*/ 615 h 1002"/>
                <a:gd name="T74" fmla="*/ 806 w 982"/>
                <a:gd name="T75" fmla="*/ 663 h 1002"/>
                <a:gd name="T76" fmla="*/ 781 w 982"/>
                <a:gd name="T77" fmla="*/ 707 h 1002"/>
                <a:gd name="T78" fmla="*/ 749 w 982"/>
                <a:gd name="T79" fmla="*/ 747 h 1002"/>
                <a:gd name="T80" fmla="*/ 713 w 982"/>
                <a:gd name="T81" fmla="*/ 782 h 1002"/>
                <a:gd name="T82" fmla="*/ 672 w 982"/>
                <a:gd name="T83" fmla="*/ 811 h 1002"/>
                <a:gd name="T84" fmla="*/ 627 w 982"/>
                <a:gd name="T85" fmla="*/ 834 h 1002"/>
                <a:gd name="T86" fmla="*/ 578 w 982"/>
                <a:gd name="T87" fmla="*/ 850 h 1002"/>
                <a:gd name="T88" fmla="*/ 526 w 982"/>
                <a:gd name="T89" fmla="*/ 860 h 1002"/>
                <a:gd name="T90" fmla="*/ 490 w 982"/>
                <a:gd name="T91" fmla="*/ 1002 h 1002"/>
                <a:gd name="T92" fmla="*/ 566 w 982"/>
                <a:gd name="T93" fmla="*/ 996 h 1002"/>
                <a:gd name="T94" fmla="*/ 637 w 982"/>
                <a:gd name="T95" fmla="*/ 980 h 1002"/>
                <a:gd name="T96" fmla="*/ 703 w 982"/>
                <a:gd name="T97" fmla="*/ 953 h 1002"/>
                <a:gd name="T98" fmla="*/ 764 w 982"/>
                <a:gd name="T99" fmla="*/ 918 h 1002"/>
                <a:gd name="T100" fmla="*/ 820 w 982"/>
                <a:gd name="T101" fmla="*/ 874 h 1002"/>
                <a:gd name="T102" fmla="*/ 869 w 982"/>
                <a:gd name="T103" fmla="*/ 823 h 1002"/>
                <a:gd name="T104" fmla="*/ 911 w 982"/>
                <a:gd name="T105" fmla="*/ 765 h 1002"/>
                <a:gd name="T106" fmla="*/ 943 w 982"/>
                <a:gd name="T107" fmla="*/ 702 h 1002"/>
                <a:gd name="T108" fmla="*/ 965 w 982"/>
                <a:gd name="T109" fmla="*/ 634 h 1002"/>
                <a:gd name="T110" fmla="*/ 978 w 982"/>
                <a:gd name="T111" fmla="*/ 561 h 1002"/>
                <a:gd name="T112" fmla="*/ 980 w 982"/>
                <a:gd name="T113" fmla="*/ 512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82" h="1002">
                  <a:moveTo>
                    <a:pt x="980" y="512"/>
                  </a:moveTo>
                  <a:lnTo>
                    <a:pt x="980" y="485"/>
                  </a:lnTo>
                  <a:lnTo>
                    <a:pt x="979" y="459"/>
                  </a:lnTo>
                  <a:lnTo>
                    <a:pt x="977" y="435"/>
                  </a:lnTo>
                  <a:lnTo>
                    <a:pt x="974" y="409"/>
                  </a:lnTo>
                  <a:lnTo>
                    <a:pt x="970" y="384"/>
                  </a:lnTo>
                  <a:lnTo>
                    <a:pt x="963" y="360"/>
                  </a:lnTo>
                  <a:lnTo>
                    <a:pt x="957" y="337"/>
                  </a:lnTo>
                  <a:lnTo>
                    <a:pt x="948" y="313"/>
                  </a:lnTo>
                  <a:lnTo>
                    <a:pt x="939" y="291"/>
                  </a:lnTo>
                  <a:lnTo>
                    <a:pt x="928" y="268"/>
                  </a:lnTo>
                  <a:lnTo>
                    <a:pt x="916" y="245"/>
                  </a:lnTo>
                  <a:lnTo>
                    <a:pt x="903" y="224"/>
                  </a:lnTo>
                  <a:lnTo>
                    <a:pt x="888" y="204"/>
                  </a:lnTo>
                  <a:lnTo>
                    <a:pt x="873" y="183"/>
                  </a:lnTo>
                  <a:lnTo>
                    <a:pt x="856" y="164"/>
                  </a:lnTo>
                  <a:lnTo>
                    <a:pt x="837" y="144"/>
                  </a:lnTo>
                  <a:lnTo>
                    <a:pt x="819" y="127"/>
                  </a:lnTo>
                  <a:lnTo>
                    <a:pt x="800" y="111"/>
                  </a:lnTo>
                  <a:lnTo>
                    <a:pt x="781" y="96"/>
                  </a:lnTo>
                  <a:lnTo>
                    <a:pt x="760" y="82"/>
                  </a:lnTo>
                  <a:lnTo>
                    <a:pt x="740" y="69"/>
                  </a:lnTo>
                  <a:lnTo>
                    <a:pt x="719" y="57"/>
                  </a:lnTo>
                  <a:lnTo>
                    <a:pt x="697" y="47"/>
                  </a:lnTo>
                  <a:lnTo>
                    <a:pt x="675" y="37"/>
                  </a:lnTo>
                  <a:lnTo>
                    <a:pt x="653" y="28"/>
                  </a:lnTo>
                  <a:lnTo>
                    <a:pt x="630" y="21"/>
                  </a:lnTo>
                  <a:lnTo>
                    <a:pt x="607" y="14"/>
                  </a:lnTo>
                  <a:lnTo>
                    <a:pt x="584" y="9"/>
                  </a:lnTo>
                  <a:lnTo>
                    <a:pt x="561" y="6"/>
                  </a:lnTo>
                  <a:lnTo>
                    <a:pt x="538" y="3"/>
                  </a:lnTo>
                  <a:lnTo>
                    <a:pt x="514" y="0"/>
                  </a:lnTo>
                  <a:lnTo>
                    <a:pt x="490" y="0"/>
                  </a:lnTo>
                  <a:lnTo>
                    <a:pt x="467" y="0"/>
                  </a:lnTo>
                  <a:lnTo>
                    <a:pt x="443" y="3"/>
                  </a:lnTo>
                  <a:lnTo>
                    <a:pt x="420" y="5"/>
                  </a:lnTo>
                  <a:lnTo>
                    <a:pt x="397" y="9"/>
                  </a:lnTo>
                  <a:lnTo>
                    <a:pt x="374" y="13"/>
                  </a:lnTo>
                  <a:lnTo>
                    <a:pt x="351" y="20"/>
                  </a:lnTo>
                  <a:lnTo>
                    <a:pt x="328" y="27"/>
                  </a:lnTo>
                  <a:lnTo>
                    <a:pt x="305" y="36"/>
                  </a:lnTo>
                  <a:lnTo>
                    <a:pt x="284" y="45"/>
                  </a:lnTo>
                  <a:lnTo>
                    <a:pt x="263" y="55"/>
                  </a:lnTo>
                  <a:lnTo>
                    <a:pt x="241" y="67"/>
                  </a:lnTo>
                  <a:lnTo>
                    <a:pt x="221" y="80"/>
                  </a:lnTo>
                  <a:lnTo>
                    <a:pt x="200" y="94"/>
                  </a:lnTo>
                  <a:lnTo>
                    <a:pt x="181" y="109"/>
                  </a:lnTo>
                  <a:lnTo>
                    <a:pt x="161" y="125"/>
                  </a:lnTo>
                  <a:lnTo>
                    <a:pt x="143" y="143"/>
                  </a:lnTo>
                  <a:lnTo>
                    <a:pt x="86" y="200"/>
                  </a:lnTo>
                  <a:lnTo>
                    <a:pt x="23" y="138"/>
                  </a:lnTo>
                  <a:lnTo>
                    <a:pt x="0" y="138"/>
                  </a:lnTo>
                  <a:lnTo>
                    <a:pt x="0" y="371"/>
                  </a:lnTo>
                  <a:lnTo>
                    <a:pt x="233" y="371"/>
                  </a:lnTo>
                  <a:lnTo>
                    <a:pt x="233" y="348"/>
                  </a:lnTo>
                  <a:lnTo>
                    <a:pt x="184" y="299"/>
                  </a:lnTo>
                  <a:lnTo>
                    <a:pt x="242" y="240"/>
                  </a:lnTo>
                  <a:lnTo>
                    <a:pt x="256" y="228"/>
                  </a:lnTo>
                  <a:lnTo>
                    <a:pt x="269" y="216"/>
                  </a:lnTo>
                  <a:lnTo>
                    <a:pt x="283" y="206"/>
                  </a:lnTo>
                  <a:lnTo>
                    <a:pt x="298" y="196"/>
                  </a:lnTo>
                  <a:lnTo>
                    <a:pt x="312" y="186"/>
                  </a:lnTo>
                  <a:lnTo>
                    <a:pt x="327" y="178"/>
                  </a:lnTo>
                  <a:lnTo>
                    <a:pt x="343" y="170"/>
                  </a:lnTo>
                  <a:lnTo>
                    <a:pt x="358" y="164"/>
                  </a:lnTo>
                  <a:lnTo>
                    <a:pt x="374" y="158"/>
                  </a:lnTo>
                  <a:lnTo>
                    <a:pt x="390" y="153"/>
                  </a:lnTo>
                  <a:lnTo>
                    <a:pt x="407" y="149"/>
                  </a:lnTo>
                  <a:lnTo>
                    <a:pt x="424" y="146"/>
                  </a:lnTo>
                  <a:lnTo>
                    <a:pt x="440" y="142"/>
                  </a:lnTo>
                  <a:lnTo>
                    <a:pt x="457" y="140"/>
                  </a:lnTo>
                  <a:lnTo>
                    <a:pt x="474" y="140"/>
                  </a:lnTo>
                  <a:lnTo>
                    <a:pt x="490" y="139"/>
                  </a:lnTo>
                  <a:lnTo>
                    <a:pt x="508" y="140"/>
                  </a:lnTo>
                  <a:lnTo>
                    <a:pt x="524" y="141"/>
                  </a:lnTo>
                  <a:lnTo>
                    <a:pt x="541" y="143"/>
                  </a:lnTo>
                  <a:lnTo>
                    <a:pt x="557" y="147"/>
                  </a:lnTo>
                  <a:lnTo>
                    <a:pt x="574" y="150"/>
                  </a:lnTo>
                  <a:lnTo>
                    <a:pt x="590" y="155"/>
                  </a:lnTo>
                  <a:lnTo>
                    <a:pt x="606" y="161"/>
                  </a:lnTo>
                  <a:lnTo>
                    <a:pt x="623" y="166"/>
                  </a:lnTo>
                  <a:lnTo>
                    <a:pt x="638" y="173"/>
                  </a:lnTo>
                  <a:lnTo>
                    <a:pt x="654" y="181"/>
                  </a:lnTo>
                  <a:lnTo>
                    <a:pt x="669" y="190"/>
                  </a:lnTo>
                  <a:lnTo>
                    <a:pt x="684" y="198"/>
                  </a:lnTo>
                  <a:lnTo>
                    <a:pt x="698" y="209"/>
                  </a:lnTo>
                  <a:lnTo>
                    <a:pt x="712" y="220"/>
                  </a:lnTo>
                  <a:lnTo>
                    <a:pt x="726" y="231"/>
                  </a:lnTo>
                  <a:lnTo>
                    <a:pt x="739" y="243"/>
                  </a:lnTo>
                  <a:lnTo>
                    <a:pt x="752" y="257"/>
                  </a:lnTo>
                  <a:lnTo>
                    <a:pt x="763" y="272"/>
                  </a:lnTo>
                  <a:lnTo>
                    <a:pt x="775" y="287"/>
                  </a:lnTo>
                  <a:lnTo>
                    <a:pt x="786" y="303"/>
                  </a:lnTo>
                  <a:lnTo>
                    <a:pt x="796" y="320"/>
                  </a:lnTo>
                  <a:lnTo>
                    <a:pt x="804" y="336"/>
                  </a:lnTo>
                  <a:lnTo>
                    <a:pt x="812" y="353"/>
                  </a:lnTo>
                  <a:lnTo>
                    <a:pt x="818" y="370"/>
                  </a:lnTo>
                  <a:lnTo>
                    <a:pt x="825" y="387"/>
                  </a:lnTo>
                  <a:lnTo>
                    <a:pt x="829" y="404"/>
                  </a:lnTo>
                  <a:lnTo>
                    <a:pt x="833" y="423"/>
                  </a:lnTo>
                  <a:lnTo>
                    <a:pt x="836" y="440"/>
                  </a:lnTo>
                  <a:lnTo>
                    <a:pt x="839" y="458"/>
                  </a:lnTo>
                  <a:lnTo>
                    <a:pt x="841" y="476"/>
                  </a:lnTo>
                  <a:lnTo>
                    <a:pt x="841" y="494"/>
                  </a:lnTo>
                  <a:lnTo>
                    <a:pt x="841" y="512"/>
                  </a:lnTo>
                  <a:lnTo>
                    <a:pt x="841" y="529"/>
                  </a:lnTo>
                  <a:lnTo>
                    <a:pt x="839" y="547"/>
                  </a:lnTo>
                  <a:lnTo>
                    <a:pt x="836" y="565"/>
                  </a:lnTo>
                  <a:lnTo>
                    <a:pt x="833" y="582"/>
                  </a:lnTo>
                  <a:lnTo>
                    <a:pt x="830" y="599"/>
                  </a:lnTo>
                  <a:lnTo>
                    <a:pt x="825" y="615"/>
                  </a:lnTo>
                  <a:lnTo>
                    <a:pt x="819" y="632"/>
                  </a:lnTo>
                  <a:lnTo>
                    <a:pt x="813" y="647"/>
                  </a:lnTo>
                  <a:lnTo>
                    <a:pt x="806" y="663"/>
                  </a:lnTo>
                  <a:lnTo>
                    <a:pt x="799" y="678"/>
                  </a:lnTo>
                  <a:lnTo>
                    <a:pt x="790" y="693"/>
                  </a:lnTo>
                  <a:lnTo>
                    <a:pt x="781" y="707"/>
                  </a:lnTo>
                  <a:lnTo>
                    <a:pt x="771" y="721"/>
                  </a:lnTo>
                  <a:lnTo>
                    <a:pt x="761" y="734"/>
                  </a:lnTo>
                  <a:lnTo>
                    <a:pt x="749" y="747"/>
                  </a:lnTo>
                  <a:lnTo>
                    <a:pt x="739" y="759"/>
                  </a:lnTo>
                  <a:lnTo>
                    <a:pt x="726" y="771"/>
                  </a:lnTo>
                  <a:lnTo>
                    <a:pt x="713" y="782"/>
                  </a:lnTo>
                  <a:lnTo>
                    <a:pt x="700" y="792"/>
                  </a:lnTo>
                  <a:lnTo>
                    <a:pt x="686" y="802"/>
                  </a:lnTo>
                  <a:lnTo>
                    <a:pt x="672" y="811"/>
                  </a:lnTo>
                  <a:lnTo>
                    <a:pt x="658" y="819"/>
                  </a:lnTo>
                  <a:lnTo>
                    <a:pt x="642" y="827"/>
                  </a:lnTo>
                  <a:lnTo>
                    <a:pt x="627" y="834"/>
                  </a:lnTo>
                  <a:lnTo>
                    <a:pt x="611" y="841"/>
                  </a:lnTo>
                  <a:lnTo>
                    <a:pt x="595" y="846"/>
                  </a:lnTo>
                  <a:lnTo>
                    <a:pt x="578" y="850"/>
                  </a:lnTo>
                  <a:lnTo>
                    <a:pt x="561" y="855"/>
                  </a:lnTo>
                  <a:lnTo>
                    <a:pt x="544" y="858"/>
                  </a:lnTo>
                  <a:lnTo>
                    <a:pt x="526" y="860"/>
                  </a:lnTo>
                  <a:lnTo>
                    <a:pt x="509" y="861"/>
                  </a:lnTo>
                  <a:lnTo>
                    <a:pt x="490" y="862"/>
                  </a:lnTo>
                  <a:lnTo>
                    <a:pt x="490" y="1002"/>
                  </a:lnTo>
                  <a:lnTo>
                    <a:pt x="516" y="1001"/>
                  </a:lnTo>
                  <a:lnTo>
                    <a:pt x="541" y="1000"/>
                  </a:lnTo>
                  <a:lnTo>
                    <a:pt x="566" y="996"/>
                  </a:lnTo>
                  <a:lnTo>
                    <a:pt x="589" y="992"/>
                  </a:lnTo>
                  <a:lnTo>
                    <a:pt x="613" y="987"/>
                  </a:lnTo>
                  <a:lnTo>
                    <a:pt x="637" y="980"/>
                  </a:lnTo>
                  <a:lnTo>
                    <a:pt x="659" y="972"/>
                  </a:lnTo>
                  <a:lnTo>
                    <a:pt x="682" y="963"/>
                  </a:lnTo>
                  <a:lnTo>
                    <a:pt x="703" y="953"/>
                  </a:lnTo>
                  <a:lnTo>
                    <a:pt x="725" y="943"/>
                  </a:lnTo>
                  <a:lnTo>
                    <a:pt x="745" y="931"/>
                  </a:lnTo>
                  <a:lnTo>
                    <a:pt x="764" y="918"/>
                  </a:lnTo>
                  <a:lnTo>
                    <a:pt x="784" y="904"/>
                  </a:lnTo>
                  <a:lnTo>
                    <a:pt x="803" y="890"/>
                  </a:lnTo>
                  <a:lnTo>
                    <a:pt x="820" y="874"/>
                  </a:lnTo>
                  <a:lnTo>
                    <a:pt x="837" y="858"/>
                  </a:lnTo>
                  <a:lnTo>
                    <a:pt x="854" y="841"/>
                  </a:lnTo>
                  <a:lnTo>
                    <a:pt x="869" y="823"/>
                  </a:lnTo>
                  <a:lnTo>
                    <a:pt x="884" y="805"/>
                  </a:lnTo>
                  <a:lnTo>
                    <a:pt x="898" y="786"/>
                  </a:lnTo>
                  <a:lnTo>
                    <a:pt x="911" y="765"/>
                  </a:lnTo>
                  <a:lnTo>
                    <a:pt x="922" y="745"/>
                  </a:lnTo>
                  <a:lnTo>
                    <a:pt x="933" y="724"/>
                  </a:lnTo>
                  <a:lnTo>
                    <a:pt x="943" y="702"/>
                  </a:lnTo>
                  <a:lnTo>
                    <a:pt x="951" y="679"/>
                  </a:lnTo>
                  <a:lnTo>
                    <a:pt x="959" y="657"/>
                  </a:lnTo>
                  <a:lnTo>
                    <a:pt x="965" y="634"/>
                  </a:lnTo>
                  <a:lnTo>
                    <a:pt x="971" y="611"/>
                  </a:lnTo>
                  <a:lnTo>
                    <a:pt x="975" y="586"/>
                  </a:lnTo>
                  <a:lnTo>
                    <a:pt x="978" y="561"/>
                  </a:lnTo>
                  <a:lnTo>
                    <a:pt x="980" y="537"/>
                  </a:lnTo>
                  <a:lnTo>
                    <a:pt x="982" y="512"/>
                  </a:lnTo>
                  <a:lnTo>
                    <a:pt x="980" y="512"/>
                  </a:lnTo>
                  <a:close/>
                </a:path>
              </a:pathLst>
            </a:custGeom>
            <a:solidFill>
              <a:srgbClr val="206E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46"/>
            <p:cNvSpPr>
              <a:spLocks/>
            </p:cNvSpPr>
            <p:nvPr/>
          </p:nvSpPr>
          <p:spPr bwMode="auto">
            <a:xfrm>
              <a:off x="6670675" y="3273425"/>
              <a:ext cx="57150" cy="169863"/>
            </a:xfrm>
            <a:custGeom>
              <a:avLst/>
              <a:gdLst>
                <a:gd name="T0" fmla="*/ 102 w 110"/>
                <a:gd name="T1" fmla="*/ 321 h 321"/>
                <a:gd name="T2" fmla="*/ 99 w 110"/>
                <a:gd name="T3" fmla="*/ 321 h 321"/>
                <a:gd name="T4" fmla="*/ 95 w 110"/>
                <a:gd name="T5" fmla="*/ 319 h 321"/>
                <a:gd name="T6" fmla="*/ 2 w 110"/>
                <a:gd name="T7" fmla="*/ 226 h 321"/>
                <a:gd name="T8" fmla="*/ 0 w 110"/>
                <a:gd name="T9" fmla="*/ 222 h 321"/>
                <a:gd name="T10" fmla="*/ 0 w 110"/>
                <a:gd name="T11" fmla="*/ 219 h 321"/>
                <a:gd name="T12" fmla="*/ 0 w 110"/>
                <a:gd name="T13" fmla="*/ 9 h 321"/>
                <a:gd name="T14" fmla="*/ 0 w 110"/>
                <a:gd name="T15" fmla="*/ 5 h 321"/>
                <a:gd name="T16" fmla="*/ 2 w 110"/>
                <a:gd name="T17" fmla="*/ 2 h 321"/>
                <a:gd name="T18" fmla="*/ 5 w 110"/>
                <a:gd name="T19" fmla="*/ 0 h 321"/>
                <a:gd name="T20" fmla="*/ 8 w 110"/>
                <a:gd name="T21" fmla="*/ 0 h 321"/>
                <a:gd name="T22" fmla="*/ 12 w 110"/>
                <a:gd name="T23" fmla="*/ 0 h 321"/>
                <a:gd name="T24" fmla="*/ 15 w 110"/>
                <a:gd name="T25" fmla="*/ 2 h 321"/>
                <a:gd name="T26" fmla="*/ 17 w 110"/>
                <a:gd name="T27" fmla="*/ 5 h 321"/>
                <a:gd name="T28" fmla="*/ 18 w 110"/>
                <a:gd name="T29" fmla="*/ 9 h 321"/>
                <a:gd name="T30" fmla="*/ 18 w 110"/>
                <a:gd name="T31" fmla="*/ 215 h 321"/>
                <a:gd name="T32" fmla="*/ 108 w 110"/>
                <a:gd name="T33" fmla="*/ 306 h 321"/>
                <a:gd name="T34" fmla="*/ 110 w 110"/>
                <a:gd name="T35" fmla="*/ 310 h 321"/>
                <a:gd name="T36" fmla="*/ 110 w 110"/>
                <a:gd name="T37" fmla="*/ 313 h 321"/>
                <a:gd name="T38" fmla="*/ 110 w 110"/>
                <a:gd name="T39" fmla="*/ 316 h 321"/>
                <a:gd name="T40" fmla="*/ 108 w 110"/>
                <a:gd name="T41" fmla="*/ 319 h 321"/>
                <a:gd name="T42" fmla="*/ 105 w 110"/>
                <a:gd name="T43" fmla="*/ 321 h 321"/>
                <a:gd name="T44" fmla="*/ 102 w 110"/>
                <a:gd name="T45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0" h="321">
                  <a:moveTo>
                    <a:pt x="102" y="321"/>
                  </a:moveTo>
                  <a:lnTo>
                    <a:pt x="99" y="321"/>
                  </a:lnTo>
                  <a:lnTo>
                    <a:pt x="95" y="319"/>
                  </a:lnTo>
                  <a:lnTo>
                    <a:pt x="2" y="226"/>
                  </a:lnTo>
                  <a:lnTo>
                    <a:pt x="0" y="222"/>
                  </a:lnTo>
                  <a:lnTo>
                    <a:pt x="0" y="219"/>
                  </a:lnTo>
                  <a:lnTo>
                    <a:pt x="0" y="9"/>
                  </a:lnTo>
                  <a:lnTo>
                    <a:pt x="0" y="5"/>
                  </a:lnTo>
                  <a:lnTo>
                    <a:pt x="2" y="2"/>
                  </a:lnTo>
                  <a:lnTo>
                    <a:pt x="5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7" y="5"/>
                  </a:lnTo>
                  <a:lnTo>
                    <a:pt x="18" y="9"/>
                  </a:lnTo>
                  <a:lnTo>
                    <a:pt x="18" y="215"/>
                  </a:lnTo>
                  <a:lnTo>
                    <a:pt x="108" y="306"/>
                  </a:lnTo>
                  <a:lnTo>
                    <a:pt x="110" y="310"/>
                  </a:lnTo>
                  <a:lnTo>
                    <a:pt x="110" y="313"/>
                  </a:lnTo>
                  <a:lnTo>
                    <a:pt x="110" y="316"/>
                  </a:lnTo>
                  <a:lnTo>
                    <a:pt x="108" y="319"/>
                  </a:lnTo>
                  <a:lnTo>
                    <a:pt x="105" y="321"/>
                  </a:lnTo>
                  <a:lnTo>
                    <a:pt x="102" y="321"/>
                  </a:lnTo>
                  <a:close/>
                </a:path>
              </a:pathLst>
            </a:custGeom>
            <a:solidFill>
              <a:srgbClr val="206E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47"/>
            <p:cNvSpPr>
              <a:spLocks noEditPoints="1"/>
            </p:cNvSpPr>
            <p:nvPr/>
          </p:nvSpPr>
          <p:spPr bwMode="auto">
            <a:xfrm>
              <a:off x="6410325" y="3125788"/>
              <a:ext cx="528638" cy="539750"/>
            </a:xfrm>
            <a:custGeom>
              <a:avLst/>
              <a:gdLst>
                <a:gd name="T0" fmla="*/ 613 w 999"/>
                <a:gd name="T1" fmla="*/ 861 h 1019"/>
                <a:gd name="T2" fmla="*/ 731 w 999"/>
                <a:gd name="T3" fmla="*/ 795 h 1019"/>
                <a:gd name="T4" fmla="*/ 816 w 999"/>
                <a:gd name="T5" fmla="*/ 690 h 1019"/>
                <a:gd name="T6" fmla="*/ 856 w 999"/>
                <a:gd name="T7" fmla="*/ 556 h 1019"/>
                <a:gd name="T8" fmla="*/ 846 w 999"/>
                <a:gd name="T9" fmla="*/ 408 h 1019"/>
                <a:gd name="T10" fmla="*/ 779 w 999"/>
                <a:gd name="T11" fmla="*/ 274 h 1019"/>
                <a:gd name="T12" fmla="*/ 668 w 999"/>
                <a:gd name="T13" fmla="*/ 182 h 1019"/>
                <a:gd name="T14" fmla="*/ 535 w 999"/>
                <a:gd name="T15" fmla="*/ 142 h 1019"/>
                <a:gd name="T16" fmla="*/ 395 w 999"/>
                <a:gd name="T17" fmla="*/ 153 h 1019"/>
                <a:gd name="T18" fmla="*/ 272 w 999"/>
                <a:gd name="T19" fmla="*/ 219 h 1019"/>
                <a:gd name="T20" fmla="*/ 234 w 999"/>
                <a:gd name="T21" fmla="*/ 361 h 1019"/>
                <a:gd name="T22" fmla="*/ 89 w 999"/>
                <a:gd name="T23" fmla="*/ 216 h 1019"/>
                <a:gd name="T24" fmla="*/ 215 w 999"/>
                <a:gd name="T25" fmla="*/ 110 h 1019"/>
                <a:gd name="T26" fmla="*/ 384 w 999"/>
                <a:gd name="T27" fmla="*/ 32 h 1019"/>
                <a:gd name="T28" fmla="*/ 568 w 999"/>
                <a:gd name="T29" fmla="*/ 23 h 1019"/>
                <a:gd name="T30" fmla="*/ 744 w 999"/>
                <a:gd name="T31" fmla="*/ 86 h 1019"/>
                <a:gd name="T32" fmla="*/ 889 w 999"/>
                <a:gd name="T33" fmla="*/ 217 h 1019"/>
                <a:gd name="T34" fmla="*/ 969 w 999"/>
                <a:gd name="T35" fmla="*/ 394 h 1019"/>
                <a:gd name="T36" fmla="*/ 981 w 999"/>
                <a:gd name="T37" fmla="*/ 548 h 1019"/>
                <a:gd name="T38" fmla="*/ 934 w 999"/>
                <a:gd name="T39" fmla="*/ 729 h 1019"/>
                <a:gd name="T40" fmla="*/ 825 w 999"/>
                <a:gd name="T41" fmla="*/ 874 h 1019"/>
                <a:gd name="T42" fmla="*/ 670 w 999"/>
                <a:gd name="T43" fmla="*/ 970 h 1019"/>
                <a:gd name="T44" fmla="*/ 158 w 999"/>
                <a:gd name="T45" fmla="*/ 520 h 1019"/>
                <a:gd name="T46" fmla="*/ 246 w 999"/>
                <a:gd name="T47" fmla="*/ 389 h 1019"/>
                <a:gd name="T48" fmla="*/ 259 w 999"/>
                <a:gd name="T49" fmla="*/ 256 h 1019"/>
                <a:gd name="T50" fmla="*/ 368 w 999"/>
                <a:gd name="T51" fmla="*/ 182 h 1019"/>
                <a:gd name="T52" fmla="*/ 499 w 999"/>
                <a:gd name="T53" fmla="*/ 158 h 1019"/>
                <a:gd name="T54" fmla="*/ 630 w 999"/>
                <a:gd name="T55" fmla="*/ 185 h 1019"/>
                <a:gd name="T56" fmla="*/ 741 w 999"/>
                <a:gd name="T57" fmla="*/ 259 h 1019"/>
                <a:gd name="T58" fmla="*/ 817 w 999"/>
                <a:gd name="T59" fmla="*/ 379 h 1019"/>
                <a:gd name="T60" fmla="*/ 840 w 999"/>
                <a:gd name="T61" fmla="*/ 521 h 1019"/>
                <a:gd name="T62" fmla="*/ 813 w 999"/>
                <a:gd name="T63" fmla="*/ 653 h 1019"/>
                <a:gd name="T64" fmla="*/ 740 w 999"/>
                <a:gd name="T65" fmla="*/ 762 h 1019"/>
                <a:gd name="T66" fmla="*/ 632 w 999"/>
                <a:gd name="T67" fmla="*/ 835 h 1019"/>
                <a:gd name="T68" fmla="*/ 499 w 999"/>
                <a:gd name="T69" fmla="*/ 861 h 1019"/>
                <a:gd name="T70" fmla="*/ 367 w 999"/>
                <a:gd name="T71" fmla="*/ 835 h 1019"/>
                <a:gd name="T72" fmla="*/ 259 w 999"/>
                <a:gd name="T73" fmla="*/ 762 h 1019"/>
                <a:gd name="T74" fmla="*/ 184 w 999"/>
                <a:gd name="T75" fmla="*/ 653 h 1019"/>
                <a:gd name="T76" fmla="*/ 158 w 999"/>
                <a:gd name="T77" fmla="*/ 520 h 1019"/>
                <a:gd name="T78" fmla="*/ 972 w 999"/>
                <a:gd name="T79" fmla="*/ 339 h 1019"/>
                <a:gd name="T80" fmla="*/ 871 w 999"/>
                <a:gd name="T81" fmla="*/ 166 h 1019"/>
                <a:gd name="T82" fmla="*/ 710 w 999"/>
                <a:gd name="T83" fmla="*/ 47 h 1019"/>
                <a:gd name="T84" fmla="*/ 523 w 999"/>
                <a:gd name="T85" fmla="*/ 1 h 1019"/>
                <a:gd name="T86" fmla="*/ 334 w 999"/>
                <a:gd name="T87" fmla="*/ 28 h 1019"/>
                <a:gd name="T88" fmla="*/ 165 w 999"/>
                <a:gd name="T89" fmla="*/ 128 h 1019"/>
                <a:gd name="T90" fmla="*/ 3 w 999"/>
                <a:gd name="T91" fmla="*/ 141 h 1019"/>
                <a:gd name="T92" fmla="*/ 152 w 999"/>
                <a:gd name="T93" fmla="*/ 389 h 1019"/>
                <a:gd name="T94" fmla="*/ 141 w 999"/>
                <a:gd name="T95" fmla="*/ 556 h 1019"/>
                <a:gd name="T96" fmla="*/ 182 w 999"/>
                <a:gd name="T97" fmla="*/ 690 h 1019"/>
                <a:gd name="T98" fmla="*/ 267 w 999"/>
                <a:gd name="T99" fmla="*/ 795 h 1019"/>
                <a:gd name="T100" fmla="*/ 387 w 999"/>
                <a:gd name="T101" fmla="*/ 861 h 1019"/>
                <a:gd name="T102" fmla="*/ 491 w 999"/>
                <a:gd name="T103" fmla="*/ 1014 h 1019"/>
                <a:gd name="T104" fmla="*/ 624 w 999"/>
                <a:gd name="T105" fmla="*/ 1004 h 1019"/>
                <a:gd name="T106" fmla="*/ 798 w 999"/>
                <a:gd name="T107" fmla="*/ 921 h 1019"/>
                <a:gd name="T108" fmla="*/ 927 w 999"/>
                <a:gd name="T109" fmla="*/ 779 h 1019"/>
                <a:gd name="T110" fmla="*/ 994 w 999"/>
                <a:gd name="T111" fmla="*/ 596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99" h="1019">
                  <a:moveTo>
                    <a:pt x="509" y="1002"/>
                  </a:moveTo>
                  <a:lnTo>
                    <a:pt x="509" y="880"/>
                  </a:lnTo>
                  <a:lnTo>
                    <a:pt x="526" y="879"/>
                  </a:lnTo>
                  <a:lnTo>
                    <a:pt x="544" y="877"/>
                  </a:lnTo>
                  <a:lnTo>
                    <a:pt x="562" y="874"/>
                  </a:lnTo>
                  <a:lnTo>
                    <a:pt x="579" y="871"/>
                  </a:lnTo>
                  <a:lnTo>
                    <a:pt x="596" y="867"/>
                  </a:lnTo>
                  <a:lnTo>
                    <a:pt x="613" y="861"/>
                  </a:lnTo>
                  <a:lnTo>
                    <a:pt x="629" y="855"/>
                  </a:lnTo>
                  <a:lnTo>
                    <a:pt x="644" y="849"/>
                  </a:lnTo>
                  <a:lnTo>
                    <a:pt x="661" y="841"/>
                  </a:lnTo>
                  <a:lnTo>
                    <a:pt x="676" y="834"/>
                  </a:lnTo>
                  <a:lnTo>
                    <a:pt x="691" y="825"/>
                  </a:lnTo>
                  <a:lnTo>
                    <a:pt x="705" y="815"/>
                  </a:lnTo>
                  <a:lnTo>
                    <a:pt x="719" y="806"/>
                  </a:lnTo>
                  <a:lnTo>
                    <a:pt x="731" y="795"/>
                  </a:lnTo>
                  <a:lnTo>
                    <a:pt x="744" y="783"/>
                  </a:lnTo>
                  <a:lnTo>
                    <a:pt x="756" y="771"/>
                  </a:lnTo>
                  <a:lnTo>
                    <a:pt x="768" y="759"/>
                  </a:lnTo>
                  <a:lnTo>
                    <a:pt x="779" y="747"/>
                  </a:lnTo>
                  <a:lnTo>
                    <a:pt x="790" y="733"/>
                  </a:lnTo>
                  <a:lnTo>
                    <a:pt x="799" y="719"/>
                  </a:lnTo>
                  <a:lnTo>
                    <a:pt x="808" y="705"/>
                  </a:lnTo>
                  <a:lnTo>
                    <a:pt x="816" y="690"/>
                  </a:lnTo>
                  <a:lnTo>
                    <a:pt x="824" y="675"/>
                  </a:lnTo>
                  <a:lnTo>
                    <a:pt x="831" y="658"/>
                  </a:lnTo>
                  <a:lnTo>
                    <a:pt x="837" y="642"/>
                  </a:lnTo>
                  <a:lnTo>
                    <a:pt x="843" y="626"/>
                  </a:lnTo>
                  <a:lnTo>
                    <a:pt x="848" y="609"/>
                  </a:lnTo>
                  <a:lnTo>
                    <a:pt x="852" y="592"/>
                  </a:lnTo>
                  <a:lnTo>
                    <a:pt x="854" y="575"/>
                  </a:lnTo>
                  <a:lnTo>
                    <a:pt x="856" y="556"/>
                  </a:lnTo>
                  <a:lnTo>
                    <a:pt x="858" y="539"/>
                  </a:lnTo>
                  <a:lnTo>
                    <a:pt x="858" y="521"/>
                  </a:lnTo>
                  <a:lnTo>
                    <a:pt x="859" y="502"/>
                  </a:lnTo>
                  <a:lnTo>
                    <a:pt x="858" y="483"/>
                  </a:lnTo>
                  <a:lnTo>
                    <a:pt x="857" y="464"/>
                  </a:lnTo>
                  <a:lnTo>
                    <a:pt x="854" y="445"/>
                  </a:lnTo>
                  <a:lnTo>
                    <a:pt x="851" y="426"/>
                  </a:lnTo>
                  <a:lnTo>
                    <a:pt x="846" y="408"/>
                  </a:lnTo>
                  <a:lnTo>
                    <a:pt x="841" y="390"/>
                  </a:lnTo>
                  <a:lnTo>
                    <a:pt x="835" y="372"/>
                  </a:lnTo>
                  <a:lnTo>
                    <a:pt x="827" y="354"/>
                  </a:lnTo>
                  <a:lnTo>
                    <a:pt x="820" y="337"/>
                  </a:lnTo>
                  <a:lnTo>
                    <a:pt x="810" y="321"/>
                  </a:lnTo>
                  <a:lnTo>
                    <a:pt x="800" y="305"/>
                  </a:lnTo>
                  <a:lnTo>
                    <a:pt x="790" y="289"/>
                  </a:lnTo>
                  <a:lnTo>
                    <a:pt x="779" y="274"/>
                  </a:lnTo>
                  <a:lnTo>
                    <a:pt x="767" y="260"/>
                  </a:lnTo>
                  <a:lnTo>
                    <a:pt x="754" y="246"/>
                  </a:lnTo>
                  <a:lnTo>
                    <a:pt x="740" y="234"/>
                  </a:lnTo>
                  <a:lnTo>
                    <a:pt x="727" y="222"/>
                  </a:lnTo>
                  <a:lnTo>
                    <a:pt x="713" y="211"/>
                  </a:lnTo>
                  <a:lnTo>
                    <a:pt x="698" y="201"/>
                  </a:lnTo>
                  <a:lnTo>
                    <a:pt x="684" y="191"/>
                  </a:lnTo>
                  <a:lnTo>
                    <a:pt x="668" y="182"/>
                  </a:lnTo>
                  <a:lnTo>
                    <a:pt x="653" y="175"/>
                  </a:lnTo>
                  <a:lnTo>
                    <a:pt x="637" y="167"/>
                  </a:lnTo>
                  <a:lnTo>
                    <a:pt x="621" y="161"/>
                  </a:lnTo>
                  <a:lnTo>
                    <a:pt x="604" y="156"/>
                  </a:lnTo>
                  <a:lnTo>
                    <a:pt x="587" y="151"/>
                  </a:lnTo>
                  <a:lnTo>
                    <a:pt x="570" y="147"/>
                  </a:lnTo>
                  <a:lnTo>
                    <a:pt x="553" y="144"/>
                  </a:lnTo>
                  <a:lnTo>
                    <a:pt x="535" y="142"/>
                  </a:lnTo>
                  <a:lnTo>
                    <a:pt x="518" y="139"/>
                  </a:lnTo>
                  <a:lnTo>
                    <a:pt x="499" y="139"/>
                  </a:lnTo>
                  <a:lnTo>
                    <a:pt x="481" y="139"/>
                  </a:lnTo>
                  <a:lnTo>
                    <a:pt x="464" y="141"/>
                  </a:lnTo>
                  <a:lnTo>
                    <a:pt x="446" y="143"/>
                  </a:lnTo>
                  <a:lnTo>
                    <a:pt x="428" y="146"/>
                  </a:lnTo>
                  <a:lnTo>
                    <a:pt x="411" y="149"/>
                  </a:lnTo>
                  <a:lnTo>
                    <a:pt x="395" y="153"/>
                  </a:lnTo>
                  <a:lnTo>
                    <a:pt x="378" y="159"/>
                  </a:lnTo>
                  <a:lnTo>
                    <a:pt x="362" y="165"/>
                  </a:lnTo>
                  <a:lnTo>
                    <a:pt x="346" y="172"/>
                  </a:lnTo>
                  <a:lnTo>
                    <a:pt x="331" y="180"/>
                  </a:lnTo>
                  <a:lnTo>
                    <a:pt x="314" y="189"/>
                  </a:lnTo>
                  <a:lnTo>
                    <a:pt x="301" y="198"/>
                  </a:lnTo>
                  <a:lnTo>
                    <a:pt x="285" y="208"/>
                  </a:lnTo>
                  <a:lnTo>
                    <a:pt x="272" y="219"/>
                  </a:lnTo>
                  <a:lnTo>
                    <a:pt x="259" y="231"/>
                  </a:lnTo>
                  <a:lnTo>
                    <a:pt x="246" y="243"/>
                  </a:lnTo>
                  <a:lnTo>
                    <a:pt x="187" y="302"/>
                  </a:lnTo>
                  <a:lnTo>
                    <a:pt x="186" y="304"/>
                  </a:lnTo>
                  <a:lnTo>
                    <a:pt x="184" y="308"/>
                  </a:lnTo>
                  <a:lnTo>
                    <a:pt x="186" y="311"/>
                  </a:lnTo>
                  <a:lnTo>
                    <a:pt x="187" y="314"/>
                  </a:lnTo>
                  <a:lnTo>
                    <a:pt x="234" y="361"/>
                  </a:lnTo>
                  <a:lnTo>
                    <a:pt x="234" y="372"/>
                  </a:lnTo>
                  <a:lnTo>
                    <a:pt x="164" y="372"/>
                  </a:lnTo>
                  <a:lnTo>
                    <a:pt x="164" y="372"/>
                  </a:lnTo>
                  <a:lnTo>
                    <a:pt x="164" y="372"/>
                  </a:lnTo>
                  <a:lnTo>
                    <a:pt x="18" y="372"/>
                  </a:lnTo>
                  <a:lnTo>
                    <a:pt x="18" y="156"/>
                  </a:lnTo>
                  <a:lnTo>
                    <a:pt x="29" y="156"/>
                  </a:lnTo>
                  <a:lnTo>
                    <a:pt x="89" y="216"/>
                  </a:lnTo>
                  <a:lnTo>
                    <a:pt x="91" y="218"/>
                  </a:lnTo>
                  <a:lnTo>
                    <a:pt x="94" y="218"/>
                  </a:lnTo>
                  <a:lnTo>
                    <a:pt x="98" y="218"/>
                  </a:lnTo>
                  <a:lnTo>
                    <a:pt x="101" y="216"/>
                  </a:lnTo>
                  <a:lnTo>
                    <a:pt x="159" y="158"/>
                  </a:lnTo>
                  <a:lnTo>
                    <a:pt x="177" y="142"/>
                  </a:lnTo>
                  <a:lnTo>
                    <a:pt x="195" y="126"/>
                  </a:lnTo>
                  <a:lnTo>
                    <a:pt x="215" y="110"/>
                  </a:lnTo>
                  <a:lnTo>
                    <a:pt x="234" y="97"/>
                  </a:lnTo>
                  <a:lnTo>
                    <a:pt x="254" y="85"/>
                  </a:lnTo>
                  <a:lnTo>
                    <a:pt x="275" y="73"/>
                  </a:lnTo>
                  <a:lnTo>
                    <a:pt x="296" y="62"/>
                  </a:lnTo>
                  <a:lnTo>
                    <a:pt x="318" y="54"/>
                  </a:lnTo>
                  <a:lnTo>
                    <a:pt x="340" y="45"/>
                  </a:lnTo>
                  <a:lnTo>
                    <a:pt x="362" y="37"/>
                  </a:lnTo>
                  <a:lnTo>
                    <a:pt x="384" y="32"/>
                  </a:lnTo>
                  <a:lnTo>
                    <a:pt x="407" y="27"/>
                  </a:lnTo>
                  <a:lnTo>
                    <a:pt x="431" y="23"/>
                  </a:lnTo>
                  <a:lnTo>
                    <a:pt x="453" y="20"/>
                  </a:lnTo>
                  <a:lnTo>
                    <a:pt x="476" y="19"/>
                  </a:lnTo>
                  <a:lnTo>
                    <a:pt x="499" y="18"/>
                  </a:lnTo>
                  <a:lnTo>
                    <a:pt x="522" y="19"/>
                  </a:lnTo>
                  <a:lnTo>
                    <a:pt x="546" y="20"/>
                  </a:lnTo>
                  <a:lnTo>
                    <a:pt x="568" y="23"/>
                  </a:lnTo>
                  <a:lnTo>
                    <a:pt x="592" y="28"/>
                  </a:lnTo>
                  <a:lnTo>
                    <a:pt x="614" y="32"/>
                  </a:lnTo>
                  <a:lnTo>
                    <a:pt x="637" y="39"/>
                  </a:lnTo>
                  <a:lnTo>
                    <a:pt x="658" y="46"/>
                  </a:lnTo>
                  <a:lnTo>
                    <a:pt x="681" y="54"/>
                  </a:lnTo>
                  <a:lnTo>
                    <a:pt x="702" y="63"/>
                  </a:lnTo>
                  <a:lnTo>
                    <a:pt x="724" y="74"/>
                  </a:lnTo>
                  <a:lnTo>
                    <a:pt x="744" y="86"/>
                  </a:lnTo>
                  <a:lnTo>
                    <a:pt x="765" y="99"/>
                  </a:lnTo>
                  <a:lnTo>
                    <a:pt x="784" y="112"/>
                  </a:lnTo>
                  <a:lnTo>
                    <a:pt x="804" y="127"/>
                  </a:lnTo>
                  <a:lnTo>
                    <a:pt x="822" y="143"/>
                  </a:lnTo>
                  <a:lnTo>
                    <a:pt x="840" y="160"/>
                  </a:lnTo>
                  <a:lnTo>
                    <a:pt x="857" y="178"/>
                  </a:lnTo>
                  <a:lnTo>
                    <a:pt x="874" y="198"/>
                  </a:lnTo>
                  <a:lnTo>
                    <a:pt x="889" y="217"/>
                  </a:lnTo>
                  <a:lnTo>
                    <a:pt x="903" y="237"/>
                  </a:lnTo>
                  <a:lnTo>
                    <a:pt x="916" y="258"/>
                  </a:lnTo>
                  <a:lnTo>
                    <a:pt x="928" y="279"/>
                  </a:lnTo>
                  <a:lnTo>
                    <a:pt x="939" y="302"/>
                  </a:lnTo>
                  <a:lnTo>
                    <a:pt x="948" y="324"/>
                  </a:lnTo>
                  <a:lnTo>
                    <a:pt x="956" y="347"/>
                  </a:lnTo>
                  <a:lnTo>
                    <a:pt x="964" y="370"/>
                  </a:lnTo>
                  <a:lnTo>
                    <a:pt x="969" y="394"/>
                  </a:lnTo>
                  <a:lnTo>
                    <a:pt x="973" y="419"/>
                  </a:lnTo>
                  <a:lnTo>
                    <a:pt x="978" y="444"/>
                  </a:lnTo>
                  <a:lnTo>
                    <a:pt x="980" y="468"/>
                  </a:lnTo>
                  <a:lnTo>
                    <a:pt x="981" y="494"/>
                  </a:lnTo>
                  <a:lnTo>
                    <a:pt x="980" y="520"/>
                  </a:lnTo>
                  <a:lnTo>
                    <a:pt x="981" y="522"/>
                  </a:lnTo>
                  <a:lnTo>
                    <a:pt x="981" y="524"/>
                  </a:lnTo>
                  <a:lnTo>
                    <a:pt x="981" y="548"/>
                  </a:lnTo>
                  <a:lnTo>
                    <a:pt x="979" y="572"/>
                  </a:lnTo>
                  <a:lnTo>
                    <a:pt x="975" y="596"/>
                  </a:lnTo>
                  <a:lnTo>
                    <a:pt x="971" y="619"/>
                  </a:lnTo>
                  <a:lnTo>
                    <a:pt x="966" y="642"/>
                  </a:lnTo>
                  <a:lnTo>
                    <a:pt x="959" y="665"/>
                  </a:lnTo>
                  <a:lnTo>
                    <a:pt x="952" y="686"/>
                  </a:lnTo>
                  <a:lnTo>
                    <a:pt x="943" y="708"/>
                  </a:lnTo>
                  <a:lnTo>
                    <a:pt x="934" y="729"/>
                  </a:lnTo>
                  <a:lnTo>
                    <a:pt x="923" y="750"/>
                  </a:lnTo>
                  <a:lnTo>
                    <a:pt x="912" y="769"/>
                  </a:lnTo>
                  <a:lnTo>
                    <a:pt x="899" y="788"/>
                  </a:lnTo>
                  <a:lnTo>
                    <a:pt x="886" y="807"/>
                  </a:lnTo>
                  <a:lnTo>
                    <a:pt x="872" y="825"/>
                  </a:lnTo>
                  <a:lnTo>
                    <a:pt x="857" y="842"/>
                  </a:lnTo>
                  <a:lnTo>
                    <a:pt x="842" y="859"/>
                  </a:lnTo>
                  <a:lnTo>
                    <a:pt x="825" y="874"/>
                  </a:lnTo>
                  <a:lnTo>
                    <a:pt x="808" y="889"/>
                  </a:lnTo>
                  <a:lnTo>
                    <a:pt x="791" y="903"/>
                  </a:lnTo>
                  <a:lnTo>
                    <a:pt x="772" y="917"/>
                  </a:lnTo>
                  <a:lnTo>
                    <a:pt x="753" y="930"/>
                  </a:lnTo>
                  <a:lnTo>
                    <a:pt x="733" y="941"/>
                  </a:lnTo>
                  <a:lnTo>
                    <a:pt x="713" y="952"/>
                  </a:lnTo>
                  <a:lnTo>
                    <a:pt x="692" y="961"/>
                  </a:lnTo>
                  <a:lnTo>
                    <a:pt x="670" y="970"/>
                  </a:lnTo>
                  <a:lnTo>
                    <a:pt x="649" y="979"/>
                  </a:lnTo>
                  <a:lnTo>
                    <a:pt x="626" y="985"/>
                  </a:lnTo>
                  <a:lnTo>
                    <a:pt x="604" y="990"/>
                  </a:lnTo>
                  <a:lnTo>
                    <a:pt x="580" y="995"/>
                  </a:lnTo>
                  <a:lnTo>
                    <a:pt x="556" y="999"/>
                  </a:lnTo>
                  <a:lnTo>
                    <a:pt x="533" y="1001"/>
                  </a:lnTo>
                  <a:lnTo>
                    <a:pt x="509" y="1002"/>
                  </a:lnTo>
                  <a:close/>
                  <a:moveTo>
                    <a:pt x="158" y="520"/>
                  </a:moveTo>
                  <a:lnTo>
                    <a:pt x="159" y="488"/>
                  </a:lnTo>
                  <a:lnTo>
                    <a:pt x="160" y="454"/>
                  </a:lnTo>
                  <a:lnTo>
                    <a:pt x="162" y="437"/>
                  </a:lnTo>
                  <a:lnTo>
                    <a:pt x="164" y="420"/>
                  </a:lnTo>
                  <a:lnTo>
                    <a:pt x="166" y="405"/>
                  </a:lnTo>
                  <a:lnTo>
                    <a:pt x="170" y="389"/>
                  </a:lnTo>
                  <a:lnTo>
                    <a:pt x="242" y="389"/>
                  </a:lnTo>
                  <a:lnTo>
                    <a:pt x="246" y="389"/>
                  </a:lnTo>
                  <a:lnTo>
                    <a:pt x="249" y="387"/>
                  </a:lnTo>
                  <a:lnTo>
                    <a:pt x="251" y="383"/>
                  </a:lnTo>
                  <a:lnTo>
                    <a:pt x="251" y="380"/>
                  </a:lnTo>
                  <a:lnTo>
                    <a:pt x="251" y="357"/>
                  </a:lnTo>
                  <a:lnTo>
                    <a:pt x="251" y="353"/>
                  </a:lnTo>
                  <a:lnTo>
                    <a:pt x="249" y="350"/>
                  </a:lnTo>
                  <a:lnTo>
                    <a:pt x="206" y="308"/>
                  </a:lnTo>
                  <a:lnTo>
                    <a:pt x="259" y="256"/>
                  </a:lnTo>
                  <a:lnTo>
                    <a:pt x="270" y="244"/>
                  </a:lnTo>
                  <a:lnTo>
                    <a:pt x="283" y="233"/>
                  </a:lnTo>
                  <a:lnTo>
                    <a:pt x="296" y="222"/>
                  </a:lnTo>
                  <a:lnTo>
                    <a:pt x="310" y="214"/>
                  </a:lnTo>
                  <a:lnTo>
                    <a:pt x="324" y="204"/>
                  </a:lnTo>
                  <a:lnTo>
                    <a:pt x="338" y="196"/>
                  </a:lnTo>
                  <a:lnTo>
                    <a:pt x="353" y="189"/>
                  </a:lnTo>
                  <a:lnTo>
                    <a:pt x="368" y="182"/>
                  </a:lnTo>
                  <a:lnTo>
                    <a:pt x="383" y="176"/>
                  </a:lnTo>
                  <a:lnTo>
                    <a:pt x="399" y="172"/>
                  </a:lnTo>
                  <a:lnTo>
                    <a:pt x="416" y="167"/>
                  </a:lnTo>
                  <a:lnTo>
                    <a:pt x="432" y="163"/>
                  </a:lnTo>
                  <a:lnTo>
                    <a:pt x="449" y="161"/>
                  </a:lnTo>
                  <a:lnTo>
                    <a:pt x="465" y="159"/>
                  </a:lnTo>
                  <a:lnTo>
                    <a:pt x="482" y="158"/>
                  </a:lnTo>
                  <a:lnTo>
                    <a:pt x="499" y="158"/>
                  </a:lnTo>
                  <a:lnTo>
                    <a:pt x="517" y="158"/>
                  </a:lnTo>
                  <a:lnTo>
                    <a:pt x="534" y="160"/>
                  </a:lnTo>
                  <a:lnTo>
                    <a:pt x="550" y="162"/>
                  </a:lnTo>
                  <a:lnTo>
                    <a:pt x="566" y="164"/>
                  </a:lnTo>
                  <a:lnTo>
                    <a:pt x="583" y="168"/>
                  </a:lnTo>
                  <a:lnTo>
                    <a:pt x="598" y="173"/>
                  </a:lnTo>
                  <a:lnTo>
                    <a:pt x="614" y="178"/>
                  </a:lnTo>
                  <a:lnTo>
                    <a:pt x="630" y="185"/>
                  </a:lnTo>
                  <a:lnTo>
                    <a:pt x="646" y="191"/>
                  </a:lnTo>
                  <a:lnTo>
                    <a:pt x="661" y="199"/>
                  </a:lnTo>
                  <a:lnTo>
                    <a:pt x="675" y="207"/>
                  </a:lnTo>
                  <a:lnTo>
                    <a:pt x="689" y="216"/>
                  </a:lnTo>
                  <a:lnTo>
                    <a:pt x="702" y="225"/>
                  </a:lnTo>
                  <a:lnTo>
                    <a:pt x="715" y="236"/>
                  </a:lnTo>
                  <a:lnTo>
                    <a:pt x="728" y="247"/>
                  </a:lnTo>
                  <a:lnTo>
                    <a:pt x="741" y="259"/>
                  </a:lnTo>
                  <a:lnTo>
                    <a:pt x="753" y="272"/>
                  </a:lnTo>
                  <a:lnTo>
                    <a:pt x="765" y="286"/>
                  </a:lnTo>
                  <a:lnTo>
                    <a:pt x="776" y="300"/>
                  </a:lnTo>
                  <a:lnTo>
                    <a:pt x="785" y="315"/>
                  </a:lnTo>
                  <a:lnTo>
                    <a:pt x="795" y="330"/>
                  </a:lnTo>
                  <a:lnTo>
                    <a:pt x="804" y="346"/>
                  </a:lnTo>
                  <a:lnTo>
                    <a:pt x="811" y="362"/>
                  </a:lnTo>
                  <a:lnTo>
                    <a:pt x="817" y="379"/>
                  </a:lnTo>
                  <a:lnTo>
                    <a:pt x="824" y="395"/>
                  </a:lnTo>
                  <a:lnTo>
                    <a:pt x="829" y="412"/>
                  </a:lnTo>
                  <a:lnTo>
                    <a:pt x="833" y="431"/>
                  </a:lnTo>
                  <a:lnTo>
                    <a:pt x="837" y="448"/>
                  </a:lnTo>
                  <a:lnTo>
                    <a:pt x="839" y="466"/>
                  </a:lnTo>
                  <a:lnTo>
                    <a:pt x="840" y="484"/>
                  </a:lnTo>
                  <a:lnTo>
                    <a:pt x="841" y="503"/>
                  </a:lnTo>
                  <a:lnTo>
                    <a:pt x="840" y="521"/>
                  </a:lnTo>
                  <a:lnTo>
                    <a:pt x="840" y="538"/>
                  </a:lnTo>
                  <a:lnTo>
                    <a:pt x="839" y="555"/>
                  </a:lnTo>
                  <a:lnTo>
                    <a:pt x="837" y="572"/>
                  </a:lnTo>
                  <a:lnTo>
                    <a:pt x="834" y="589"/>
                  </a:lnTo>
                  <a:lnTo>
                    <a:pt x="829" y="606"/>
                  </a:lnTo>
                  <a:lnTo>
                    <a:pt x="825" y="622"/>
                  </a:lnTo>
                  <a:lnTo>
                    <a:pt x="820" y="638"/>
                  </a:lnTo>
                  <a:lnTo>
                    <a:pt x="813" y="653"/>
                  </a:lnTo>
                  <a:lnTo>
                    <a:pt x="807" y="668"/>
                  </a:lnTo>
                  <a:lnTo>
                    <a:pt x="799" y="683"/>
                  </a:lnTo>
                  <a:lnTo>
                    <a:pt x="791" y="697"/>
                  </a:lnTo>
                  <a:lnTo>
                    <a:pt x="782" y="711"/>
                  </a:lnTo>
                  <a:lnTo>
                    <a:pt x="772" y="724"/>
                  </a:lnTo>
                  <a:lnTo>
                    <a:pt x="763" y="738"/>
                  </a:lnTo>
                  <a:lnTo>
                    <a:pt x="752" y="750"/>
                  </a:lnTo>
                  <a:lnTo>
                    <a:pt x="740" y="762"/>
                  </a:lnTo>
                  <a:lnTo>
                    <a:pt x="728" y="773"/>
                  </a:lnTo>
                  <a:lnTo>
                    <a:pt x="716" y="784"/>
                  </a:lnTo>
                  <a:lnTo>
                    <a:pt x="704" y="794"/>
                  </a:lnTo>
                  <a:lnTo>
                    <a:pt x="690" y="803"/>
                  </a:lnTo>
                  <a:lnTo>
                    <a:pt x="676" y="812"/>
                  </a:lnTo>
                  <a:lnTo>
                    <a:pt x="662" y="821"/>
                  </a:lnTo>
                  <a:lnTo>
                    <a:pt x="648" y="828"/>
                  </a:lnTo>
                  <a:lnTo>
                    <a:pt x="632" y="835"/>
                  </a:lnTo>
                  <a:lnTo>
                    <a:pt x="616" y="841"/>
                  </a:lnTo>
                  <a:lnTo>
                    <a:pt x="600" y="846"/>
                  </a:lnTo>
                  <a:lnTo>
                    <a:pt x="584" y="851"/>
                  </a:lnTo>
                  <a:lnTo>
                    <a:pt x="568" y="855"/>
                  </a:lnTo>
                  <a:lnTo>
                    <a:pt x="551" y="858"/>
                  </a:lnTo>
                  <a:lnTo>
                    <a:pt x="534" y="860"/>
                  </a:lnTo>
                  <a:lnTo>
                    <a:pt x="517" y="861"/>
                  </a:lnTo>
                  <a:lnTo>
                    <a:pt x="499" y="861"/>
                  </a:lnTo>
                  <a:lnTo>
                    <a:pt x="482" y="861"/>
                  </a:lnTo>
                  <a:lnTo>
                    <a:pt x="465" y="860"/>
                  </a:lnTo>
                  <a:lnTo>
                    <a:pt x="448" y="858"/>
                  </a:lnTo>
                  <a:lnTo>
                    <a:pt x="431" y="855"/>
                  </a:lnTo>
                  <a:lnTo>
                    <a:pt x="414" y="851"/>
                  </a:lnTo>
                  <a:lnTo>
                    <a:pt x="398" y="846"/>
                  </a:lnTo>
                  <a:lnTo>
                    <a:pt x="382" y="841"/>
                  </a:lnTo>
                  <a:lnTo>
                    <a:pt x="367" y="835"/>
                  </a:lnTo>
                  <a:lnTo>
                    <a:pt x="352" y="828"/>
                  </a:lnTo>
                  <a:lnTo>
                    <a:pt x="337" y="821"/>
                  </a:lnTo>
                  <a:lnTo>
                    <a:pt x="323" y="812"/>
                  </a:lnTo>
                  <a:lnTo>
                    <a:pt x="309" y="803"/>
                  </a:lnTo>
                  <a:lnTo>
                    <a:pt x="295" y="794"/>
                  </a:lnTo>
                  <a:lnTo>
                    <a:pt x="282" y="784"/>
                  </a:lnTo>
                  <a:lnTo>
                    <a:pt x="270" y="773"/>
                  </a:lnTo>
                  <a:lnTo>
                    <a:pt x="259" y="762"/>
                  </a:lnTo>
                  <a:lnTo>
                    <a:pt x="247" y="750"/>
                  </a:lnTo>
                  <a:lnTo>
                    <a:pt x="236" y="737"/>
                  </a:lnTo>
                  <a:lnTo>
                    <a:pt x="226" y="724"/>
                  </a:lnTo>
                  <a:lnTo>
                    <a:pt x="217" y="711"/>
                  </a:lnTo>
                  <a:lnTo>
                    <a:pt x="207" y="697"/>
                  </a:lnTo>
                  <a:lnTo>
                    <a:pt x="199" y="683"/>
                  </a:lnTo>
                  <a:lnTo>
                    <a:pt x="192" y="668"/>
                  </a:lnTo>
                  <a:lnTo>
                    <a:pt x="184" y="653"/>
                  </a:lnTo>
                  <a:lnTo>
                    <a:pt x="179" y="638"/>
                  </a:lnTo>
                  <a:lnTo>
                    <a:pt x="174" y="622"/>
                  </a:lnTo>
                  <a:lnTo>
                    <a:pt x="168" y="606"/>
                  </a:lnTo>
                  <a:lnTo>
                    <a:pt x="165" y="589"/>
                  </a:lnTo>
                  <a:lnTo>
                    <a:pt x="162" y="572"/>
                  </a:lnTo>
                  <a:lnTo>
                    <a:pt x="160" y="555"/>
                  </a:lnTo>
                  <a:lnTo>
                    <a:pt x="159" y="538"/>
                  </a:lnTo>
                  <a:lnTo>
                    <a:pt x="158" y="520"/>
                  </a:lnTo>
                  <a:close/>
                  <a:moveTo>
                    <a:pt x="998" y="517"/>
                  </a:moveTo>
                  <a:lnTo>
                    <a:pt x="998" y="490"/>
                  </a:lnTo>
                  <a:lnTo>
                    <a:pt x="997" y="464"/>
                  </a:lnTo>
                  <a:lnTo>
                    <a:pt x="995" y="438"/>
                  </a:lnTo>
                  <a:lnTo>
                    <a:pt x="991" y="412"/>
                  </a:lnTo>
                  <a:lnTo>
                    <a:pt x="986" y="388"/>
                  </a:lnTo>
                  <a:lnTo>
                    <a:pt x="980" y="363"/>
                  </a:lnTo>
                  <a:lnTo>
                    <a:pt x="972" y="339"/>
                  </a:lnTo>
                  <a:lnTo>
                    <a:pt x="964" y="316"/>
                  </a:lnTo>
                  <a:lnTo>
                    <a:pt x="954" y="292"/>
                  </a:lnTo>
                  <a:lnTo>
                    <a:pt x="943" y="269"/>
                  </a:lnTo>
                  <a:lnTo>
                    <a:pt x="931" y="248"/>
                  </a:lnTo>
                  <a:lnTo>
                    <a:pt x="917" y="227"/>
                  </a:lnTo>
                  <a:lnTo>
                    <a:pt x="903" y="206"/>
                  </a:lnTo>
                  <a:lnTo>
                    <a:pt x="887" y="186"/>
                  </a:lnTo>
                  <a:lnTo>
                    <a:pt x="871" y="166"/>
                  </a:lnTo>
                  <a:lnTo>
                    <a:pt x="853" y="147"/>
                  </a:lnTo>
                  <a:lnTo>
                    <a:pt x="835" y="130"/>
                  </a:lnTo>
                  <a:lnTo>
                    <a:pt x="815" y="113"/>
                  </a:lnTo>
                  <a:lnTo>
                    <a:pt x="795" y="98"/>
                  </a:lnTo>
                  <a:lnTo>
                    <a:pt x="774" y="84"/>
                  </a:lnTo>
                  <a:lnTo>
                    <a:pt x="753" y="70"/>
                  </a:lnTo>
                  <a:lnTo>
                    <a:pt x="731" y="58"/>
                  </a:lnTo>
                  <a:lnTo>
                    <a:pt x="710" y="47"/>
                  </a:lnTo>
                  <a:lnTo>
                    <a:pt x="687" y="37"/>
                  </a:lnTo>
                  <a:lnTo>
                    <a:pt x="665" y="29"/>
                  </a:lnTo>
                  <a:lnTo>
                    <a:pt x="641" y="21"/>
                  </a:lnTo>
                  <a:lnTo>
                    <a:pt x="619" y="15"/>
                  </a:lnTo>
                  <a:lnTo>
                    <a:pt x="595" y="9"/>
                  </a:lnTo>
                  <a:lnTo>
                    <a:pt x="571" y="5"/>
                  </a:lnTo>
                  <a:lnTo>
                    <a:pt x="547" y="3"/>
                  </a:lnTo>
                  <a:lnTo>
                    <a:pt x="523" y="1"/>
                  </a:lnTo>
                  <a:lnTo>
                    <a:pt x="499" y="0"/>
                  </a:lnTo>
                  <a:lnTo>
                    <a:pt x="476" y="1"/>
                  </a:lnTo>
                  <a:lnTo>
                    <a:pt x="451" y="2"/>
                  </a:lnTo>
                  <a:lnTo>
                    <a:pt x="427" y="5"/>
                  </a:lnTo>
                  <a:lnTo>
                    <a:pt x="404" y="9"/>
                  </a:lnTo>
                  <a:lnTo>
                    <a:pt x="380" y="14"/>
                  </a:lnTo>
                  <a:lnTo>
                    <a:pt x="357" y="20"/>
                  </a:lnTo>
                  <a:lnTo>
                    <a:pt x="334" y="28"/>
                  </a:lnTo>
                  <a:lnTo>
                    <a:pt x="311" y="36"/>
                  </a:lnTo>
                  <a:lnTo>
                    <a:pt x="289" y="46"/>
                  </a:lnTo>
                  <a:lnTo>
                    <a:pt x="267" y="57"/>
                  </a:lnTo>
                  <a:lnTo>
                    <a:pt x="246" y="69"/>
                  </a:lnTo>
                  <a:lnTo>
                    <a:pt x="224" y="81"/>
                  </a:lnTo>
                  <a:lnTo>
                    <a:pt x="204" y="97"/>
                  </a:lnTo>
                  <a:lnTo>
                    <a:pt x="184" y="112"/>
                  </a:lnTo>
                  <a:lnTo>
                    <a:pt x="165" y="128"/>
                  </a:lnTo>
                  <a:lnTo>
                    <a:pt x="147" y="146"/>
                  </a:lnTo>
                  <a:lnTo>
                    <a:pt x="95" y="196"/>
                  </a:lnTo>
                  <a:lnTo>
                    <a:pt x="38" y="141"/>
                  </a:lnTo>
                  <a:lnTo>
                    <a:pt x="36" y="138"/>
                  </a:lnTo>
                  <a:lnTo>
                    <a:pt x="32" y="137"/>
                  </a:lnTo>
                  <a:lnTo>
                    <a:pt x="9" y="137"/>
                  </a:lnTo>
                  <a:lnTo>
                    <a:pt x="5" y="138"/>
                  </a:lnTo>
                  <a:lnTo>
                    <a:pt x="3" y="141"/>
                  </a:lnTo>
                  <a:lnTo>
                    <a:pt x="1" y="143"/>
                  </a:lnTo>
                  <a:lnTo>
                    <a:pt x="0" y="147"/>
                  </a:lnTo>
                  <a:lnTo>
                    <a:pt x="0" y="380"/>
                  </a:lnTo>
                  <a:lnTo>
                    <a:pt x="1" y="383"/>
                  </a:lnTo>
                  <a:lnTo>
                    <a:pt x="3" y="387"/>
                  </a:lnTo>
                  <a:lnTo>
                    <a:pt x="5" y="389"/>
                  </a:lnTo>
                  <a:lnTo>
                    <a:pt x="9" y="389"/>
                  </a:lnTo>
                  <a:lnTo>
                    <a:pt x="152" y="389"/>
                  </a:lnTo>
                  <a:lnTo>
                    <a:pt x="148" y="405"/>
                  </a:lnTo>
                  <a:lnTo>
                    <a:pt x="146" y="421"/>
                  </a:lnTo>
                  <a:lnTo>
                    <a:pt x="144" y="438"/>
                  </a:lnTo>
                  <a:lnTo>
                    <a:pt x="141" y="455"/>
                  </a:lnTo>
                  <a:lnTo>
                    <a:pt x="140" y="489"/>
                  </a:lnTo>
                  <a:lnTo>
                    <a:pt x="140" y="521"/>
                  </a:lnTo>
                  <a:lnTo>
                    <a:pt x="140" y="538"/>
                  </a:lnTo>
                  <a:lnTo>
                    <a:pt x="141" y="556"/>
                  </a:lnTo>
                  <a:lnTo>
                    <a:pt x="144" y="575"/>
                  </a:lnTo>
                  <a:lnTo>
                    <a:pt x="147" y="592"/>
                  </a:lnTo>
                  <a:lnTo>
                    <a:pt x="151" y="609"/>
                  </a:lnTo>
                  <a:lnTo>
                    <a:pt x="155" y="625"/>
                  </a:lnTo>
                  <a:lnTo>
                    <a:pt x="161" y="642"/>
                  </a:lnTo>
                  <a:lnTo>
                    <a:pt x="167" y="658"/>
                  </a:lnTo>
                  <a:lnTo>
                    <a:pt x="175" y="673"/>
                  </a:lnTo>
                  <a:lnTo>
                    <a:pt x="182" y="690"/>
                  </a:lnTo>
                  <a:lnTo>
                    <a:pt x="191" y="705"/>
                  </a:lnTo>
                  <a:lnTo>
                    <a:pt x="199" y="719"/>
                  </a:lnTo>
                  <a:lnTo>
                    <a:pt x="209" y="733"/>
                  </a:lnTo>
                  <a:lnTo>
                    <a:pt x="220" y="747"/>
                  </a:lnTo>
                  <a:lnTo>
                    <a:pt x="231" y="759"/>
                  </a:lnTo>
                  <a:lnTo>
                    <a:pt x="242" y="771"/>
                  </a:lnTo>
                  <a:lnTo>
                    <a:pt x="254" y="783"/>
                  </a:lnTo>
                  <a:lnTo>
                    <a:pt x="267" y="795"/>
                  </a:lnTo>
                  <a:lnTo>
                    <a:pt x="280" y="806"/>
                  </a:lnTo>
                  <a:lnTo>
                    <a:pt x="294" y="815"/>
                  </a:lnTo>
                  <a:lnTo>
                    <a:pt x="308" y="825"/>
                  </a:lnTo>
                  <a:lnTo>
                    <a:pt x="323" y="834"/>
                  </a:lnTo>
                  <a:lnTo>
                    <a:pt x="338" y="841"/>
                  </a:lnTo>
                  <a:lnTo>
                    <a:pt x="354" y="849"/>
                  </a:lnTo>
                  <a:lnTo>
                    <a:pt x="369" y="855"/>
                  </a:lnTo>
                  <a:lnTo>
                    <a:pt x="387" y="861"/>
                  </a:lnTo>
                  <a:lnTo>
                    <a:pt x="403" y="867"/>
                  </a:lnTo>
                  <a:lnTo>
                    <a:pt x="420" y="871"/>
                  </a:lnTo>
                  <a:lnTo>
                    <a:pt x="437" y="874"/>
                  </a:lnTo>
                  <a:lnTo>
                    <a:pt x="454" y="877"/>
                  </a:lnTo>
                  <a:lnTo>
                    <a:pt x="472" y="879"/>
                  </a:lnTo>
                  <a:lnTo>
                    <a:pt x="491" y="880"/>
                  </a:lnTo>
                  <a:lnTo>
                    <a:pt x="491" y="1011"/>
                  </a:lnTo>
                  <a:lnTo>
                    <a:pt x="491" y="1014"/>
                  </a:lnTo>
                  <a:lnTo>
                    <a:pt x="493" y="1017"/>
                  </a:lnTo>
                  <a:lnTo>
                    <a:pt x="496" y="1019"/>
                  </a:lnTo>
                  <a:lnTo>
                    <a:pt x="499" y="1019"/>
                  </a:lnTo>
                  <a:lnTo>
                    <a:pt x="525" y="1019"/>
                  </a:lnTo>
                  <a:lnTo>
                    <a:pt x="551" y="1017"/>
                  </a:lnTo>
                  <a:lnTo>
                    <a:pt x="576" y="1014"/>
                  </a:lnTo>
                  <a:lnTo>
                    <a:pt x="600" y="1010"/>
                  </a:lnTo>
                  <a:lnTo>
                    <a:pt x="624" y="1004"/>
                  </a:lnTo>
                  <a:lnTo>
                    <a:pt x="648" y="997"/>
                  </a:lnTo>
                  <a:lnTo>
                    <a:pt x="671" y="989"/>
                  </a:lnTo>
                  <a:lnTo>
                    <a:pt x="694" y="981"/>
                  </a:lnTo>
                  <a:lnTo>
                    <a:pt x="716" y="971"/>
                  </a:lnTo>
                  <a:lnTo>
                    <a:pt x="738" y="959"/>
                  </a:lnTo>
                  <a:lnTo>
                    <a:pt x="758" y="947"/>
                  </a:lnTo>
                  <a:lnTo>
                    <a:pt x="779" y="935"/>
                  </a:lnTo>
                  <a:lnTo>
                    <a:pt x="798" y="921"/>
                  </a:lnTo>
                  <a:lnTo>
                    <a:pt x="817" y="906"/>
                  </a:lnTo>
                  <a:lnTo>
                    <a:pt x="836" y="889"/>
                  </a:lnTo>
                  <a:lnTo>
                    <a:pt x="853" y="873"/>
                  </a:lnTo>
                  <a:lnTo>
                    <a:pt x="869" y="856"/>
                  </a:lnTo>
                  <a:lnTo>
                    <a:pt x="885" y="838"/>
                  </a:lnTo>
                  <a:lnTo>
                    <a:pt x="900" y="818"/>
                  </a:lnTo>
                  <a:lnTo>
                    <a:pt x="914" y="799"/>
                  </a:lnTo>
                  <a:lnTo>
                    <a:pt x="927" y="779"/>
                  </a:lnTo>
                  <a:lnTo>
                    <a:pt x="939" y="758"/>
                  </a:lnTo>
                  <a:lnTo>
                    <a:pt x="950" y="737"/>
                  </a:lnTo>
                  <a:lnTo>
                    <a:pt x="960" y="714"/>
                  </a:lnTo>
                  <a:lnTo>
                    <a:pt x="969" y="692"/>
                  </a:lnTo>
                  <a:lnTo>
                    <a:pt x="977" y="669"/>
                  </a:lnTo>
                  <a:lnTo>
                    <a:pt x="983" y="646"/>
                  </a:lnTo>
                  <a:lnTo>
                    <a:pt x="989" y="621"/>
                  </a:lnTo>
                  <a:lnTo>
                    <a:pt x="994" y="596"/>
                  </a:lnTo>
                  <a:lnTo>
                    <a:pt x="997" y="571"/>
                  </a:lnTo>
                  <a:lnTo>
                    <a:pt x="999" y="546"/>
                  </a:lnTo>
                  <a:lnTo>
                    <a:pt x="999" y="521"/>
                  </a:lnTo>
                  <a:lnTo>
                    <a:pt x="999" y="519"/>
                  </a:lnTo>
                  <a:lnTo>
                    <a:pt x="998" y="517"/>
                  </a:lnTo>
                  <a:close/>
                </a:path>
              </a:pathLst>
            </a:custGeom>
            <a:solidFill>
              <a:srgbClr val="004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7" name="people_clients_z"/>
          <p:cNvGrpSpPr>
            <a:grpSpLocks noChangeAspect="1"/>
          </p:cNvGrpSpPr>
          <p:nvPr/>
        </p:nvGrpSpPr>
        <p:grpSpPr>
          <a:xfrm>
            <a:off x="4777710" y="4534807"/>
            <a:ext cx="892175" cy="514350"/>
            <a:chOff x="8226425" y="6324600"/>
            <a:chExt cx="892175" cy="514350"/>
          </a:xfrm>
        </p:grpSpPr>
        <p:sp>
          <p:nvSpPr>
            <p:cNvPr id="18" name="Freeform 190"/>
            <p:cNvSpPr>
              <a:spLocks/>
            </p:cNvSpPr>
            <p:nvPr/>
          </p:nvSpPr>
          <p:spPr bwMode="auto">
            <a:xfrm>
              <a:off x="8269288" y="6556375"/>
              <a:ext cx="804863" cy="277813"/>
            </a:xfrm>
            <a:custGeom>
              <a:avLst/>
              <a:gdLst>
                <a:gd name="T0" fmla="*/ 1494 w 1523"/>
                <a:gd name="T1" fmla="*/ 196 h 526"/>
                <a:gd name="T2" fmla="*/ 1465 w 1523"/>
                <a:gd name="T3" fmla="*/ 175 h 526"/>
                <a:gd name="T4" fmla="*/ 1411 w 1523"/>
                <a:gd name="T5" fmla="*/ 151 h 526"/>
                <a:gd name="T6" fmla="*/ 1334 w 1523"/>
                <a:gd name="T7" fmla="*/ 128 h 526"/>
                <a:gd name="T8" fmla="*/ 1274 w 1523"/>
                <a:gd name="T9" fmla="*/ 116 h 526"/>
                <a:gd name="T10" fmla="*/ 1258 w 1523"/>
                <a:gd name="T11" fmla="*/ 137 h 526"/>
                <a:gd name="T12" fmla="*/ 1231 w 1523"/>
                <a:gd name="T13" fmla="*/ 160 h 526"/>
                <a:gd name="T14" fmla="*/ 1202 w 1523"/>
                <a:gd name="T15" fmla="*/ 175 h 526"/>
                <a:gd name="T16" fmla="*/ 1168 w 1523"/>
                <a:gd name="T17" fmla="*/ 182 h 526"/>
                <a:gd name="T18" fmla="*/ 1135 w 1523"/>
                <a:gd name="T19" fmla="*/ 175 h 526"/>
                <a:gd name="T20" fmla="*/ 1108 w 1523"/>
                <a:gd name="T21" fmla="*/ 161 h 526"/>
                <a:gd name="T22" fmla="*/ 1082 w 1523"/>
                <a:gd name="T23" fmla="*/ 138 h 526"/>
                <a:gd name="T24" fmla="*/ 1068 w 1523"/>
                <a:gd name="T25" fmla="*/ 116 h 526"/>
                <a:gd name="T26" fmla="*/ 1067 w 1523"/>
                <a:gd name="T27" fmla="*/ 115 h 526"/>
                <a:gd name="T28" fmla="*/ 1069 w 1523"/>
                <a:gd name="T29" fmla="*/ 69 h 526"/>
                <a:gd name="T30" fmla="*/ 1025 w 1523"/>
                <a:gd name="T31" fmla="*/ 45 h 526"/>
                <a:gd name="T32" fmla="*/ 940 w 1523"/>
                <a:gd name="T33" fmla="*/ 16 h 526"/>
                <a:gd name="T34" fmla="*/ 867 w 1523"/>
                <a:gd name="T35" fmla="*/ 1 h 526"/>
                <a:gd name="T36" fmla="*/ 854 w 1523"/>
                <a:gd name="T37" fmla="*/ 10 h 526"/>
                <a:gd name="T38" fmla="*/ 826 w 1523"/>
                <a:gd name="T39" fmla="*/ 39 h 526"/>
                <a:gd name="T40" fmla="*/ 799 w 1523"/>
                <a:gd name="T41" fmla="*/ 55 h 526"/>
                <a:gd name="T42" fmla="*/ 767 w 1523"/>
                <a:gd name="T43" fmla="*/ 65 h 526"/>
                <a:gd name="T44" fmla="*/ 732 w 1523"/>
                <a:gd name="T45" fmla="*/ 63 h 526"/>
                <a:gd name="T46" fmla="*/ 702 w 1523"/>
                <a:gd name="T47" fmla="*/ 50 h 526"/>
                <a:gd name="T48" fmla="*/ 679 w 1523"/>
                <a:gd name="T49" fmla="*/ 32 h 526"/>
                <a:gd name="T50" fmla="*/ 656 w 1523"/>
                <a:gd name="T51" fmla="*/ 2 h 526"/>
                <a:gd name="T52" fmla="*/ 631 w 1523"/>
                <a:gd name="T53" fmla="*/ 5 h 526"/>
                <a:gd name="T54" fmla="*/ 559 w 1523"/>
                <a:gd name="T55" fmla="*/ 23 h 526"/>
                <a:gd name="T56" fmla="*/ 507 w 1523"/>
                <a:gd name="T57" fmla="*/ 40 h 526"/>
                <a:gd name="T58" fmla="*/ 461 w 1523"/>
                <a:gd name="T59" fmla="*/ 65 h 526"/>
                <a:gd name="T60" fmla="*/ 449 w 1523"/>
                <a:gd name="T61" fmla="*/ 111 h 526"/>
                <a:gd name="T62" fmla="*/ 449 w 1523"/>
                <a:gd name="T63" fmla="*/ 117 h 526"/>
                <a:gd name="T64" fmla="*/ 434 w 1523"/>
                <a:gd name="T65" fmla="*/ 136 h 526"/>
                <a:gd name="T66" fmla="*/ 406 w 1523"/>
                <a:gd name="T67" fmla="*/ 161 h 526"/>
                <a:gd name="T68" fmla="*/ 383 w 1523"/>
                <a:gd name="T69" fmla="*/ 173 h 526"/>
                <a:gd name="T70" fmla="*/ 354 w 1523"/>
                <a:gd name="T71" fmla="*/ 181 h 526"/>
                <a:gd name="T72" fmla="*/ 320 w 1523"/>
                <a:gd name="T73" fmla="*/ 178 h 526"/>
                <a:gd name="T74" fmla="*/ 290 w 1523"/>
                <a:gd name="T75" fmla="*/ 167 h 526"/>
                <a:gd name="T76" fmla="*/ 268 w 1523"/>
                <a:gd name="T77" fmla="*/ 148 h 526"/>
                <a:gd name="T78" fmla="*/ 244 w 1523"/>
                <a:gd name="T79" fmla="*/ 118 h 526"/>
                <a:gd name="T80" fmla="*/ 215 w 1523"/>
                <a:gd name="T81" fmla="*/ 121 h 526"/>
                <a:gd name="T82" fmla="*/ 130 w 1523"/>
                <a:gd name="T83" fmla="*/ 143 h 526"/>
                <a:gd name="T84" fmla="*/ 74 w 1523"/>
                <a:gd name="T85" fmla="*/ 166 h 526"/>
                <a:gd name="T86" fmla="*/ 36 w 1523"/>
                <a:gd name="T87" fmla="*/ 190 h 526"/>
                <a:gd name="T88" fmla="*/ 20 w 1523"/>
                <a:gd name="T89" fmla="*/ 207 h 526"/>
                <a:gd name="T90" fmla="*/ 10 w 1523"/>
                <a:gd name="T91" fmla="*/ 232 h 526"/>
                <a:gd name="T92" fmla="*/ 1 w 1523"/>
                <a:gd name="T93" fmla="*/ 303 h 526"/>
                <a:gd name="T94" fmla="*/ 1 w 1523"/>
                <a:gd name="T95" fmla="*/ 454 h 526"/>
                <a:gd name="T96" fmla="*/ 425 w 1523"/>
                <a:gd name="T97" fmla="*/ 525 h 526"/>
                <a:gd name="T98" fmla="*/ 1116 w 1523"/>
                <a:gd name="T99" fmla="*/ 525 h 526"/>
                <a:gd name="T100" fmla="*/ 1522 w 1523"/>
                <a:gd name="T101" fmla="*/ 454 h 526"/>
                <a:gd name="T102" fmla="*/ 1522 w 1523"/>
                <a:gd name="T103" fmla="*/ 303 h 526"/>
                <a:gd name="T104" fmla="*/ 1515 w 1523"/>
                <a:gd name="T105" fmla="*/ 232 h 526"/>
                <a:gd name="T106" fmla="*/ 1505 w 1523"/>
                <a:gd name="T107" fmla="*/ 207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23" h="526">
                  <a:moveTo>
                    <a:pt x="1505" y="207"/>
                  </a:moveTo>
                  <a:lnTo>
                    <a:pt x="1500" y="201"/>
                  </a:lnTo>
                  <a:lnTo>
                    <a:pt x="1494" y="196"/>
                  </a:lnTo>
                  <a:lnTo>
                    <a:pt x="1488" y="190"/>
                  </a:lnTo>
                  <a:lnTo>
                    <a:pt x="1481" y="185"/>
                  </a:lnTo>
                  <a:lnTo>
                    <a:pt x="1465" y="175"/>
                  </a:lnTo>
                  <a:lnTo>
                    <a:pt x="1448" y="166"/>
                  </a:lnTo>
                  <a:lnTo>
                    <a:pt x="1430" y="158"/>
                  </a:lnTo>
                  <a:lnTo>
                    <a:pt x="1411" y="151"/>
                  </a:lnTo>
                  <a:lnTo>
                    <a:pt x="1391" y="143"/>
                  </a:lnTo>
                  <a:lnTo>
                    <a:pt x="1372" y="138"/>
                  </a:lnTo>
                  <a:lnTo>
                    <a:pt x="1334" y="128"/>
                  </a:lnTo>
                  <a:lnTo>
                    <a:pt x="1303" y="121"/>
                  </a:lnTo>
                  <a:lnTo>
                    <a:pt x="1282" y="117"/>
                  </a:lnTo>
                  <a:lnTo>
                    <a:pt x="1274" y="116"/>
                  </a:lnTo>
                  <a:lnTo>
                    <a:pt x="1272" y="118"/>
                  </a:lnTo>
                  <a:lnTo>
                    <a:pt x="1267" y="126"/>
                  </a:lnTo>
                  <a:lnTo>
                    <a:pt x="1258" y="137"/>
                  </a:lnTo>
                  <a:lnTo>
                    <a:pt x="1246" y="148"/>
                  </a:lnTo>
                  <a:lnTo>
                    <a:pt x="1239" y="155"/>
                  </a:lnTo>
                  <a:lnTo>
                    <a:pt x="1231" y="160"/>
                  </a:lnTo>
                  <a:lnTo>
                    <a:pt x="1223" y="166"/>
                  </a:lnTo>
                  <a:lnTo>
                    <a:pt x="1213" y="171"/>
                  </a:lnTo>
                  <a:lnTo>
                    <a:pt x="1202" y="175"/>
                  </a:lnTo>
                  <a:lnTo>
                    <a:pt x="1191" y="178"/>
                  </a:lnTo>
                  <a:lnTo>
                    <a:pt x="1180" y="181"/>
                  </a:lnTo>
                  <a:lnTo>
                    <a:pt x="1168" y="182"/>
                  </a:lnTo>
                  <a:lnTo>
                    <a:pt x="1156" y="181"/>
                  </a:lnTo>
                  <a:lnTo>
                    <a:pt x="1144" y="178"/>
                  </a:lnTo>
                  <a:lnTo>
                    <a:pt x="1135" y="175"/>
                  </a:lnTo>
                  <a:lnTo>
                    <a:pt x="1125" y="171"/>
                  </a:lnTo>
                  <a:lnTo>
                    <a:pt x="1115" y="167"/>
                  </a:lnTo>
                  <a:lnTo>
                    <a:pt x="1108" y="161"/>
                  </a:lnTo>
                  <a:lnTo>
                    <a:pt x="1100" y="155"/>
                  </a:lnTo>
                  <a:lnTo>
                    <a:pt x="1093" y="149"/>
                  </a:lnTo>
                  <a:lnTo>
                    <a:pt x="1082" y="138"/>
                  </a:lnTo>
                  <a:lnTo>
                    <a:pt x="1074" y="127"/>
                  </a:lnTo>
                  <a:lnTo>
                    <a:pt x="1069" y="119"/>
                  </a:lnTo>
                  <a:lnTo>
                    <a:pt x="1068" y="116"/>
                  </a:lnTo>
                  <a:lnTo>
                    <a:pt x="1068" y="116"/>
                  </a:lnTo>
                  <a:lnTo>
                    <a:pt x="1067" y="116"/>
                  </a:lnTo>
                  <a:lnTo>
                    <a:pt x="1067" y="115"/>
                  </a:lnTo>
                  <a:lnTo>
                    <a:pt x="1067" y="110"/>
                  </a:lnTo>
                  <a:lnTo>
                    <a:pt x="1068" y="96"/>
                  </a:lnTo>
                  <a:lnTo>
                    <a:pt x="1069" y="69"/>
                  </a:lnTo>
                  <a:lnTo>
                    <a:pt x="1056" y="60"/>
                  </a:lnTo>
                  <a:lnTo>
                    <a:pt x="1041" y="53"/>
                  </a:lnTo>
                  <a:lnTo>
                    <a:pt x="1025" y="45"/>
                  </a:lnTo>
                  <a:lnTo>
                    <a:pt x="1008" y="38"/>
                  </a:lnTo>
                  <a:lnTo>
                    <a:pt x="973" y="26"/>
                  </a:lnTo>
                  <a:lnTo>
                    <a:pt x="940" y="16"/>
                  </a:lnTo>
                  <a:lnTo>
                    <a:pt x="909" y="9"/>
                  </a:lnTo>
                  <a:lnTo>
                    <a:pt x="884" y="5"/>
                  </a:lnTo>
                  <a:lnTo>
                    <a:pt x="867" y="1"/>
                  </a:lnTo>
                  <a:lnTo>
                    <a:pt x="861" y="0"/>
                  </a:lnTo>
                  <a:lnTo>
                    <a:pt x="860" y="2"/>
                  </a:lnTo>
                  <a:lnTo>
                    <a:pt x="854" y="10"/>
                  </a:lnTo>
                  <a:lnTo>
                    <a:pt x="846" y="21"/>
                  </a:lnTo>
                  <a:lnTo>
                    <a:pt x="833" y="32"/>
                  </a:lnTo>
                  <a:lnTo>
                    <a:pt x="826" y="39"/>
                  </a:lnTo>
                  <a:lnTo>
                    <a:pt x="818" y="44"/>
                  </a:lnTo>
                  <a:lnTo>
                    <a:pt x="809" y="50"/>
                  </a:lnTo>
                  <a:lnTo>
                    <a:pt x="799" y="55"/>
                  </a:lnTo>
                  <a:lnTo>
                    <a:pt x="790" y="59"/>
                  </a:lnTo>
                  <a:lnTo>
                    <a:pt x="779" y="63"/>
                  </a:lnTo>
                  <a:lnTo>
                    <a:pt x="767" y="65"/>
                  </a:lnTo>
                  <a:lnTo>
                    <a:pt x="755" y="65"/>
                  </a:lnTo>
                  <a:lnTo>
                    <a:pt x="743" y="65"/>
                  </a:lnTo>
                  <a:lnTo>
                    <a:pt x="732" y="63"/>
                  </a:lnTo>
                  <a:lnTo>
                    <a:pt x="721" y="59"/>
                  </a:lnTo>
                  <a:lnTo>
                    <a:pt x="711" y="55"/>
                  </a:lnTo>
                  <a:lnTo>
                    <a:pt x="702" y="50"/>
                  </a:lnTo>
                  <a:lnTo>
                    <a:pt x="693" y="44"/>
                  </a:lnTo>
                  <a:lnTo>
                    <a:pt x="687" y="39"/>
                  </a:lnTo>
                  <a:lnTo>
                    <a:pt x="679" y="32"/>
                  </a:lnTo>
                  <a:lnTo>
                    <a:pt x="668" y="21"/>
                  </a:lnTo>
                  <a:lnTo>
                    <a:pt x="661" y="10"/>
                  </a:lnTo>
                  <a:lnTo>
                    <a:pt x="656" y="2"/>
                  </a:lnTo>
                  <a:lnTo>
                    <a:pt x="654" y="0"/>
                  </a:lnTo>
                  <a:lnTo>
                    <a:pt x="648" y="1"/>
                  </a:lnTo>
                  <a:lnTo>
                    <a:pt x="631" y="5"/>
                  </a:lnTo>
                  <a:lnTo>
                    <a:pt x="606" y="10"/>
                  </a:lnTo>
                  <a:lnTo>
                    <a:pt x="575" y="17"/>
                  </a:lnTo>
                  <a:lnTo>
                    <a:pt x="559" y="23"/>
                  </a:lnTo>
                  <a:lnTo>
                    <a:pt x="542" y="28"/>
                  </a:lnTo>
                  <a:lnTo>
                    <a:pt x="524" y="34"/>
                  </a:lnTo>
                  <a:lnTo>
                    <a:pt x="507" y="40"/>
                  </a:lnTo>
                  <a:lnTo>
                    <a:pt x="491" y="47"/>
                  </a:lnTo>
                  <a:lnTo>
                    <a:pt x="475" y="56"/>
                  </a:lnTo>
                  <a:lnTo>
                    <a:pt x="461" y="65"/>
                  </a:lnTo>
                  <a:lnTo>
                    <a:pt x="448" y="73"/>
                  </a:lnTo>
                  <a:lnTo>
                    <a:pt x="449" y="98"/>
                  </a:lnTo>
                  <a:lnTo>
                    <a:pt x="449" y="111"/>
                  </a:lnTo>
                  <a:lnTo>
                    <a:pt x="449" y="115"/>
                  </a:lnTo>
                  <a:lnTo>
                    <a:pt x="449" y="116"/>
                  </a:lnTo>
                  <a:lnTo>
                    <a:pt x="449" y="117"/>
                  </a:lnTo>
                  <a:lnTo>
                    <a:pt x="447" y="121"/>
                  </a:lnTo>
                  <a:lnTo>
                    <a:pt x="442" y="127"/>
                  </a:lnTo>
                  <a:lnTo>
                    <a:pt x="434" y="136"/>
                  </a:lnTo>
                  <a:lnTo>
                    <a:pt x="425" y="145"/>
                  </a:lnTo>
                  <a:lnTo>
                    <a:pt x="413" y="156"/>
                  </a:lnTo>
                  <a:lnTo>
                    <a:pt x="406" y="161"/>
                  </a:lnTo>
                  <a:lnTo>
                    <a:pt x="399" y="166"/>
                  </a:lnTo>
                  <a:lnTo>
                    <a:pt x="391" y="170"/>
                  </a:lnTo>
                  <a:lnTo>
                    <a:pt x="383" y="173"/>
                  </a:lnTo>
                  <a:lnTo>
                    <a:pt x="373" y="176"/>
                  </a:lnTo>
                  <a:lnTo>
                    <a:pt x="364" y="180"/>
                  </a:lnTo>
                  <a:lnTo>
                    <a:pt x="354" y="181"/>
                  </a:lnTo>
                  <a:lnTo>
                    <a:pt x="344" y="182"/>
                  </a:lnTo>
                  <a:lnTo>
                    <a:pt x="331" y="181"/>
                  </a:lnTo>
                  <a:lnTo>
                    <a:pt x="320" y="178"/>
                  </a:lnTo>
                  <a:lnTo>
                    <a:pt x="310" y="175"/>
                  </a:lnTo>
                  <a:lnTo>
                    <a:pt x="300" y="171"/>
                  </a:lnTo>
                  <a:lnTo>
                    <a:pt x="290" y="167"/>
                  </a:lnTo>
                  <a:lnTo>
                    <a:pt x="283" y="160"/>
                  </a:lnTo>
                  <a:lnTo>
                    <a:pt x="275" y="155"/>
                  </a:lnTo>
                  <a:lnTo>
                    <a:pt x="268" y="148"/>
                  </a:lnTo>
                  <a:lnTo>
                    <a:pt x="257" y="137"/>
                  </a:lnTo>
                  <a:lnTo>
                    <a:pt x="250" y="126"/>
                  </a:lnTo>
                  <a:lnTo>
                    <a:pt x="244" y="118"/>
                  </a:lnTo>
                  <a:lnTo>
                    <a:pt x="243" y="116"/>
                  </a:lnTo>
                  <a:lnTo>
                    <a:pt x="236" y="117"/>
                  </a:lnTo>
                  <a:lnTo>
                    <a:pt x="215" y="121"/>
                  </a:lnTo>
                  <a:lnTo>
                    <a:pt x="185" y="128"/>
                  </a:lnTo>
                  <a:lnTo>
                    <a:pt x="150" y="138"/>
                  </a:lnTo>
                  <a:lnTo>
                    <a:pt x="130" y="143"/>
                  </a:lnTo>
                  <a:lnTo>
                    <a:pt x="111" y="151"/>
                  </a:lnTo>
                  <a:lnTo>
                    <a:pt x="93" y="158"/>
                  </a:lnTo>
                  <a:lnTo>
                    <a:pt x="74" y="166"/>
                  </a:lnTo>
                  <a:lnTo>
                    <a:pt x="58" y="175"/>
                  </a:lnTo>
                  <a:lnTo>
                    <a:pt x="43" y="185"/>
                  </a:lnTo>
                  <a:lnTo>
                    <a:pt x="36" y="190"/>
                  </a:lnTo>
                  <a:lnTo>
                    <a:pt x="30" y="196"/>
                  </a:lnTo>
                  <a:lnTo>
                    <a:pt x="24" y="201"/>
                  </a:lnTo>
                  <a:lnTo>
                    <a:pt x="20" y="207"/>
                  </a:lnTo>
                  <a:lnTo>
                    <a:pt x="16" y="215"/>
                  </a:lnTo>
                  <a:lnTo>
                    <a:pt x="13" y="223"/>
                  </a:lnTo>
                  <a:lnTo>
                    <a:pt x="10" y="232"/>
                  </a:lnTo>
                  <a:lnTo>
                    <a:pt x="8" y="243"/>
                  </a:lnTo>
                  <a:lnTo>
                    <a:pt x="4" y="270"/>
                  </a:lnTo>
                  <a:lnTo>
                    <a:pt x="1" y="303"/>
                  </a:lnTo>
                  <a:lnTo>
                    <a:pt x="0" y="345"/>
                  </a:lnTo>
                  <a:lnTo>
                    <a:pt x="0" y="394"/>
                  </a:lnTo>
                  <a:lnTo>
                    <a:pt x="1" y="454"/>
                  </a:lnTo>
                  <a:lnTo>
                    <a:pt x="4" y="524"/>
                  </a:lnTo>
                  <a:lnTo>
                    <a:pt x="425" y="524"/>
                  </a:lnTo>
                  <a:lnTo>
                    <a:pt x="425" y="525"/>
                  </a:lnTo>
                  <a:lnTo>
                    <a:pt x="425" y="525"/>
                  </a:lnTo>
                  <a:lnTo>
                    <a:pt x="1116" y="526"/>
                  </a:lnTo>
                  <a:lnTo>
                    <a:pt x="1116" y="525"/>
                  </a:lnTo>
                  <a:lnTo>
                    <a:pt x="1116" y="524"/>
                  </a:lnTo>
                  <a:lnTo>
                    <a:pt x="1520" y="524"/>
                  </a:lnTo>
                  <a:lnTo>
                    <a:pt x="1522" y="454"/>
                  </a:lnTo>
                  <a:lnTo>
                    <a:pt x="1523" y="395"/>
                  </a:lnTo>
                  <a:lnTo>
                    <a:pt x="1523" y="345"/>
                  </a:lnTo>
                  <a:lnTo>
                    <a:pt x="1522" y="303"/>
                  </a:lnTo>
                  <a:lnTo>
                    <a:pt x="1520" y="270"/>
                  </a:lnTo>
                  <a:lnTo>
                    <a:pt x="1517" y="243"/>
                  </a:lnTo>
                  <a:lnTo>
                    <a:pt x="1515" y="232"/>
                  </a:lnTo>
                  <a:lnTo>
                    <a:pt x="1511" y="223"/>
                  </a:lnTo>
                  <a:lnTo>
                    <a:pt x="1508" y="215"/>
                  </a:lnTo>
                  <a:lnTo>
                    <a:pt x="1505" y="207"/>
                  </a:lnTo>
                  <a:close/>
                </a:path>
              </a:pathLst>
            </a:custGeom>
            <a:solidFill>
              <a:srgbClr val="206E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191"/>
            <p:cNvSpPr>
              <a:spLocks/>
            </p:cNvSpPr>
            <p:nvPr/>
          </p:nvSpPr>
          <p:spPr bwMode="auto">
            <a:xfrm>
              <a:off x="8264525" y="6611938"/>
              <a:ext cx="379413" cy="225425"/>
            </a:xfrm>
            <a:custGeom>
              <a:avLst/>
              <a:gdLst>
                <a:gd name="T0" fmla="*/ 704 w 717"/>
                <a:gd name="T1" fmla="*/ 426 h 426"/>
                <a:gd name="T2" fmla="*/ 696 w 717"/>
                <a:gd name="T3" fmla="*/ 420 h 426"/>
                <a:gd name="T4" fmla="*/ 699 w 717"/>
                <a:gd name="T5" fmla="*/ 297 h 426"/>
                <a:gd name="T6" fmla="*/ 697 w 717"/>
                <a:gd name="T7" fmla="*/ 171 h 426"/>
                <a:gd name="T8" fmla="*/ 688 w 717"/>
                <a:gd name="T9" fmla="*/ 121 h 426"/>
                <a:gd name="T10" fmla="*/ 673 w 717"/>
                <a:gd name="T11" fmla="*/ 95 h 426"/>
                <a:gd name="T12" fmla="*/ 636 w 717"/>
                <a:gd name="T13" fmla="*/ 69 h 426"/>
                <a:gd name="T14" fmla="*/ 586 w 717"/>
                <a:gd name="T15" fmla="*/ 49 h 426"/>
                <a:gd name="T16" fmla="*/ 504 w 717"/>
                <a:gd name="T17" fmla="*/ 26 h 426"/>
                <a:gd name="T18" fmla="*/ 457 w 717"/>
                <a:gd name="T19" fmla="*/ 26 h 426"/>
                <a:gd name="T20" fmla="*/ 426 w 717"/>
                <a:gd name="T21" fmla="*/ 56 h 426"/>
                <a:gd name="T22" fmla="*/ 402 w 717"/>
                <a:gd name="T23" fmla="*/ 71 h 426"/>
                <a:gd name="T24" fmla="*/ 375 w 717"/>
                <a:gd name="T25" fmla="*/ 81 h 426"/>
                <a:gd name="T26" fmla="*/ 353 w 717"/>
                <a:gd name="T27" fmla="*/ 83 h 426"/>
                <a:gd name="T28" fmla="*/ 330 w 717"/>
                <a:gd name="T29" fmla="*/ 81 h 426"/>
                <a:gd name="T30" fmla="*/ 304 w 717"/>
                <a:gd name="T31" fmla="*/ 71 h 426"/>
                <a:gd name="T32" fmla="*/ 281 w 717"/>
                <a:gd name="T33" fmla="*/ 58 h 426"/>
                <a:gd name="T34" fmla="*/ 252 w 717"/>
                <a:gd name="T35" fmla="*/ 26 h 426"/>
                <a:gd name="T36" fmla="*/ 207 w 717"/>
                <a:gd name="T37" fmla="*/ 27 h 426"/>
                <a:gd name="T38" fmla="*/ 129 w 717"/>
                <a:gd name="T39" fmla="*/ 50 h 426"/>
                <a:gd name="T40" fmla="*/ 81 w 717"/>
                <a:gd name="T41" fmla="*/ 70 h 426"/>
                <a:gd name="T42" fmla="*/ 45 w 717"/>
                <a:gd name="T43" fmla="*/ 96 h 426"/>
                <a:gd name="T44" fmla="*/ 30 w 717"/>
                <a:gd name="T45" fmla="*/ 120 h 426"/>
                <a:gd name="T46" fmla="*/ 21 w 717"/>
                <a:gd name="T47" fmla="*/ 165 h 426"/>
                <a:gd name="T48" fmla="*/ 18 w 717"/>
                <a:gd name="T49" fmla="*/ 287 h 426"/>
                <a:gd name="T50" fmla="*/ 21 w 717"/>
                <a:gd name="T51" fmla="*/ 420 h 426"/>
                <a:gd name="T52" fmla="*/ 13 w 717"/>
                <a:gd name="T53" fmla="*/ 426 h 426"/>
                <a:gd name="T54" fmla="*/ 4 w 717"/>
                <a:gd name="T55" fmla="*/ 420 h 426"/>
                <a:gd name="T56" fmla="*/ 0 w 717"/>
                <a:gd name="T57" fmla="*/ 284 h 426"/>
                <a:gd name="T58" fmla="*/ 3 w 717"/>
                <a:gd name="T59" fmla="*/ 175 h 426"/>
                <a:gd name="T60" fmla="*/ 8 w 717"/>
                <a:gd name="T61" fmla="*/ 132 h 426"/>
                <a:gd name="T62" fmla="*/ 17 w 717"/>
                <a:gd name="T63" fmla="*/ 103 h 426"/>
                <a:gd name="T64" fmla="*/ 32 w 717"/>
                <a:gd name="T65" fmla="*/ 83 h 426"/>
                <a:gd name="T66" fmla="*/ 60 w 717"/>
                <a:gd name="T67" fmla="*/ 62 h 426"/>
                <a:gd name="T68" fmla="*/ 114 w 717"/>
                <a:gd name="T69" fmla="*/ 36 h 426"/>
                <a:gd name="T70" fmla="*/ 188 w 717"/>
                <a:gd name="T71" fmla="*/ 14 h 426"/>
                <a:gd name="T72" fmla="*/ 251 w 717"/>
                <a:gd name="T73" fmla="*/ 0 h 426"/>
                <a:gd name="T74" fmla="*/ 259 w 717"/>
                <a:gd name="T75" fmla="*/ 3 h 426"/>
                <a:gd name="T76" fmla="*/ 283 w 717"/>
                <a:gd name="T77" fmla="*/ 35 h 426"/>
                <a:gd name="T78" fmla="*/ 305 w 717"/>
                <a:gd name="T79" fmla="*/ 51 h 426"/>
                <a:gd name="T80" fmla="*/ 332 w 717"/>
                <a:gd name="T81" fmla="*/ 63 h 426"/>
                <a:gd name="T82" fmla="*/ 353 w 717"/>
                <a:gd name="T83" fmla="*/ 65 h 426"/>
                <a:gd name="T84" fmla="*/ 375 w 717"/>
                <a:gd name="T85" fmla="*/ 63 h 426"/>
                <a:gd name="T86" fmla="*/ 402 w 717"/>
                <a:gd name="T87" fmla="*/ 51 h 426"/>
                <a:gd name="T88" fmla="*/ 425 w 717"/>
                <a:gd name="T89" fmla="*/ 35 h 426"/>
                <a:gd name="T90" fmla="*/ 453 w 717"/>
                <a:gd name="T91" fmla="*/ 2 h 426"/>
                <a:gd name="T92" fmla="*/ 460 w 717"/>
                <a:gd name="T93" fmla="*/ 0 h 426"/>
                <a:gd name="T94" fmla="*/ 525 w 717"/>
                <a:gd name="T95" fmla="*/ 12 h 426"/>
                <a:gd name="T96" fmla="*/ 602 w 717"/>
                <a:gd name="T97" fmla="*/ 36 h 426"/>
                <a:gd name="T98" fmla="*/ 657 w 717"/>
                <a:gd name="T99" fmla="*/ 62 h 426"/>
                <a:gd name="T100" fmla="*/ 686 w 717"/>
                <a:gd name="T101" fmla="*/ 83 h 426"/>
                <a:gd name="T102" fmla="*/ 700 w 717"/>
                <a:gd name="T103" fmla="*/ 103 h 426"/>
                <a:gd name="T104" fmla="*/ 710 w 717"/>
                <a:gd name="T105" fmla="*/ 131 h 426"/>
                <a:gd name="T106" fmla="*/ 715 w 717"/>
                <a:gd name="T107" fmla="*/ 171 h 426"/>
                <a:gd name="T108" fmla="*/ 717 w 717"/>
                <a:gd name="T109" fmla="*/ 282 h 426"/>
                <a:gd name="T110" fmla="*/ 713 w 717"/>
                <a:gd name="T111" fmla="*/ 422 h 426"/>
                <a:gd name="T112" fmla="*/ 704 w 717"/>
                <a:gd name="T113" fmla="*/ 42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7" h="426">
                  <a:moveTo>
                    <a:pt x="704" y="426"/>
                  </a:moveTo>
                  <a:lnTo>
                    <a:pt x="704" y="426"/>
                  </a:lnTo>
                  <a:lnTo>
                    <a:pt x="704" y="426"/>
                  </a:lnTo>
                  <a:lnTo>
                    <a:pt x="701" y="426"/>
                  </a:lnTo>
                  <a:lnTo>
                    <a:pt x="698" y="424"/>
                  </a:lnTo>
                  <a:lnTo>
                    <a:pt x="696" y="420"/>
                  </a:lnTo>
                  <a:lnTo>
                    <a:pt x="696" y="417"/>
                  </a:lnTo>
                  <a:lnTo>
                    <a:pt x="698" y="353"/>
                  </a:lnTo>
                  <a:lnTo>
                    <a:pt x="699" y="297"/>
                  </a:lnTo>
                  <a:lnTo>
                    <a:pt x="700" y="249"/>
                  </a:lnTo>
                  <a:lnTo>
                    <a:pt x="699" y="207"/>
                  </a:lnTo>
                  <a:lnTo>
                    <a:pt x="697" y="171"/>
                  </a:lnTo>
                  <a:lnTo>
                    <a:pt x="694" y="142"/>
                  </a:lnTo>
                  <a:lnTo>
                    <a:pt x="691" y="132"/>
                  </a:lnTo>
                  <a:lnTo>
                    <a:pt x="688" y="121"/>
                  </a:lnTo>
                  <a:lnTo>
                    <a:pt x="685" y="112"/>
                  </a:lnTo>
                  <a:lnTo>
                    <a:pt x="682" y="105"/>
                  </a:lnTo>
                  <a:lnTo>
                    <a:pt x="673" y="95"/>
                  </a:lnTo>
                  <a:lnTo>
                    <a:pt x="662" y="87"/>
                  </a:lnTo>
                  <a:lnTo>
                    <a:pt x="649" y="78"/>
                  </a:lnTo>
                  <a:lnTo>
                    <a:pt x="636" y="69"/>
                  </a:lnTo>
                  <a:lnTo>
                    <a:pt x="619" y="62"/>
                  </a:lnTo>
                  <a:lnTo>
                    <a:pt x="603" y="55"/>
                  </a:lnTo>
                  <a:lnTo>
                    <a:pt x="586" y="49"/>
                  </a:lnTo>
                  <a:lnTo>
                    <a:pt x="569" y="44"/>
                  </a:lnTo>
                  <a:lnTo>
                    <a:pt x="536" y="34"/>
                  </a:lnTo>
                  <a:lnTo>
                    <a:pt x="504" y="26"/>
                  </a:lnTo>
                  <a:lnTo>
                    <a:pt x="480" y="21"/>
                  </a:lnTo>
                  <a:lnTo>
                    <a:pt x="463" y="19"/>
                  </a:lnTo>
                  <a:lnTo>
                    <a:pt x="457" y="26"/>
                  </a:lnTo>
                  <a:lnTo>
                    <a:pt x="450" y="35"/>
                  </a:lnTo>
                  <a:lnTo>
                    <a:pt x="439" y="46"/>
                  </a:lnTo>
                  <a:lnTo>
                    <a:pt x="426" y="56"/>
                  </a:lnTo>
                  <a:lnTo>
                    <a:pt x="419" y="62"/>
                  </a:lnTo>
                  <a:lnTo>
                    <a:pt x="411" y="67"/>
                  </a:lnTo>
                  <a:lnTo>
                    <a:pt x="402" y="71"/>
                  </a:lnTo>
                  <a:lnTo>
                    <a:pt x="394" y="76"/>
                  </a:lnTo>
                  <a:lnTo>
                    <a:pt x="384" y="79"/>
                  </a:lnTo>
                  <a:lnTo>
                    <a:pt x="375" y="81"/>
                  </a:lnTo>
                  <a:lnTo>
                    <a:pt x="364" y="82"/>
                  </a:lnTo>
                  <a:lnTo>
                    <a:pt x="353" y="83"/>
                  </a:lnTo>
                  <a:lnTo>
                    <a:pt x="353" y="83"/>
                  </a:lnTo>
                  <a:lnTo>
                    <a:pt x="352" y="83"/>
                  </a:lnTo>
                  <a:lnTo>
                    <a:pt x="341" y="82"/>
                  </a:lnTo>
                  <a:lnTo>
                    <a:pt x="330" y="81"/>
                  </a:lnTo>
                  <a:lnTo>
                    <a:pt x="321" y="79"/>
                  </a:lnTo>
                  <a:lnTo>
                    <a:pt x="312" y="76"/>
                  </a:lnTo>
                  <a:lnTo>
                    <a:pt x="304" y="71"/>
                  </a:lnTo>
                  <a:lnTo>
                    <a:pt x="295" y="67"/>
                  </a:lnTo>
                  <a:lnTo>
                    <a:pt x="288" y="63"/>
                  </a:lnTo>
                  <a:lnTo>
                    <a:pt x="281" y="58"/>
                  </a:lnTo>
                  <a:lnTo>
                    <a:pt x="269" y="47"/>
                  </a:lnTo>
                  <a:lnTo>
                    <a:pt x="260" y="36"/>
                  </a:lnTo>
                  <a:lnTo>
                    <a:pt x="252" y="26"/>
                  </a:lnTo>
                  <a:lnTo>
                    <a:pt x="247" y="19"/>
                  </a:lnTo>
                  <a:lnTo>
                    <a:pt x="231" y="22"/>
                  </a:lnTo>
                  <a:lnTo>
                    <a:pt x="207" y="27"/>
                  </a:lnTo>
                  <a:lnTo>
                    <a:pt x="177" y="34"/>
                  </a:lnTo>
                  <a:lnTo>
                    <a:pt x="145" y="44"/>
                  </a:lnTo>
                  <a:lnTo>
                    <a:pt x="129" y="50"/>
                  </a:lnTo>
                  <a:lnTo>
                    <a:pt x="112" y="56"/>
                  </a:lnTo>
                  <a:lnTo>
                    <a:pt x="96" y="63"/>
                  </a:lnTo>
                  <a:lnTo>
                    <a:pt x="81" y="70"/>
                  </a:lnTo>
                  <a:lnTo>
                    <a:pt x="67" y="78"/>
                  </a:lnTo>
                  <a:lnTo>
                    <a:pt x="56" y="87"/>
                  </a:lnTo>
                  <a:lnTo>
                    <a:pt x="45" y="96"/>
                  </a:lnTo>
                  <a:lnTo>
                    <a:pt x="36" y="106"/>
                  </a:lnTo>
                  <a:lnTo>
                    <a:pt x="33" y="112"/>
                  </a:lnTo>
                  <a:lnTo>
                    <a:pt x="30" y="120"/>
                  </a:lnTo>
                  <a:lnTo>
                    <a:pt x="28" y="128"/>
                  </a:lnTo>
                  <a:lnTo>
                    <a:pt x="24" y="139"/>
                  </a:lnTo>
                  <a:lnTo>
                    <a:pt x="21" y="165"/>
                  </a:lnTo>
                  <a:lnTo>
                    <a:pt x="19" y="197"/>
                  </a:lnTo>
                  <a:lnTo>
                    <a:pt x="18" y="238"/>
                  </a:lnTo>
                  <a:lnTo>
                    <a:pt x="18" y="287"/>
                  </a:lnTo>
                  <a:lnTo>
                    <a:pt x="19" y="346"/>
                  </a:lnTo>
                  <a:lnTo>
                    <a:pt x="21" y="416"/>
                  </a:lnTo>
                  <a:lnTo>
                    <a:pt x="21" y="420"/>
                  </a:lnTo>
                  <a:lnTo>
                    <a:pt x="19" y="423"/>
                  </a:lnTo>
                  <a:lnTo>
                    <a:pt x="16" y="425"/>
                  </a:lnTo>
                  <a:lnTo>
                    <a:pt x="13" y="426"/>
                  </a:lnTo>
                  <a:lnTo>
                    <a:pt x="9" y="425"/>
                  </a:lnTo>
                  <a:lnTo>
                    <a:pt x="6" y="424"/>
                  </a:lnTo>
                  <a:lnTo>
                    <a:pt x="4" y="420"/>
                  </a:lnTo>
                  <a:lnTo>
                    <a:pt x="3" y="417"/>
                  </a:lnTo>
                  <a:lnTo>
                    <a:pt x="1" y="345"/>
                  </a:lnTo>
                  <a:lnTo>
                    <a:pt x="0" y="284"/>
                  </a:lnTo>
                  <a:lnTo>
                    <a:pt x="0" y="234"/>
                  </a:lnTo>
                  <a:lnTo>
                    <a:pt x="2" y="192"/>
                  </a:lnTo>
                  <a:lnTo>
                    <a:pt x="3" y="175"/>
                  </a:lnTo>
                  <a:lnTo>
                    <a:pt x="4" y="158"/>
                  </a:lnTo>
                  <a:lnTo>
                    <a:pt x="6" y="145"/>
                  </a:lnTo>
                  <a:lnTo>
                    <a:pt x="8" y="132"/>
                  </a:lnTo>
                  <a:lnTo>
                    <a:pt x="10" y="121"/>
                  </a:lnTo>
                  <a:lnTo>
                    <a:pt x="14" y="111"/>
                  </a:lnTo>
                  <a:lnTo>
                    <a:pt x="17" y="103"/>
                  </a:lnTo>
                  <a:lnTo>
                    <a:pt x="21" y="96"/>
                  </a:lnTo>
                  <a:lnTo>
                    <a:pt x="25" y="90"/>
                  </a:lnTo>
                  <a:lnTo>
                    <a:pt x="32" y="83"/>
                  </a:lnTo>
                  <a:lnTo>
                    <a:pt x="38" y="78"/>
                  </a:lnTo>
                  <a:lnTo>
                    <a:pt x="45" y="73"/>
                  </a:lnTo>
                  <a:lnTo>
                    <a:pt x="60" y="62"/>
                  </a:lnTo>
                  <a:lnTo>
                    <a:pt x="77" y="52"/>
                  </a:lnTo>
                  <a:lnTo>
                    <a:pt x="95" y="44"/>
                  </a:lnTo>
                  <a:lnTo>
                    <a:pt x="114" y="36"/>
                  </a:lnTo>
                  <a:lnTo>
                    <a:pt x="133" y="30"/>
                  </a:lnTo>
                  <a:lnTo>
                    <a:pt x="152" y="23"/>
                  </a:lnTo>
                  <a:lnTo>
                    <a:pt x="188" y="14"/>
                  </a:lnTo>
                  <a:lnTo>
                    <a:pt x="219" y="6"/>
                  </a:lnTo>
                  <a:lnTo>
                    <a:pt x="240" y="2"/>
                  </a:lnTo>
                  <a:lnTo>
                    <a:pt x="251" y="0"/>
                  </a:lnTo>
                  <a:lnTo>
                    <a:pt x="253" y="0"/>
                  </a:lnTo>
                  <a:lnTo>
                    <a:pt x="256" y="1"/>
                  </a:lnTo>
                  <a:lnTo>
                    <a:pt x="259" y="3"/>
                  </a:lnTo>
                  <a:lnTo>
                    <a:pt x="260" y="5"/>
                  </a:lnTo>
                  <a:lnTo>
                    <a:pt x="266" y="15"/>
                  </a:lnTo>
                  <a:lnTo>
                    <a:pt x="283" y="35"/>
                  </a:lnTo>
                  <a:lnTo>
                    <a:pt x="290" y="40"/>
                  </a:lnTo>
                  <a:lnTo>
                    <a:pt x="297" y="46"/>
                  </a:lnTo>
                  <a:lnTo>
                    <a:pt x="305" y="51"/>
                  </a:lnTo>
                  <a:lnTo>
                    <a:pt x="312" y="55"/>
                  </a:lnTo>
                  <a:lnTo>
                    <a:pt x="322" y="60"/>
                  </a:lnTo>
                  <a:lnTo>
                    <a:pt x="332" y="63"/>
                  </a:lnTo>
                  <a:lnTo>
                    <a:pt x="341" y="65"/>
                  </a:lnTo>
                  <a:lnTo>
                    <a:pt x="352" y="65"/>
                  </a:lnTo>
                  <a:lnTo>
                    <a:pt x="353" y="65"/>
                  </a:lnTo>
                  <a:lnTo>
                    <a:pt x="353" y="65"/>
                  </a:lnTo>
                  <a:lnTo>
                    <a:pt x="364" y="65"/>
                  </a:lnTo>
                  <a:lnTo>
                    <a:pt x="375" y="63"/>
                  </a:lnTo>
                  <a:lnTo>
                    <a:pt x="384" y="60"/>
                  </a:lnTo>
                  <a:lnTo>
                    <a:pt x="394" y="55"/>
                  </a:lnTo>
                  <a:lnTo>
                    <a:pt x="402" y="51"/>
                  </a:lnTo>
                  <a:lnTo>
                    <a:pt x="411" y="46"/>
                  </a:lnTo>
                  <a:lnTo>
                    <a:pt x="417" y="40"/>
                  </a:lnTo>
                  <a:lnTo>
                    <a:pt x="425" y="35"/>
                  </a:lnTo>
                  <a:lnTo>
                    <a:pt x="444" y="14"/>
                  </a:lnTo>
                  <a:lnTo>
                    <a:pt x="451" y="4"/>
                  </a:lnTo>
                  <a:lnTo>
                    <a:pt x="453" y="2"/>
                  </a:lnTo>
                  <a:lnTo>
                    <a:pt x="455" y="1"/>
                  </a:lnTo>
                  <a:lnTo>
                    <a:pt x="457" y="0"/>
                  </a:lnTo>
                  <a:lnTo>
                    <a:pt x="460" y="0"/>
                  </a:lnTo>
                  <a:lnTo>
                    <a:pt x="470" y="2"/>
                  </a:lnTo>
                  <a:lnTo>
                    <a:pt x="494" y="6"/>
                  </a:lnTo>
                  <a:lnTo>
                    <a:pt x="525" y="12"/>
                  </a:lnTo>
                  <a:lnTo>
                    <a:pt x="562" y="23"/>
                  </a:lnTo>
                  <a:lnTo>
                    <a:pt x="582" y="30"/>
                  </a:lnTo>
                  <a:lnTo>
                    <a:pt x="602" y="36"/>
                  </a:lnTo>
                  <a:lnTo>
                    <a:pt x="622" y="44"/>
                  </a:lnTo>
                  <a:lnTo>
                    <a:pt x="640" y="52"/>
                  </a:lnTo>
                  <a:lnTo>
                    <a:pt x="657" y="62"/>
                  </a:lnTo>
                  <a:lnTo>
                    <a:pt x="672" y="71"/>
                  </a:lnTo>
                  <a:lnTo>
                    <a:pt x="680" y="77"/>
                  </a:lnTo>
                  <a:lnTo>
                    <a:pt x="686" y="83"/>
                  </a:lnTo>
                  <a:lnTo>
                    <a:pt x="691" y="89"/>
                  </a:lnTo>
                  <a:lnTo>
                    <a:pt x="697" y="95"/>
                  </a:lnTo>
                  <a:lnTo>
                    <a:pt x="700" y="103"/>
                  </a:lnTo>
                  <a:lnTo>
                    <a:pt x="704" y="110"/>
                  </a:lnTo>
                  <a:lnTo>
                    <a:pt x="706" y="120"/>
                  </a:lnTo>
                  <a:lnTo>
                    <a:pt x="710" y="131"/>
                  </a:lnTo>
                  <a:lnTo>
                    <a:pt x="712" y="142"/>
                  </a:lnTo>
                  <a:lnTo>
                    <a:pt x="713" y="156"/>
                  </a:lnTo>
                  <a:lnTo>
                    <a:pt x="715" y="171"/>
                  </a:lnTo>
                  <a:lnTo>
                    <a:pt x="716" y="190"/>
                  </a:lnTo>
                  <a:lnTo>
                    <a:pt x="717" y="230"/>
                  </a:lnTo>
                  <a:lnTo>
                    <a:pt x="717" y="282"/>
                  </a:lnTo>
                  <a:lnTo>
                    <a:pt x="716" y="343"/>
                  </a:lnTo>
                  <a:lnTo>
                    <a:pt x="713" y="417"/>
                  </a:lnTo>
                  <a:lnTo>
                    <a:pt x="713" y="422"/>
                  </a:lnTo>
                  <a:lnTo>
                    <a:pt x="711" y="424"/>
                  </a:lnTo>
                  <a:lnTo>
                    <a:pt x="707" y="426"/>
                  </a:lnTo>
                  <a:lnTo>
                    <a:pt x="704" y="426"/>
                  </a:lnTo>
                  <a:close/>
                </a:path>
              </a:pathLst>
            </a:custGeom>
            <a:solidFill>
              <a:srgbClr val="2A43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192"/>
            <p:cNvSpPr>
              <a:spLocks noEditPoints="1"/>
            </p:cNvSpPr>
            <p:nvPr/>
          </p:nvSpPr>
          <p:spPr bwMode="auto">
            <a:xfrm>
              <a:off x="8226425" y="6324600"/>
              <a:ext cx="892175" cy="514350"/>
            </a:xfrm>
            <a:custGeom>
              <a:avLst/>
              <a:gdLst>
                <a:gd name="T0" fmla="*/ 1155 w 1687"/>
                <a:gd name="T1" fmla="*/ 579 h 971"/>
                <a:gd name="T2" fmla="*/ 1290 w 1687"/>
                <a:gd name="T3" fmla="*/ 619 h 971"/>
                <a:gd name="T4" fmla="*/ 1515 w 1687"/>
                <a:gd name="T5" fmla="*/ 606 h 971"/>
                <a:gd name="T6" fmla="*/ 1591 w 1687"/>
                <a:gd name="T7" fmla="*/ 953 h 971"/>
                <a:gd name="T8" fmla="*/ 1030 w 1687"/>
                <a:gd name="T9" fmla="*/ 807 h 971"/>
                <a:gd name="T10" fmla="*/ 921 w 1687"/>
                <a:gd name="T11" fmla="*/ 682 h 971"/>
                <a:gd name="T12" fmla="*/ 1344 w 1687"/>
                <a:gd name="T13" fmla="*/ 477 h 971"/>
                <a:gd name="T14" fmla="*/ 1238 w 1687"/>
                <a:gd name="T15" fmla="*/ 608 h 971"/>
                <a:gd name="T16" fmla="*/ 1182 w 1687"/>
                <a:gd name="T17" fmla="*/ 505 h 971"/>
                <a:gd name="T18" fmla="*/ 1121 w 1687"/>
                <a:gd name="T19" fmla="*/ 346 h 971"/>
                <a:gd name="T20" fmla="*/ 1135 w 1687"/>
                <a:gd name="T21" fmla="*/ 187 h 971"/>
                <a:gd name="T22" fmla="*/ 1307 w 1687"/>
                <a:gd name="T23" fmla="*/ 142 h 971"/>
                <a:gd name="T24" fmla="*/ 1379 w 1687"/>
                <a:gd name="T25" fmla="*/ 239 h 971"/>
                <a:gd name="T26" fmla="*/ 1378 w 1687"/>
                <a:gd name="T27" fmla="*/ 389 h 971"/>
                <a:gd name="T28" fmla="*/ 1304 w 1687"/>
                <a:gd name="T29" fmla="*/ 494 h 971"/>
                <a:gd name="T30" fmla="*/ 1177 w 1687"/>
                <a:gd name="T31" fmla="*/ 476 h 971"/>
                <a:gd name="T32" fmla="*/ 1111 w 1687"/>
                <a:gd name="T33" fmla="*/ 368 h 971"/>
                <a:gd name="T34" fmla="*/ 840 w 1687"/>
                <a:gd name="T35" fmla="*/ 395 h 971"/>
                <a:gd name="T36" fmla="*/ 739 w 1687"/>
                <a:gd name="T37" fmla="*/ 308 h 971"/>
                <a:gd name="T38" fmla="*/ 710 w 1687"/>
                <a:gd name="T39" fmla="*/ 232 h 971"/>
                <a:gd name="T40" fmla="*/ 723 w 1687"/>
                <a:gd name="T41" fmla="*/ 77 h 971"/>
                <a:gd name="T42" fmla="*/ 877 w 1687"/>
                <a:gd name="T43" fmla="*/ 22 h 971"/>
                <a:gd name="T44" fmla="*/ 965 w 1687"/>
                <a:gd name="T45" fmla="*/ 112 h 971"/>
                <a:gd name="T46" fmla="*/ 971 w 1687"/>
                <a:gd name="T47" fmla="*/ 265 h 971"/>
                <a:gd name="T48" fmla="*/ 762 w 1687"/>
                <a:gd name="T49" fmla="*/ 457 h 971"/>
                <a:gd name="T50" fmla="*/ 849 w 1687"/>
                <a:gd name="T51" fmla="*/ 413 h 971"/>
                <a:gd name="T52" fmla="*/ 897 w 1687"/>
                <a:gd name="T53" fmla="*/ 473 h 971"/>
                <a:gd name="T54" fmla="*/ 352 w 1687"/>
                <a:gd name="T55" fmla="*/ 475 h 971"/>
                <a:gd name="T56" fmla="*/ 289 w 1687"/>
                <a:gd name="T57" fmla="*/ 360 h 971"/>
                <a:gd name="T58" fmla="*/ 309 w 1687"/>
                <a:gd name="T59" fmla="*/ 201 h 971"/>
                <a:gd name="T60" fmla="*/ 430 w 1687"/>
                <a:gd name="T61" fmla="*/ 134 h 971"/>
                <a:gd name="T62" fmla="*/ 545 w 1687"/>
                <a:gd name="T63" fmla="*/ 208 h 971"/>
                <a:gd name="T64" fmla="*/ 558 w 1687"/>
                <a:gd name="T65" fmla="*/ 381 h 971"/>
                <a:gd name="T66" fmla="*/ 466 w 1687"/>
                <a:gd name="T67" fmla="*/ 503 h 971"/>
                <a:gd name="T68" fmla="*/ 1594 w 1687"/>
                <a:gd name="T69" fmla="*/ 639 h 971"/>
                <a:gd name="T70" fmla="*/ 1381 w 1687"/>
                <a:gd name="T71" fmla="*/ 547 h 971"/>
                <a:gd name="T72" fmla="*/ 1396 w 1687"/>
                <a:gd name="T73" fmla="*/ 332 h 971"/>
                <a:gd name="T74" fmla="*/ 1354 w 1687"/>
                <a:gd name="T75" fmla="*/ 145 h 971"/>
                <a:gd name="T76" fmla="*/ 1173 w 1687"/>
                <a:gd name="T77" fmla="*/ 129 h 971"/>
                <a:gd name="T78" fmla="*/ 1097 w 1687"/>
                <a:gd name="T79" fmla="*/ 276 h 971"/>
                <a:gd name="T80" fmla="*/ 1134 w 1687"/>
                <a:gd name="T81" fmla="*/ 435 h 971"/>
                <a:gd name="T82" fmla="*/ 955 w 1687"/>
                <a:gd name="T83" fmla="*/ 311 h 971"/>
                <a:gd name="T84" fmla="*/ 987 w 1687"/>
                <a:gd name="T85" fmla="*/ 136 h 971"/>
                <a:gd name="T86" fmla="*/ 907 w 1687"/>
                <a:gd name="T87" fmla="*/ 11 h 971"/>
                <a:gd name="T88" fmla="*/ 726 w 1687"/>
                <a:gd name="T89" fmla="*/ 35 h 971"/>
                <a:gd name="T90" fmla="*/ 691 w 1687"/>
                <a:gd name="T91" fmla="*/ 227 h 971"/>
                <a:gd name="T92" fmla="*/ 695 w 1687"/>
                <a:gd name="T93" fmla="*/ 435 h 971"/>
                <a:gd name="T94" fmla="*/ 575 w 1687"/>
                <a:gd name="T95" fmla="*/ 388 h 971"/>
                <a:gd name="T96" fmla="*/ 561 w 1687"/>
                <a:gd name="T97" fmla="*/ 200 h 971"/>
                <a:gd name="T98" fmla="*/ 452 w 1687"/>
                <a:gd name="T99" fmla="*/ 117 h 971"/>
                <a:gd name="T100" fmla="*/ 294 w 1687"/>
                <a:gd name="T101" fmla="*/ 184 h 971"/>
                <a:gd name="T102" fmla="*/ 269 w 1687"/>
                <a:gd name="T103" fmla="*/ 369 h 971"/>
                <a:gd name="T104" fmla="*/ 327 w 1687"/>
                <a:gd name="T105" fmla="*/ 560 h 971"/>
                <a:gd name="T106" fmla="*/ 453 w 1687"/>
                <a:gd name="T107" fmla="*/ 526 h 971"/>
                <a:gd name="T108" fmla="*/ 537 w 1687"/>
                <a:gd name="T109" fmla="*/ 558 h 971"/>
                <a:gd name="T110" fmla="*/ 731 w 1687"/>
                <a:gd name="T111" fmla="*/ 446 h 971"/>
                <a:gd name="T112" fmla="*/ 859 w 1687"/>
                <a:gd name="T113" fmla="*/ 508 h 971"/>
                <a:gd name="T114" fmla="*/ 1054 w 1687"/>
                <a:gd name="T115" fmla="*/ 471 h 971"/>
                <a:gd name="T116" fmla="*/ 981 w 1687"/>
                <a:gd name="T117" fmla="*/ 591 h 971"/>
                <a:gd name="T118" fmla="*/ 900 w 1687"/>
                <a:gd name="T119" fmla="*/ 700 h 971"/>
                <a:gd name="T120" fmla="*/ 658 w 1687"/>
                <a:gd name="T121" fmla="*/ 805 h 971"/>
                <a:gd name="T122" fmla="*/ 9 w 1687"/>
                <a:gd name="T123" fmla="*/ 953 h 971"/>
                <a:gd name="T124" fmla="*/ 1685 w 1687"/>
                <a:gd name="T125" fmla="*/ 968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87" h="971">
                  <a:moveTo>
                    <a:pt x="932" y="649"/>
                  </a:moveTo>
                  <a:lnTo>
                    <a:pt x="941" y="639"/>
                  </a:lnTo>
                  <a:lnTo>
                    <a:pt x="951" y="630"/>
                  </a:lnTo>
                  <a:lnTo>
                    <a:pt x="964" y="621"/>
                  </a:lnTo>
                  <a:lnTo>
                    <a:pt x="978" y="613"/>
                  </a:lnTo>
                  <a:lnTo>
                    <a:pt x="993" y="606"/>
                  </a:lnTo>
                  <a:lnTo>
                    <a:pt x="1008" y="598"/>
                  </a:lnTo>
                  <a:lnTo>
                    <a:pt x="1024" y="593"/>
                  </a:lnTo>
                  <a:lnTo>
                    <a:pt x="1042" y="587"/>
                  </a:lnTo>
                  <a:lnTo>
                    <a:pt x="1074" y="577"/>
                  </a:lnTo>
                  <a:lnTo>
                    <a:pt x="1103" y="570"/>
                  </a:lnTo>
                  <a:lnTo>
                    <a:pt x="1126" y="565"/>
                  </a:lnTo>
                  <a:lnTo>
                    <a:pt x="1144" y="562"/>
                  </a:lnTo>
                  <a:lnTo>
                    <a:pt x="1148" y="569"/>
                  </a:lnTo>
                  <a:lnTo>
                    <a:pt x="1155" y="579"/>
                  </a:lnTo>
                  <a:lnTo>
                    <a:pt x="1165" y="590"/>
                  </a:lnTo>
                  <a:lnTo>
                    <a:pt x="1177" y="601"/>
                  </a:lnTo>
                  <a:lnTo>
                    <a:pt x="1184" y="606"/>
                  </a:lnTo>
                  <a:lnTo>
                    <a:pt x="1191" y="610"/>
                  </a:lnTo>
                  <a:lnTo>
                    <a:pt x="1199" y="614"/>
                  </a:lnTo>
                  <a:lnTo>
                    <a:pt x="1208" y="619"/>
                  </a:lnTo>
                  <a:lnTo>
                    <a:pt x="1217" y="622"/>
                  </a:lnTo>
                  <a:lnTo>
                    <a:pt x="1227" y="624"/>
                  </a:lnTo>
                  <a:lnTo>
                    <a:pt x="1237" y="625"/>
                  </a:lnTo>
                  <a:lnTo>
                    <a:pt x="1249" y="626"/>
                  </a:lnTo>
                  <a:lnTo>
                    <a:pt x="1249" y="626"/>
                  </a:lnTo>
                  <a:lnTo>
                    <a:pt x="1260" y="625"/>
                  </a:lnTo>
                  <a:lnTo>
                    <a:pt x="1270" y="624"/>
                  </a:lnTo>
                  <a:lnTo>
                    <a:pt x="1280" y="622"/>
                  </a:lnTo>
                  <a:lnTo>
                    <a:pt x="1290" y="619"/>
                  </a:lnTo>
                  <a:lnTo>
                    <a:pt x="1298" y="614"/>
                  </a:lnTo>
                  <a:lnTo>
                    <a:pt x="1307" y="610"/>
                  </a:lnTo>
                  <a:lnTo>
                    <a:pt x="1315" y="605"/>
                  </a:lnTo>
                  <a:lnTo>
                    <a:pt x="1322" y="599"/>
                  </a:lnTo>
                  <a:lnTo>
                    <a:pt x="1335" y="589"/>
                  </a:lnTo>
                  <a:lnTo>
                    <a:pt x="1345" y="578"/>
                  </a:lnTo>
                  <a:lnTo>
                    <a:pt x="1353" y="569"/>
                  </a:lnTo>
                  <a:lnTo>
                    <a:pt x="1358" y="562"/>
                  </a:lnTo>
                  <a:lnTo>
                    <a:pt x="1376" y="564"/>
                  </a:lnTo>
                  <a:lnTo>
                    <a:pt x="1400" y="569"/>
                  </a:lnTo>
                  <a:lnTo>
                    <a:pt x="1431" y="577"/>
                  </a:lnTo>
                  <a:lnTo>
                    <a:pt x="1465" y="587"/>
                  </a:lnTo>
                  <a:lnTo>
                    <a:pt x="1482" y="592"/>
                  </a:lnTo>
                  <a:lnTo>
                    <a:pt x="1499" y="598"/>
                  </a:lnTo>
                  <a:lnTo>
                    <a:pt x="1515" y="606"/>
                  </a:lnTo>
                  <a:lnTo>
                    <a:pt x="1531" y="612"/>
                  </a:lnTo>
                  <a:lnTo>
                    <a:pt x="1545" y="621"/>
                  </a:lnTo>
                  <a:lnTo>
                    <a:pt x="1558" y="630"/>
                  </a:lnTo>
                  <a:lnTo>
                    <a:pt x="1569" y="639"/>
                  </a:lnTo>
                  <a:lnTo>
                    <a:pt x="1579" y="649"/>
                  </a:lnTo>
                  <a:lnTo>
                    <a:pt x="1582" y="655"/>
                  </a:lnTo>
                  <a:lnTo>
                    <a:pt x="1585" y="664"/>
                  </a:lnTo>
                  <a:lnTo>
                    <a:pt x="1587" y="674"/>
                  </a:lnTo>
                  <a:lnTo>
                    <a:pt x="1589" y="685"/>
                  </a:lnTo>
                  <a:lnTo>
                    <a:pt x="1592" y="713"/>
                  </a:lnTo>
                  <a:lnTo>
                    <a:pt x="1595" y="747"/>
                  </a:lnTo>
                  <a:lnTo>
                    <a:pt x="1596" y="787"/>
                  </a:lnTo>
                  <a:lnTo>
                    <a:pt x="1595" y="835"/>
                  </a:lnTo>
                  <a:lnTo>
                    <a:pt x="1594" y="890"/>
                  </a:lnTo>
                  <a:lnTo>
                    <a:pt x="1591" y="953"/>
                  </a:lnTo>
                  <a:lnTo>
                    <a:pt x="1496" y="953"/>
                  </a:lnTo>
                  <a:lnTo>
                    <a:pt x="1497" y="811"/>
                  </a:lnTo>
                  <a:lnTo>
                    <a:pt x="1497" y="807"/>
                  </a:lnTo>
                  <a:lnTo>
                    <a:pt x="1495" y="805"/>
                  </a:lnTo>
                  <a:lnTo>
                    <a:pt x="1492" y="802"/>
                  </a:lnTo>
                  <a:lnTo>
                    <a:pt x="1488" y="801"/>
                  </a:lnTo>
                  <a:lnTo>
                    <a:pt x="1488" y="801"/>
                  </a:lnTo>
                  <a:lnTo>
                    <a:pt x="1485" y="802"/>
                  </a:lnTo>
                  <a:lnTo>
                    <a:pt x="1482" y="805"/>
                  </a:lnTo>
                  <a:lnTo>
                    <a:pt x="1480" y="807"/>
                  </a:lnTo>
                  <a:lnTo>
                    <a:pt x="1480" y="811"/>
                  </a:lnTo>
                  <a:lnTo>
                    <a:pt x="1479" y="953"/>
                  </a:lnTo>
                  <a:lnTo>
                    <a:pt x="1031" y="953"/>
                  </a:lnTo>
                  <a:lnTo>
                    <a:pt x="1031" y="811"/>
                  </a:lnTo>
                  <a:lnTo>
                    <a:pt x="1030" y="807"/>
                  </a:lnTo>
                  <a:lnTo>
                    <a:pt x="1028" y="805"/>
                  </a:lnTo>
                  <a:lnTo>
                    <a:pt x="1025" y="802"/>
                  </a:lnTo>
                  <a:lnTo>
                    <a:pt x="1022" y="801"/>
                  </a:lnTo>
                  <a:lnTo>
                    <a:pt x="1018" y="802"/>
                  </a:lnTo>
                  <a:lnTo>
                    <a:pt x="1016" y="805"/>
                  </a:lnTo>
                  <a:lnTo>
                    <a:pt x="1014" y="807"/>
                  </a:lnTo>
                  <a:lnTo>
                    <a:pt x="1013" y="811"/>
                  </a:lnTo>
                  <a:lnTo>
                    <a:pt x="1013" y="953"/>
                  </a:lnTo>
                  <a:lnTo>
                    <a:pt x="917" y="953"/>
                  </a:lnTo>
                  <a:lnTo>
                    <a:pt x="915" y="885"/>
                  </a:lnTo>
                  <a:lnTo>
                    <a:pt x="914" y="827"/>
                  </a:lnTo>
                  <a:lnTo>
                    <a:pt x="914" y="779"/>
                  </a:lnTo>
                  <a:lnTo>
                    <a:pt x="915" y="739"/>
                  </a:lnTo>
                  <a:lnTo>
                    <a:pt x="917" y="707"/>
                  </a:lnTo>
                  <a:lnTo>
                    <a:pt x="921" y="682"/>
                  </a:lnTo>
                  <a:lnTo>
                    <a:pt x="923" y="671"/>
                  </a:lnTo>
                  <a:lnTo>
                    <a:pt x="926" y="663"/>
                  </a:lnTo>
                  <a:lnTo>
                    <a:pt x="929" y="655"/>
                  </a:lnTo>
                  <a:lnTo>
                    <a:pt x="932" y="649"/>
                  </a:lnTo>
                  <a:close/>
                  <a:moveTo>
                    <a:pt x="1251" y="529"/>
                  </a:moveTo>
                  <a:lnTo>
                    <a:pt x="1260" y="529"/>
                  </a:lnTo>
                  <a:lnTo>
                    <a:pt x="1268" y="528"/>
                  </a:lnTo>
                  <a:lnTo>
                    <a:pt x="1276" y="526"/>
                  </a:lnTo>
                  <a:lnTo>
                    <a:pt x="1283" y="524"/>
                  </a:lnTo>
                  <a:lnTo>
                    <a:pt x="1296" y="519"/>
                  </a:lnTo>
                  <a:lnTo>
                    <a:pt x="1309" y="512"/>
                  </a:lnTo>
                  <a:lnTo>
                    <a:pt x="1320" y="505"/>
                  </a:lnTo>
                  <a:lnTo>
                    <a:pt x="1328" y="496"/>
                  </a:lnTo>
                  <a:lnTo>
                    <a:pt x="1337" y="487"/>
                  </a:lnTo>
                  <a:lnTo>
                    <a:pt x="1344" y="477"/>
                  </a:lnTo>
                  <a:lnTo>
                    <a:pt x="1345" y="549"/>
                  </a:lnTo>
                  <a:lnTo>
                    <a:pt x="1341" y="555"/>
                  </a:lnTo>
                  <a:lnTo>
                    <a:pt x="1335" y="563"/>
                  </a:lnTo>
                  <a:lnTo>
                    <a:pt x="1326" y="573"/>
                  </a:lnTo>
                  <a:lnTo>
                    <a:pt x="1314" y="583"/>
                  </a:lnTo>
                  <a:lnTo>
                    <a:pt x="1308" y="588"/>
                  </a:lnTo>
                  <a:lnTo>
                    <a:pt x="1301" y="593"/>
                  </a:lnTo>
                  <a:lnTo>
                    <a:pt x="1294" y="597"/>
                  </a:lnTo>
                  <a:lnTo>
                    <a:pt x="1285" y="601"/>
                  </a:lnTo>
                  <a:lnTo>
                    <a:pt x="1277" y="604"/>
                  </a:lnTo>
                  <a:lnTo>
                    <a:pt x="1268" y="606"/>
                  </a:lnTo>
                  <a:lnTo>
                    <a:pt x="1258" y="608"/>
                  </a:lnTo>
                  <a:lnTo>
                    <a:pt x="1249" y="608"/>
                  </a:lnTo>
                  <a:lnTo>
                    <a:pt x="1249" y="608"/>
                  </a:lnTo>
                  <a:lnTo>
                    <a:pt x="1238" y="608"/>
                  </a:lnTo>
                  <a:lnTo>
                    <a:pt x="1228" y="606"/>
                  </a:lnTo>
                  <a:lnTo>
                    <a:pt x="1220" y="604"/>
                  </a:lnTo>
                  <a:lnTo>
                    <a:pt x="1211" y="601"/>
                  </a:lnTo>
                  <a:lnTo>
                    <a:pt x="1204" y="596"/>
                  </a:lnTo>
                  <a:lnTo>
                    <a:pt x="1196" y="592"/>
                  </a:lnTo>
                  <a:lnTo>
                    <a:pt x="1190" y="588"/>
                  </a:lnTo>
                  <a:lnTo>
                    <a:pt x="1184" y="582"/>
                  </a:lnTo>
                  <a:lnTo>
                    <a:pt x="1174" y="573"/>
                  </a:lnTo>
                  <a:lnTo>
                    <a:pt x="1166" y="563"/>
                  </a:lnTo>
                  <a:lnTo>
                    <a:pt x="1160" y="554"/>
                  </a:lnTo>
                  <a:lnTo>
                    <a:pt x="1156" y="549"/>
                  </a:lnTo>
                  <a:lnTo>
                    <a:pt x="1156" y="478"/>
                  </a:lnTo>
                  <a:lnTo>
                    <a:pt x="1164" y="488"/>
                  </a:lnTo>
                  <a:lnTo>
                    <a:pt x="1173" y="496"/>
                  </a:lnTo>
                  <a:lnTo>
                    <a:pt x="1182" y="505"/>
                  </a:lnTo>
                  <a:lnTo>
                    <a:pt x="1194" y="514"/>
                  </a:lnTo>
                  <a:lnTo>
                    <a:pt x="1206" y="520"/>
                  </a:lnTo>
                  <a:lnTo>
                    <a:pt x="1220" y="524"/>
                  </a:lnTo>
                  <a:lnTo>
                    <a:pt x="1227" y="526"/>
                  </a:lnTo>
                  <a:lnTo>
                    <a:pt x="1235" y="528"/>
                  </a:lnTo>
                  <a:lnTo>
                    <a:pt x="1242" y="529"/>
                  </a:lnTo>
                  <a:lnTo>
                    <a:pt x="1251" y="529"/>
                  </a:lnTo>
                  <a:close/>
                  <a:moveTo>
                    <a:pt x="1111" y="368"/>
                  </a:moveTo>
                  <a:lnTo>
                    <a:pt x="1111" y="363"/>
                  </a:lnTo>
                  <a:lnTo>
                    <a:pt x="1112" y="360"/>
                  </a:lnTo>
                  <a:lnTo>
                    <a:pt x="1115" y="356"/>
                  </a:lnTo>
                  <a:lnTo>
                    <a:pt x="1118" y="352"/>
                  </a:lnTo>
                  <a:lnTo>
                    <a:pt x="1120" y="350"/>
                  </a:lnTo>
                  <a:lnTo>
                    <a:pt x="1121" y="348"/>
                  </a:lnTo>
                  <a:lnTo>
                    <a:pt x="1121" y="346"/>
                  </a:lnTo>
                  <a:lnTo>
                    <a:pt x="1121" y="344"/>
                  </a:lnTo>
                  <a:lnTo>
                    <a:pt x="1119" y="331"/>
                  </a:lnTo>
                  <a:lnTo>
                    <a:pt x="1117" y="315"/>
                  </a:lnTo>
                  <a:lnTo>
                    <a:pt x="1116" y="296"/>
                  </a:lnTo>
                  <a:lnTo>
                    <a:pt x="1116" y="275"/>
                  </a:lnTo>
                  <a:lnTo>
                    <a:pt x="1117" y="255"/>
                  </a:lnTo>
                  <a:lnTo>
                    <a:pt x="1119" y="234"/>
                  </a:lnTo>
                  <a:lnTo>
                    <a:pt x="1121" y="226"/>
                  </a:lnTo>
                  <a:lnTo>
                    <a:pt x="1124" y="217"/>
                  </a:lnTo>
                  <a:lnTo>
                    <a:pt x="1127" y="210"/>
                  </a:lnTo>
                  <a:lnTo>
                    <a:pt x="1132" y="203"/>
                  </a:lnTo>
                  <a:lnTo>
                    <a:pt x="1133" y="201"/>
                  </a:lnTo>
                  <a:lnTo>
                    <a:pt x="1134" y="198"/>
                  </a:lnTo>
                  <a:lnTo>
                    <a:pt x="1134" y="192"/>
                  </a:lnTo>
                  <a:lnTo>
                    <a:pt x="1135" y="187"/>
                  </a:lnTo>
                  <a:lnTo>
                    <a:pt x="1137" y="183"/>
                  </a:lnTo>
                  <a:lnTo>
                    <a:pt x="1139" y="179"/>
                  </a:lnTo>
                  <a:lnTo>
                    <a:pt x="1145" y="170"/>
                  </a:lnTo>
                  <a:lnTo>
                    <a:pt x="1151" y="162"/>
                  </a:lnTo>
                  <a:lnTo>
                    <a:pt x="1160" y="156"/>
                  </a:lnTo>
                  <a:lnTo>
                    <a:pt x="1168" y="152"/>
                  </a:lnTo>
                  <a:lnTo>
                    <a:pt x="1178" y="147"/>
                  </a:lnTo>
                  <a:lnTo>
                    <a:pt x="1188" y="143"/>
                  </a:lnTo>
                  <a:lnTo>
                    <a:pt x="1208" y="139"/>
                  </a:lnTo>
                  <a:lnTo>
                    <a:pt x="1227" y="136"/>
                  </a:lnTo>
                  <a:lnTo>
                    <a:pt x="1243" y="134"/>
                  </a:lnTo>
                  <a:lnTo>
                    <a:pt x="1254" y="134"/>
                  </a:lnTo>
                  <a:lnTo>
                    <a:pt x="1271" y="136"/>
                  </a:lnTo>
                  <a:lnTo>
                    <a:pt x="1289" y="138"/>
                  </a:lnTo>
                  <a:lnTo>
                    <a:pt x="1307" y="142"/>
                  </a:lnTo>
                  <a:lnTo>
                    <a:pt x="1324" y="147"/>
                  </a:lnTo>
                  <a:lnTo>
                    <a:pt x="1332" y="152"/>
                  </a:lnTo>
                  <a:lnTo>
                    <a:pt x="1339" y="156"/>
                  </a:lnTo>
                  <a:lnTo>
                    <a:pt x="1345" y="161"/>
                  </a:lnTo>
                  <a:lnTo>
                    <a:pt x="1351" y="167"/>
                  </a:lnTo>
                  <a:lnTo>
                    <a:pt x="1356" y="173"/>
                  </a:lnTo>
                  <a:lnTo>
                    <a:pt x="1359" y="180"/>
                  </a:lnTo>
                  <a:lnTo>
                    <a:pt x="1362" y="187"/>
                  </a:lnTo>
                  <a:lnTo>
                    <a:pt x="1363" y="195"/>
                  </a:lnTo>
                  <a:lnTo>
                    <a:pt x="1364" y="198"/>
                  </a:lnTo>
                  <a:lnTo>
                    <a:pt x="1365" y="200"/>
                  </a:lnTo>
                  <a:lnTo>
                    <a:pt x="1369" y="208"/>
                  </a:lnTo>
                  <a:lnTo>
                    <a:pt x="1373" y="217"/>
                  </a:lnTo>
                  <a:lnTo>
                    <a:pt x="1377" y="228"/>
                  </a:lnTo>
                  <a:lnTo>
                    <a:pt x="1379" y="239"/>
                  </a:lnTo>
                  <a:lnTo>
                    <a:pt x="1381" y="262"/>
                  </a:lnTo>
                  <a:lnTo>
                    <a:pt x="1381" y="286"/>
                  </a:lnTo>
                  <a:lnTo>
                    <a:pt x="1378" y="327"/>
                  </a:lnTo>
                  <a:lnTo>
                    <a:pt x="1376" y="344"/>
                  </a:lnTo>
                  <a:lnTo>
                    <a:pt x="1376" y="346"/>
                  </a:lnTo>
                  <a:lnTo>
                    <a:pt x="1377" y="348"/>
                  </a:lnTo>
                  <a:lnTo>
                    <a:pt x="1378" y="350"/>
                  </a:lnTo>
                  <a:lnTo>
                    <a:pt x="1379" y="352"/>
                  </a:lnTo>
                  <a:lnTo>
                    <a:pt x="1382" y="356"/>
                  </a:lnTo>
                  <a:lnTo>
                    <a:pt x="1384" y="360"/>
                  </a:lnTo>
                  <a:lnTo>
                    <a:pt x="1385" y="363"/>
                  </a:lnTo>
                  <a:lnTo>
                    <a:pt x="1386" y="368"/>
                  </a:lnTo>
                  <a:lnTo>
                    <a:pt x="1384" y="375"/>
                  </a:lnTo>
                  <a:lnTo>
                    <a:pt x="1382" y="381"/>
                  </a:lnTo>
                  <a:lnTo>
                    <a:pt x="1378" y="389"/>
                  </a:lnTo>
                  <a:lnTo>
                    <a:pt x="1372" y="395"/>
                  </a:lnTo>
                  <a:lnTo>
                    <a:pt x="1362" y="406"/>
                  </a:lnTo>
                  <a:lnTo>
                    <a:pt x="1353" y="414"/>
                  </a:lnTo>
                  <a:lnTo>
                    <a:pt x="1351" y="417"/>
                  </a:lnTo>
                  <a:lnTo>
                    <a:pt x="1349" y="419"/>
                  </a:lnTo>
                  <a:lnTo>
                    <a:pt x="1348" y="424"/>
                  </a:lnTo>
                  <a:lnTo>
                    <a:pt x="1344" y="436"/>
                  </a:lnTo>
                  <a:lnTo>
                    <a:pt x="1344" y="437"/>
                  </a:lnTo>
                  <a:lnTo>
                    <a:pt x="1343" y="437"/>
                  </a:lnTo>
                  <a:lnTo>
                    <a:pt x="1339" y="448"/>
                  </a:lnTo>
                  <a:lnTo>
                    <a:pt x="1334" y="460"/>
                  </a:lnTo>
                  <a:lnTo>
                    <a:pt x="1325" y="473"/>
                  </a:lnTo>
                  <a:lnTo>
                    <a:pt x="1315" y="485"/>
                  </a:lnTo>
                  <a:lnTo>
                    <a:pt x="1310" y="490"/>
                  </a:lnTo>
                  <a:lnTo>
                    <a:pt x="1304" y="494"/>
                  </a:lnTo>
                  <a:lnTo>
                    <a:pt x="1296" y="500"/>
                  </a:lnTo>
                  <a:lnTo>
                    <a:pt x="1289" y="503"/>
                  </a:lnTo>
                  <a:lnTo>
                    <a:pt x="1280" y="506"/>
                  </a:lnTo>
                  <a:lnTo>
                    <a:pt x="1271" y="509"/>
                  </a:lnTo>
                  <a:lnTo>
                    <a:pt x="1262" y="510"/>
                  </a:lnTo>
                  <a:lnTo>
                    <a:pt x="1251" y="510"/>
                  </a:lnTo>
                  <a:lnTo>
                    <a:pt x="1241" y="510"/>
                  </a:lnTo>
                  <a:lnTo>
                    <a:pt x="1232" y="509"/>
                  </a:lnTo>
                  <a:lnTo>
                    <a:pt x="1223" y="507"/>
                  </a:lnTo>
                  <a:lnTo>
                    <a:pt x="1214" y="504"/>
                  </a:lnTo>
                  <a:lnTo>
                    <a:pt x="1207" y="501"/>
                  </a:lnTo>
                  <a:lnTo>
                    <a:pt x="1200" y="496"/>
                  </a:lnTo>
                  <a:lnTo>
                    <a:pt x="1194" y="492"/>
                  </a:lnTo>
                  <a:lnTo>
                    <a:pt x="1188" y="487"/>
                  </a:lnTo>
                  <a:lnTo>
                    <a:pt x="1177" y="476"/>
                  </a:lnTo>
                  <a:lnTo>
                    <a:pt x="1168" y="464"/>
                  </a:lnTo>
                  <a:lnTo>
                    <a:pt x="1162" y="453"/>
                  </a:lnTo>
                  <a:lnTo>
                    <a:pt x="1156" y="443"/>
                  </a:lnTo>
                  <a:lnTo>
                    <a:pt x="1156" y="442"/>
                  </a:lnTo>
                  <a:lnTo>
                    <a:pt x="1155" y="441"/>
                  </a:lnTo>
                  <a:lnTo>
                    <a:pt x="1150" y="425"/>
                  </a:lnTo>
                  <a:lnTo>
                    <a:pt x="1148" y="419"/>
                  </a:lnTo>
                  <a:lnTo>
                    <a:pt x="1147" y="416"/>
                  </a:lnTo>
                  <a:lnTo>
                    <a:pt x="1145" y="414"/>
                  </a:lnTo>
                  <a:lnTo>
                    <a:pt x="1136" y="406"/>
                  </a:lnTo>
                  <a:lnTo>
                    <a:pt x="1124" y="395"/>
                  </a:lnTo>
                  <a:lnTo>
                    <a:pt x="1120" y="389"/>
                  </a:lnTo>
                  <a:lnTo>
                    <a:pt x="1116" y="381"/>
                  </a:lnTo>
                  <a:lnTo>
                    <a:pt x="1112" y="375"/>
                  </a:lnTo>
                  <a:lnTo>
                    <a:pt x="1111" y="368"/>
                  </a:lnTo>
                  <a:close/>
                  <a:moveTo>
                    <a:pt x="942" y="298"/>
                  </a:moveTo>
                  <a:lnTo>
                    <a:pt x="939" y="301"/>
                  </a:lnTo>
                  <a:lnTo>
                    <a:pt x="938" y="303"/>
                  </a:lnTo>
                  <a:lnTo>
                    <a:pt x="937" y="307"/>
                  </a:lnTo>
                  <a:lnTo>
                    <a:pt x="934" y="318"/>
                  </a:lnTo>
                  <a:lnTo>
                    <a:pt x="928" y="333"/>
                  </a:lnTo>
                  <a:lnTo>
                    <a:pt x="919" y="349"/>
                  </a:lnTo>
                  <a:lnTo>
                    <a:pt x="913" y="358"/>
                  </a:lnTo>
                  <a:lnTo>
                    <a:pt x="906" y="366"/>
                  </a:lnTo>
                  <a:lnTo>
                    <a:pt x="898" y="374"/>
                  </a:lnTo>
                  <a:lnTo>
                    <a:pt x="889" y="380"/>
                  </a:lnTo>
                  <a:lnTo>
                    <a:pt x="878" y="387"/>
                  </a:lnTo>
                  <a:lnTo>
                    <a:pt x="868" y="391"/>
                  </a:lnTo>
                  <a:lnTo>
                    <a:pt x="855" y="394"/>
                  </a:lnTo>
                  <a:lnTo>
                    <a:pt x="840" y="395"/>
                  </a:lnTo>
                  <a:lnTo>
                    <a:pt x="830" y="394"/>
                  </a:lnTo>
                  <a:lnTo>
                    <a:pt x="820" y="393"/>
                  </a:lnTo>
                  <a:lnTo>
                    <a:pt x="812" y="391"/>
                  </a:lnTo>
                  <a:lnTo>
                    <a:pt x="803" y="388"/>
                  </a:lnTo>
                  <a:lnTo>
                    <a:pt x="796" y="384"/>
                  </a:lnTo>
                  <a:lnTo>
                    <a:pt x="788" y="379"/>
                  </a:lnTo>
                  <a:lnTo>
                    <a:pt x="782" y="375"/>
                  </a:lnTo>
                  <a:lnTo>
                    <a:pt x="775" y="370"/>
                  </a:lnTo>
                  <a:lnTo>
                    <a:pt x="764" y="358"/>
                  </a:lnTo>
                  <a:lnTo>
                    <a:pt x="756" y="346"/>
                  </a:lnTo>
                  <a:lnTo>
                    <a:pt x="749" y="334"/>
                  </a:lnTo>
                  <a:lnTo>
                    <a:pt x="744" y="323"/>
                  </a:lnTo>
                  <a:lnTo>
                    <a:pt x="744" y="322"/>
                  </a:lnTo>
                  <a:lnTo>
                    <a:pt x="743" y="321"/>
                  </a:lnTo>
                  <a:lnTo>
                    <a:pt x="739" y="308"/>
                  </a:lnTo>
                  <a:lnTo>
                    <a:pt x="737" y="303"/>
                  </a:lnTo>
                  <a:lnTo>
                    <a:pt x="735" y="300"/>
                  </a:lnTo>
                  <a:lnTo>
                    <a:pt x="733" y="298"/>
                  </a:lnTo>
                  <a:lnTo>
                    <a:pt x="725" y="290"/>
                  </a:lnTo>
                  <a:lnTo>
                    <a:pt x="714" y="279"/>
                  </a:lnTo>
                  <a:lnTo>
                    <a:pt x="709" y="273"/>
                  </a:lnTo>
                  <a:lnTo>
                    <a:pt x="704" y="265"/>
                  </a:lnTo>
                  <a:lnTo>
                    <a:pt x="701" y="259"/>
                  </a:lnTo>
                  <a:lnTo>
                    <a:pt x="700" y="252"/>
                  </a:lnTo>
                  <a:lnTo>
                    <a:pt x="700" y="247"/>
                  </a:lnTo>
                  <a:lnTo>
                    <a:pt x="701" y="244"/>
                  </a:lnTo>
                  <a:lnTo>
                    <a:pt x="704" y="240"/>
                  </a:lnTo>
                  <a:lnTo>
                    <a:pt x="708" y="237"/>
                  </a:lnTo>
                  <a:lnTo>
                    <a:pt x="709" y="234"/>
                  </a:lnTo>
                  <a:lnTo>
                    <a:pt x="710" y="232"/>
                  </a:lnTo>
                  <a:lnTo>
                    <a:pt x="710" y="230"/>
                  </a:lnTo>
                  <a:lnTo>
                    <a:pt x="710" y="228"/>
                  </a:lnTo>
                  <a:lnTo>
                    <a:pt x="708" y="215"/>
                  </a:lnTo>
                  <a:lnTo>
                    <a:pt x="706" y="199"/>
                  </a:lnTo>
                  <a:lnTo>
                    <a:pt x="704" y="180"/>
                  </a:lnTo>
                  <a:lnTo>
                    <a:pt x="704" y="159"/>
                  </a:lnTo>
                  <a:lnTo>
                    <a:pt x="705" y="139"/>
                  </a:lnTo>
                  <a:lnTo>
                    <a:pt x="708" y="118"/>
                  </a:lnTo>
                  <a:lnTo>
                    <a:pt x="710" y="110"/>
                  </a:lnTo>
                  <a:lnTo>
                    <a:pt x="713" y="101"/>
                  </a:lnTo>
                  <a:lnTo>
                    <a:pt x="716" y="94"/>
                  </a:lnTo>
                  <a:lnTo>
                    <a:pt x="720" y="87"/>
                  </a:lnTo>
                  <a:lnTo>
                    <a:pt x="721" y="85"/>
                  </a:lnTo>
                  <a:lnTo>
                    <a:pt x="723" y="82"/>
                  </a:lnTo>
                  <a:lnTo>
                    <a:pt x="723" y="77"/>
                  </a:lnTo>
                  <a:lnTo>
                    <a:pt x="724" y="71"/>
                  </a:lnTo>
                  <a:lnTo>
                    <a:pt x="726" y="67"/>
                  </a:lnTo>
                  <a:lnTo>
                    <a:pt x="728" y="63"/>
                  </a:lnTo>
                  <a:lnTo>
                    <a:pt x="733" y="54"/>
                  </a:lnTo>
                  <a:lnTo>
                    <a:pt x="740" y="46"/>
                  </a:lnTo>
                  <a:lnTo>
                    <a:pt x="748" y="40"/>
                  </a:lnTo>
                  <a:lnTo>
                    <a:pt x="757" y="36"/>
                  </a:lnTo>
                  <a:lnTo>
                    <a:pt x="767" y="31"/>
                  </a:lnTo>
                  <a:lnTo>
                    <a:pt x="776" y="27"/>
                  </a:lnTo>
                  <a:lnTo>
                    <a:pt x="797" y="23"/>
                  </a:lnTo>
                  <a:lnTo>
                    <a:pt x="816" y="20"/>
                  </a:lnTo>
                  <a:lnTo>
                    <a:pt x="832" y="19"/>
                  </a:lnTo>
                  <a:lnTo>
                    <a:pt x="843" y="19"/>
                  </a:lnTo>
                  <a:lnTo>
                    <a:pt x="860" y="20"/>
                  </a:lnTo>
                  <a:lnTo>
                    <a:pt x="877" y="22"/>
                  </a:lnTo>
                  <a:lnTo>
                    <a:pt x="895" y="26"/>
                  </a:lnTo>
                  <a:lnTo>
                    <a:pt x="913" y="31"/>
                  </a:lnTo>
                  <a:lnTo>
                    <a:pt x="920" y="36"/>
                  </a:lnTo>
                  <a:lnTo>
                    <a:pt x="928" y="40"/>
                  </a:lnTo>
                  <a:lnTo>
                    <a:pt x="934" y="45"/>
                  </a:lnTo>
                  <a:lnTo>
                    <a:pt x="939" y="51"/>
                  </a:lnTo>
                  <a:lnTo>
                    <a:pt x="945" y="57"/>
                  </a:lnTo>
                  <a:lnTo>
                    <a:pt x="948" y="64"/>
                  </a:lnTo>
                  <a:lnTo>
                    <a:pt x="950" y="71"/>
                  </a:lnTo>
                  <a:lnTo>
                    <a:pt x="951" y="79"/>
                  </a:lnTo>
                  <a:lnTo>
                    <a:pt x="952" y="82"/>
                  </a:lnTo>
                  <a:lnTo>
                    <a:pt x="953" y="84"/>
                  </a:lnTo>
                  <a:lnTo>
                    <a:pt x="959" y="92"/>
                  </a:lnTo>
                  <a:lnTo>
                    <a:pt x="962" y="101"/>
                  </a:lnTo>
                  <a:lnTo>
                    <a:pt x="965" y="112"/>
                  </a:lnTo>
                  <a:lnTo>
                    <a:pt x="967" y="123"/>
                  </a:lnTo>
                  <a:lnTo>
                    <a:pt x="970" y="146"/>
                  </a:lnTo>
                  <a:lnTo>
                    <a:pt x="971" y="170"/>
                  </a:lnTo>
                  <a:lnTo>
                    <a:pt x="967" y="211"/>
                  </a:lnTo>
                  <a:lnTo>
                    <a:pt x="965" y="228"/>
                  </a:lnTo>
                  <a:lnTo>
                    <a:pt x="964" y="230"/>
                  </a:lnTo>
                  <a:lnTo>
                    <a:pt x="965" y="232"/>
                  </a:lnTo>
                  <a:lnTo>
                    <a:pt x="966" y="234"/>
                  </a:lnTo>
                  <a:lnTo>
                    <a:pt x="967" y="237"/>
                  </a:lnTo>
                  <a:lnTo>
                    <a:pt x="971" y="240"/>
                  </a:lnTo>
                  <a:lnTo>
                    <a:pt x="973" y="244"/>
                  </a:lnTo>
                  <a:lnTo>
                    <a:pt x="975" y="247"/>
                  </a:lnTo>
                  <a:lnTo>
                    <a:pt x="975" y="252"/>
                  </a:lnTo>
                  <a:lnTo>
                    <a:pt x="974" y="259"/>
                  </a:lnTo>
                  <a:lnTo>
                    <a:pt x="971" y="265"/>
                  </a:lnTo>
                  <a:lnTo>
                    <a:pt x="966" y="273"/>
                  </a:lnTo>
                  <a:lnTo>
                    <a:pt x="961" y="279"/>
                  </a:lnTo>
                  <a:lnTo>
                    <a:pt x="950" y="290"/>
                  </a:lnTo>
                  <a:lnTo>
                    <a:pt x="942" y="298"/>
                  </a:lnTo>
                  <a:close/>
                  <a:moveTo>
                    <a:pt x="837" y="493"/>
                  </a:moveTo>
                  <a:lnTo>
                    <a:pt x="837" y="493"/>
                  </a:lnTo>
                  <a:lnTo>
                    <a:pt x="827" y="492"/>
                  </a:lnTo>
                  <a:lnTo>
                    <a:pt x="818" y="491"/>
                  </a:lnTo>
                  <a:lnTo>
                    <a:pt x="808" y="488"/>
                  </a:lnTo>
                  <a:lnTo>
                    <a:pt x="800" y="485"/>
                  </a:lnTo>
                  <a:lnTo>
                    <a:pt x="792" y="481"/>
                  </a:lnTo>
                  <a:lnTo>
                    <a:pt x="785" y="477"/>
                  </a:lnTo>
                  <a:lnTo>
                    <a:pt x="778" y="472"/>
                  </a:lnTo>
                  <a:lnTo>
                    <a:pt x="773" y="467"/>
                  </a:lnTo>
                  <a:lnTo>
                    <a:pt x="762" y="457"/>
                  </a:lnTo>
                  <a:lnTo>
                    <a:pt x="754" y="447"/>
                  </a:lnTo>
                  <a:lnTo>
                    <a:pt x="748" y="439"/>
                  </a:lnTo>
                  <a:lnTo>
                    <a:pt x="745" y="434"/>
                  </a:lnTo>
                  <a:lnTo>
                    <a:pt x="744" y="361"/>
                  </a:lnTo>
                  <a:lnTo>
                    <a:pt x="752" y="371"/>
                  </a:lnTo>
                  <a:lnTo>
                    <a:pt x="760" y="379"/>
                  </a:lnTo>
                  <a:lnTo>
                    <a:pt x="771" y="389"/>
                  </a:lnTo>
                  <a:lnTo>
                    <a:pt x="782" y="397"/>
                  </a:lnTo>
                  <a:lnTo>
                    <a:pt x="793" y="403"/>
                  </a:lnTo>
                  <a:lnTo>
                    <a:pt x="807" y="408"/>
                  </a:lnTo>
                  <a:lnTo>
                    <a:pt x="815" y="410"/>
                  </a:lnTo>
                  <a:lnTo>
                    <a:pt x="824" y="412"/>
                  </a:lnTo>
                  <a:lnTo>
                    <a:pt x="831" y="413"/>
                  </a:lnTo>
                  <a:lnTo>
                    <a:pt x="840" y="413"/>
                  </a:lnTo>
                  <a:lnTo>
                    <a:pt x="849" y="413"/>
                  </a:lnTo>
                  <a:lnTo>
                    <a:pt x="857" y="412"/>
                  </a:lnTo>
                  <a:lnTo>
                    <a:pt x="865" y="410"/>
                  </a:lnTo>
                  <a:lnTo>
                    <a:pt x="873" y="408"/>
                  </a:lnTo>
                  <a:lnTo>
                    <a:pt x="886" y="403"/>
                  </a:lnTo>
                  <a:lnTo>
                    <a:pt x="899" y="397"/>
                  </a:lnTo>
                  <a:lnTo>
                    <a:pt x="909" y="388"/>
                  </a:lnTo>
                  <a:lnTo>
                    <a:pt x="919" y="379"/>
                  </a:lnTo>
                  <a:lnTo>
                    <a:pt x="927" y="370"/>
                  </a:lnTo>
                  <a:lnTo>
                    <a:pt x="934" y="359"/>
                  </a:lnTo>
                  <a:lnTo>
                    <a:pt x="935" y="434"/>
                  </a:lnTo>
                  <a:lnTo>
                    <a:pt x="931" y="439"/>
                  </a:lnTo>
                  <a:lnTo>
                    <a:pt x="924" y="448"/>
                  </a:lnTo>
                  <a:lnTo>
                    <a:pt x="915" y="458"/>
                  </a:lnTo>
                  <a:lnTo>
                    <a:pt x="904" y="467"/>
                  </a:lnTo>
                  <a:lnTo>
                    <a:pt x="897" y="473"/>
                  </a:lnTo>
                  <a:lnTo>
                    <a:pt x="890" y="477"/>
                  </a:lnTo>
                  <a:lnTo>
                    <a:pt x="883" y="481"/>
                  </a:lnTo>
                  <a:lnTo>
                    <a:pt x="874" y="486"/>
                  </a:lnTo>
                  <a:lnTo>
                    <a:pt x="865" y="489"/>
                  </a:lnTo>
                  <a:lnTo>
                    <a:pt x="857" y="491"/>
                  </a:lnTo>
                  <a:lnTo>
                    <a:pt x="847" y="492"/>
                  </a:lnTo>
                  <a:lnTo>
                    <a:pt x="837" y="493"/>
                  </a:lnTo>
                  <a:close/>
                  <a:moveTo>
                    <a:pt x="427" y="510"/>
                  </a:moveTo>
                  <a:lnTo>
                    <a:pt x="413" y="510"/>
                  </a:lnTo>
                  <a:lnTo>
                    <a:pt x="400" y="507"/>
                  </a:lnTo>
                  <a:lnTo>
                    <a:pt x="389" y="503"/>
                  </a:lnTo>
                  <a:lnTo>
                    <a:pt x="378" y="497"/>
                  </a:lnTo>
                  <a:lnTo>
                    <a:pt x="368" y="490"/>
                  </a:lnTo>
                  <a:lnTo>
                    <a:pt x="360" y="482"/>
                  </a:lnTo>
                  <a:lnTo>
                    <a:pt x="352" y="475"/>
                  </a:lnTo>
                  <a:lnTo>
                    <a:pt x="346" y="466"/>
                  </a:lnTo>
                  <a:lnTo>
                    <a:pt x="336" y="450"/>
                  </a:lnTo>
                  <a:lnTo>
                    <a:pt x="329" y="435"/>
                  </a:lnTo>
                  <a:lnTo>
                    <a:pt x="325" y="424"/>
                  </a:lnTo>
                  <a:lnTo>
                    <a:pt x="324" y="419"/>
                  </a:lnTo>
                  <a:lnTo>
                    <a:pt x="322" y="416"/>
                  </a:lnTo>
                  <a:lnTo>
                    <a:pt x="321" y="414"/>
                  </a:lnTo>
                  <a:lnTo>
                    <a:pt x="311" y="406"/>
                  </a:lnTo>
                  <a:lnTo>
                    <a:pt x="300" y="395"/>
                  </a:lnTo>
                  <a:lnTo>
                    <a:pt x="296" y="389"/>
                  </a:lnTo>
                  <a:lnTo>
                    <a:pt x="292" y="381"/>
                  </a:lnTo>
                  <a:lnTo>
                    <a:pt x="289" y="375"/>
                  </a:lnTo>
                  <a:lnTo>
                    <a:pt x="288" y="368"/>
                  </a:lnTo>
                  <a:lnTo>
                    <a:pt x="288" y="363"/>
                  </a:lnTo>
                  <a:lnTo>
                    <a:pt x="289" y="360"/>
                  </a:lnTo>
                  <a:lnTo>
                    <a:pt x="291" y="356"/>
                  </a:lnTo>
                  <a:lnTo>
                    <a:pt x="294" y="352"/>
                  </a:lnTo>
                  <a:lnTo>
                    <a:pt x="297" y="348"/>
                  </a:lnTo>
                  <a:lnTo>
                    <a:pt x="297" y="344"/>
                  </a:lnTo>
                  <a:lnTo>
                    <a:pt x="295" y="331"/>
                  </a:lnTo>
                  <a:lnTo>
                    <a:pt x="293" y="315"/>
                  </a:lnTo>
                  <a:lnTo>
                    <a:pt x="292" y="296"/>
                  </a:lnTo>
                  <a:lnTo>
                    <a:pt x="292" y="275"/>
                  </a:lnTo>
                  <a:lnTo>
                    <a:pt x="293" y="255"/>
                  </a:lnTo>
                  <a:lnTo>
                    <a:pt x="295" y="234"/>
                  </a:lnTo>
                  <a:lnTo>
                    <a:pt x="297" y="226"/>
                  </a:lnTo>
                  <a:lnTo>
                    <a:pt x="300" y="217"/>
                  </a:lnTo>
                  <a:lnTo>
                    <a:pt x="304" y="210"/>
                  </a:lnTo>
                  <a:lnTo>
                    <a:pt x="308" y="203"/>
                  </a:lnTo>
                  <a:lnTo>
                    <a:pt x="309" y="201"/>
                  </a:lnTo>
                  <a:lnTo>
                    <a:pt x="309" y="198"/>
                  </a:lnTo>
                  <a:lnTo>
                    <a:pt x="310" y="192"/>
                  </a:lnTo>
                  <a:lnTo>
                    <a:pt x="311" y="187"/>
                  </a:lnTo>
                  <a:lnTo>
                    <a:pt x="312" y="183"/>
                  </a:lnTo>
                  <a:lnTo>
                    <a:pt x="314" y="179"/>
                  </a:lnTo>
                  <a:lnTo>
                    <a:pt x="320" y="170"/>
                  </a:lnTo>
                  <a:lnTo>
                    <a:pt x="327" y="162"/>
                  </a:lnTo>
                  <a:lnTo>
                    <a:pt x="335" y="156"/>
                  </a:lnTo>
                  <a:lnTo>
                    <a:pt x="345" y="152"/>
                  </a:lnTo>
                  <a:lnTo>
                    <a:pt x="354" y="147"/>
                  </a:lnTo>
                  <a:lnTo>
                    <a:pt x="364" y="143"/>
                  </a:lnTo>
                  <a:lnTo>
                    <a:pt x="384" y="139"/>
                  </a:lnTo>
                  <a:lnTo>
                    <a:pt x="404" y="136"/>
                  </a:lnTo>
                  <a:lnTo>
                    <a:pt x="420" y="134"/>
                  </a:lnTo>
                  <a:lnTo>
                    <a:pt x="430" y="134"/>
                  </a:lnTo>
                  <a:lnTo>
                    <a:pt x="447" y="136"/>
                  </a:lnTo>
                  <a:lnTo>
                    <a:pt x="465" y="138"/>
                  </a:lnTo>
                  <a:lnTo>
                    <a:pt x="483" y="142"/>
                  </a:lnTo>
                  <a:lnTo>
                    <a:pt x="500" y="147"/>
                  </a:lnTo>
                  <a:lnTo>
                    <a:pt x="508" y="152"/>
                  </a:lnTo>
                  <a:lnTo>
                    <a:pt x="515" y="156"/>
                  </a:lnTo>
                  <a:lnTo>
                    <a:pt x="522" y="161"/>
                  </a:lnTo>
                  <a:lnTo>
                    <a:pt x="527" y="167"/>
                  </a:lnTo>
                  <a:lnTo>
                    <a:pt x="531" y="173"/>
                  </a:lnTo>
                  <a:lnTo>
                    <a:pt x="536" y="180"/>
                  </a:lnTo>
                  <a:lnTo>
                    <a:pt x="538" y="187"/>
                  </a:lnTo>
                  <a:lnTo>
                    <a:pt x="539" y="195"/>
                  </a:lnTo>
                  <a:lnTo>
                    <a:pt x="539" y="198"/>
                  </a:lnTo>
                  <a:lnTo>
                    <a:pt x="541" y="200"/>
                  </a:lnTo>
                  <a:lnTo>
                    <a:pt x="545" y="208"/>
                  </a:lnTo>
                  <a:lnTo>
                    <a:pt x="550" y="217"/>
                  </a:lnTo>
                  <a:lnTo>
                    <a:pt x="553" y="228"/>
                  </a:lnTo>
                  <a:lnTo>
                    <a:pt x="555" y="239"/>
                  </a:lnTo>
                  <a:lnTo>
                    <a:pt x="557" y="262"/>
                  </a:lnTo>
                  <a:lnTo>
                    <a:pt x="557" y="286"/>
                  </a:lnTo>
                  <a:lnTo>
                    <a:pt x="554" y="327"/>
                  </a:lnTo>
                  <a:lnTo>
                    <a:pt x="552" y="344"/>
                  </a:lnTo>
                  <a:lnTo>
                    <a:pt x="553" y="348"/>
                  </a:lnTo>
                  <a:lnTo>
                    <a:pt x="555" y="352"/>
                  </a:lnTo>
                  <a:lnTo>
                    <a:pt x="558" y="356"/>
                  </a:lnTo>
                  <a:lnTo>
                    <a:pt x="560" y="360"/>
                  </a:lnTo>
                  <a:lnTo>
                    <a:pt x="561" y="363"/>
                  </a:lnTo>
                  <a:lnTo>
                    <a:pt x="563" y="368"/>
                  </a:lnTo>
                  <a:lnTo>
                    <a:pt x="560" y="375"/>
                  </a:lnTo>
                  <a:lnTo>
                    <a:pt x="558" y="381"/>
                  </a:lnTo>
                  <a:lnTo>
                    <a:pt x="554" y="389"/>
                  </a:lnTo>
                  <a:lnTo>
                    <a:pt x="549" y="395"/>
                  </a:lnTo>
                  <a:lnTo>
                    <a:pt x="538" y="406"/>
                  </a:lnTo>
                  <a:lnTo>
                    <a:pt x="528" y="414"/>
                  </a:lnTo>
                  <a:lnTo>
                    <a:pt x="527" y="417"/>
                  </a:lnTo>
                  <a:lnTo>
                    <a:pt x="525" y="419"/>
                  </a:lnTo>
                  <a:lnTo>
                    <a:pt x="525" y="423"/>
                  </a:lnTo>
                  <a:lnTo>
                    <a:pt x="522" y="434"/>
                  </a:lnTo>
                  <a:lnTo>
                    <a:pt x="515" y="449"/>
                  </a:lnTo>
                  <a:lnTo>
                    <a:pt x="506" y="465"/>
                  </a:lnTo>
                  <a:lnTo>
                    <a:pt x="500" y="474"/>
                  </a:lnTo>
                  <a:lnTo>
                    <a:pt x="493" y="482"/>
                  </a:lnTo>
                  <a:lnTo>
                    <a:pt x="485" y="490"/>
                  </a:lnTo>
                  <a:lnTo>
                    <a:pt x="477" y="496"/>
                  </a:lnTo>
                  <a:lnTo>
                    <a:pt x="466" y="503"/>
                  </a:lnTo>
                  <a:lnTo>
                    <a:pt x="454" y="507"/>
                  </a:lnTo>
                  <a:lnTo>
                    <a:pt x="441" y="510"/>
                  </a:lnTo>
                  <a:lnTo>
                    <a:pt x="427" y="510"/>
                  </a:lnTo>
                  <a:close/>
                  <a:moveTo>
                    <a:pt x="1677" y="953"/>
                  </a:moveTo>
                  <a:lnTo>
                    <a:pt x="1610" y="953"/>
                  </a:lnTo>
                  <a:lnTo>
                    <a:pt x="1612" y="881"/>
                  </a:lnTo>
                  <a:lnTo>
                    <a:pt x="1613" y="821"/>
                  </a:lnTo>
                  <a:lnTo>
                    <a:pt x="1613" y="771"/>
                  </a:lnTo>
                  <a:lnTo>
                    <a:pt x="1612" y="730"/>
                  </a:lnTo>
                  <a:lnTo>
                    <a:pt x="1610" y="698"/>
                  </a:lnTo>
                  <a:lnTo>
                    <a:pt x="1605" y="674"/>
                  </a:lnTo>
                  <a:lnTo>
                    <a:pt x="1603" y="663"/>
                  </a:lnTo>
                  <a:lnTo>
                    <a:pt x="1600" y="654"/>
                  </a:lnTo>
                  <a:lnTo>
                    <a:pt x="1597" y="646"/>
                  </a:lnTo>
                  <a:lnTo>
                    <a:pt x="1594" y="639"/>
                  </a:lnTo>
                  <a:lnTo>
                    <a:pt x="1592" y="639"/>
                  </a:lnTo>
                  <a:lnTo>
                    <a:pt x="1592" y="638"/>
                  </a:lnTo>
                  <a:lnTo>
                    <a:pt x="1592" y="638"/>
                  </a:lnTo>
                  <a:lnTo>
                    <a:pt x="1592" y="638"/>
                  </a:lnTo>
                  <a:lnTo>
                    <a:pt x="1583" y="627"/>
                  </a:lnTo>
                  <a:lnTo>
                    <a:pt x="1571" y="617"/>
                  </a:lnTo>
                  <a:lnTo>
                    <a:pt x="1558" y="608"/>
                  </a:lnTo>
                  <a:lnTo>
                    <a:pt x="1543" y="598"/>
                  </a:lnTo>
                  <a:lnTo>
                    <a:pt x="1527" y="591"/>
                  </a:lnTo>
                  <a:lnTo>
                    <a:pt x="1510" y="583"/>
                  </a:lnTo>
                  <a:lnTo>
                    <a:pt x="1492" y="577"/>
                  </a:lnTo>
                  <a:lnTo>
                    <a:pt x="1474" y="570"/>
                  </a:lnTo>
                  <a:lnTo>
                    <a:pt x="1439" y="561"/>
                  </a:lnTo>
                  <a:lnTo>
                    <a:pt x="1408" y="552"/>
                  </a:lnTo>
                  <a:lnTo>
                    <a:pt x="1381" y="547"/>
                  </a:lnTo>
                  <a:lnTo>
                    <a:pt x="1363" y="544"/>
                  </a:lnTo>
                  <a:lnTo>
                    <a:pt x="1362" y="442"/>
                  </a:lnTo>
                  <a:lnTo>
                    <a:pt x="1365" y="433"/>
                  </a:lnTo>
                  <a:lnTo>
                    <a:pt x="1366" y="427"/>
                  </a:lnTo>
                  <a:lnTo>
                    <a:pt x="1376" y="418"/>
                  </a:lnTo>
                  <a:lnTo>
                    <a:pt x="1388" y="404"/>
                  </a:lnTo>
                  <a:lnTo>
                    <a:pt x="1394" y="397"/>
                  </a:lnTo>
                  <a:lnTo>
                    <a:pt x="1399" y="388"/>
                  </a:lnTo>
                  <a:lnTo>
                    <a:pt x="1402" y="378"/>
                  </a:lnTo>
                  <a:lnTo>
                    <a:pt x="1403" y="369"/>
                  </a:lnTo>
                  <a:lnTo>
                    <a:pt x="1403" y="362"/>
                  </a:lnTo>
                  <a:lnTo>
                    <a:pt x="1401" y="355"/>
                  </a:lnTo>
                  <a:lnTo>
                    <a:pt x="1399" y="348"/>
                  </a:lnTo>
                  <a:lnTo>
                    <a:pt x="1395" y="343"/>
                  </a:lnTo>
                  <a:lnTo>
                    <a:pt x="1396" y="332"/>
                  </a:lnTo>
                  <a:lnTo>
                    <a:pt x="1398" y="316"/>
                  </a:lnTo>
                  <a:lnTo>
                    <a:pt x="1399" y="297"/>
                  </a:lnTo>
                  <a:lnTo>
                    <a:pt x="1399" y="274"/>
                  </a:lnTo>
                  <a:lnTo>
                    <a:pt x="1398" y="252"/>
                  </a:lnTo>
                  <a:lnTo>
                    <a:pt x="1395" y="229"/>
                  </a:lnTo>
                  <a:lnTo>
                    <a:pt x="1393" y="219"/>
                  </a:lnTo>
                  <a:lnTo>
                    <a:pt x="1390" y="209"/>
                  </a:lnTo>
                  <a:lnTo>
                    <a:pt x="1385" y="200"/>
                  </a:lnTo>
                  <a:lnTo>
                    <a:pt x="1381" y="191"/>
                  </a:lnTo>
                  <a:lnTo>
                    <a:pt x="1379" y="182"/>
                  </a:lnTo>
                  <a:lnTo>
                    <a:pt x="1377" y="173"/>
                  </a:lnTo>
                  <a:lnTo>
                    <a:pt x="1372" y="166"/>
                  </a:lnTo>
                  <a:lnTo>
                    <a:pt x="1367" y="158"/>
                  </a:lnTo>
                  <a:lnTo>
                    <a:pt x="1362" y="151"/>
                  </a:lnTo>
                  <a:lnTo>
                    <a:pt x="1354" y="145"/>
                  </a:lnTo>
                  <a:lnTo>
                    <a:pt x="1347" y="140"/>
                  </a:lnTo>
                  <a:lnTo>
                    <a:pt x="1338" y="134"/>
                  </a:lnTo>
                  <a:lnTo>
                    <a:pt x="1328" y="130"/>
                  </a:lnTo>
                  <a:lnTo>
                    <a:pt x="1319" y="126"/>
                  </a:lnTo>
                  <a:lnTo>
                    <a:pt x="1309" y="124"/>
                  </a:lnTo>
                  <a:lnTo>
                    <a:pt x="1298" y="121"/>
                  </a:lnTo>
                  <a:lnTo>
                    <a:pt x="1287" y="118"/>
                  </a:lnTo>
                  <a:lnTo>
                    <a:pt x="1276" y="117"/>
                  </a:lnTo>
                  <a:lnTo>
                    <a:pt x="1265" y="116"/>
                  </a:lnTo>
                  <a:lnTo>
                    <a:pt x="1254" y="116"/>
                  </a:lnTo>
                  <a:lnTo>
                    <a:pt x="1229" y="117"/>
                  </a:lnTo>
                  <a:lnTo>
                    <a:pt x="1206" y="121"/>
                  </a:lnTo>
                  <a:lnTo>
                    <a:pt x="1195" y="123"/>
                  </a:lnTo>
                  <a:lnTo>
                    <a:pt x="1183" y="126"/>
                  </a:lnTo>
                  <a:lnTo>
                    <a:pt x="1173" y="129"/>
                  </a:lnTo>
                  <a:lnTo>
                    <a:pt x="1163" y="133"/>
                  </a:lnTo>
                  <a:lnTo>
                    <a:pt x="1153" y="139"/>
                  </a:lnTo>
                  <a:lnTo>
                    <a:pt x="1145" y="144"/>
                  </a:lnTo>
                  <a:lnTo>
                    <a:pt x="1137" y="151"/>
                  </a:lnTo>
                  <a:lnTo>
                    <a:pt x="1131" y="158"/>
                  </a:lnTo>
                  <a:lnTo>
                    <a:pt x="1125" y="166"/>
                  </a:lnTo>
                  <a:lnTo>
                    <a:pt x="1121" y="174"/>
                  </a:lnTo>
                  <a:lnTo>
                    <a:pt x="1118" y="184"/>
                  </a:lnTo>
                  <a:lnTo>
                    <a:pt x="1116" y="195"/>
                  </a:lnTo>
                  <a:lnTo>
                    <a:pt x="1111" y="203"/>
                  </a:lnTo>
                  <a:lnTo>
                    <a:pt x="1107" y="212"/>
                  </a:lnTo>
                  <a:lnTo>
                    <a:pt x="1104" y="221"/>
                  </a:lnTo>
                  <a:lnTo>
                    <a:pt x="1102" y="232"/>
                  </a:lnTo>
                  <a:lnTo>
                    <a:pt x="1098" y="254"/>
                  </a:lnTo>
                  <a:lnTo>
                    <a:pt x="1097" y="276"/>
                  </a:lnTo>
                  <a:lnTo>
                    <a:pt x="1097" y="298"/>
                  </a:lnTo>
                  <a:lnTo>
                    <a:pt x="1100" y="316"/>
                  </a:lnTo>
                  <a:lnTo>
                    <a:pt x="1101" y="332"/>
                  </a:lnTo>
                  <a:lnTo>
                    <a:pt x="1103" y="343"/>
                  </a:lnTo>
                  <a:lnTo>
                    <a:pt x="1098" y="348"/>
                  </a:lnTo>
                  <a:lnTo>
                    <a:pt x="1095" y="355"/>
                  </a:lnTo>
                  <a:lnTo>
                    <a:pt x="1093" y="362"/>
                  </a:lnTo>
                  <a:lnTo>
                    <a:pt x="1093" y="369"/>
                  </a:lnTo>
                  <a:lnTo>
                    <a:pt x="1094" y="378"/>
                  </a:lnTo>
                  <a:lnTo>
                    <a:pt x="1098" y="388"/>
                  </a:lnTo>
                  <a:lnTo>
                    <a:pt x="1103" y="397"/>
                  </a:lnTo>
                  <a:lnTo>
                    <a:pt x="1109" y="405"/>
                  </a:lnTo>
                  <a:lnTo>
                    <a:pt x="1121" y="418"/>
                  </a:lnTo>
                  <a:lnTo>
                    <a:pt x="1131" y="427"/>
                  </a:lnTo>
                  <a:lnTo>
                    <a:pt x="1134" y="435"/>
                  </a:lnTo>
                  <a:lnTo>
                    <a:pt x="1139" y="447"/>
                  </a:lnTo>
                  <a:lnTo>
                    <a:pt x="1139" y="487"/>
                  </a:lnTo>
                  <a:lnTo>
                    <a:pt x="1126" y="480"/>
                  </a:lnTo>
                  <a:lnTo>
                    <a:pt x="1113" y="474"/>
                  </a:lnTo>
                  <a:lnTo>
                    <a:pt x="1101" y="468"/>
                  </a:lnTo>
                  <a:lnTo>
                    <a:pt x="1087" y="463"/>
                  </a:lnTo>
                  <a:lnTo>
                    <a:pt x="1060" y="453"/>
                  </a:lnTo>
                  <a:lnTo>
                    <a:pt x="1032" y="446"/>
                  </a:lnTo>
                  <a:lnTo>
                    <a:pt x="1007" y="439"/>
                  </a:lnTo>
                  <a:lnTo>
                    <a:pt x="985" y="434"/>
                  </a:lnTo>
                  <a:lnTo>
                    <a:pt x="966" y="431"/>
                  </a:lnTo>
                  <a:lnTo>
                    <a:pt x="952" y="429"/>
                  </a:lnTo>
                  <a:lnTo>
                    <a:pt x="951" y="322"/>
                  </a:lnTo>
                  <a:lnTo>
                    <a:pt x="953" y="316"/>
                  </a:lnTo>
                  <a:lnTo>
                    <a:pt x="955" y="311"/>
                  </a:lnTo>
                  <a:lnTo>
                    <a:pt x="964" y="302"/>
                  </a:lnTo>
                  <a:lnTo>
                    <a:pt x="977" y="288"/>
                  </a:lnTo>
                  <a:lnTo>
                    <a:pt x="982" y="281"/>
                  </a:lnTo>
                  <a:lnTo>
                    <a:pt x="988" y="272"/>
                  </a:lnTo>
                  <a:lnTo>
                    <a:pt x="991" y="262"/>
                  </a:lnTo>
                  <a:lnTo>
                    <a:pt x="993" y="253"/>
                  </a:lnTo>
                  <a:lnTo>
                    <a:pt x="992" y="246"/>
                  </a:lnTo>
                  <a:lnTo>
                    <a:pt x="991" y="239"/>
                  </a:lnTo>
                  <a:lnTo>
                    <a:pt x="988" y="232"/>
                  </a:lnTo>
                  <a:lnTo>
                    <a:pt x="984" y="227"/>
                  </a:lnTo>
                  <a:lnTo>
                    <a:pt x="985" y="216"/>
                  </a:lnTo>
                  <a:lnTo>
                    <a:pt x="987" y="200"/>
                  </a:lnTo>
                  <a:lnTo>
                    <a:pt x="988" y="181"/>
                  </a:lnTo>
                  <a:lnTo>
                    <a:pt x="988" y="158"/>
                  </a:lnTo>
                  <a:lnTo>
                    <a:pt x="987" y="136"/>
                  </a:lnTo>
                  <a:lnTo>
                    <a:pt x="984" y="113"/>
                  </a:lnTo>
                  <a:lnTo>
                    <a:pt x="981" y="103"/>
                  </a:lnTo>
                  <a:lnTo>
                    <a:pt x="978" y="93"/>
                  </a:lnTo>
                  <a:lnTo>
                    <a:pt x="974" y="84"/>
                  </a:lnTo>
                  <a:lnTo>
                    <a:pt x="970" y="75"/>
                  </a:lnTo>
                  <a:lnTo>
                    <a:pt x="967" y="66"/>
                  </a:lnTo>
                  <a:lnTo>
                    <a:pt x="965" y="57"/>
                  </a:lnTo>
                  <a:lnTo>
                    <a:pt x="961" y="50"/>
                  </a:lnTo>
                  <a:lnTo>
                    <a:pt x="956" y="42"/>
                  </a:lnTo>
                  <a:lnTo>
                    <a:pt x="950" y="35"/>
                  </a:lnTo>
                  <a:lnTo>
                    <a:pt x="943" y="29"/>
                  </a:lnTo>
                  <a:lnTo>
                    <a:pt x="935" y="24"/>
                  </a:lnTo>
                  <a:lnTo>
                    <a:pt x="927" y="19"/>
                  </a:lnTo>
                  <a:lnTo>
                    <a:pt x="917" y="14"/>
                  </a:lnTo>
                  <a:lnTo>
                    <a:pt x="907" y="11"/>
                  </a:lnTo>
                  <a:lnTo>
                    <a:pt x="898" y="8"/>
                  </a:lnTo>
                  <a:lnTo>
                    <a:pt x="887" y="5"/>
                  </a:lnTo>
                  <a:lnTo>
                    <a:pt x="876" y="2"/>
                  </a:lnTo>
                  <a:lnTo>
                    <a:pt x="865" y="1"/>
                  </a:lnTo>
                  <a:lnTo>
                    <a:pt x="854" y="0"/>
                  </a:lnTo>
                  <a:lnTo>
                    <a:pt x="843" y="0"/>
                  </a:lnTo>
                  <a:lnTo>
                    <a:pt x="819" y="1"/>
                  </a:lnTo>
                  <a:lnTo>
                    <a:pt x="796" y="5"/>
                  </a:lnTo>
                  <a:lnTo>
                    <a:pt x="784" y="7"/>
                  </a:lnTo>
                  <a:lnTo>
                    <a:pt x="773" y="10"/>
                  </a:lnTo>
                  <a:lnTo>
                    <a:pt x="762" y="13"/>
                  </a:lnTo>
                  <a:lnTo>
                    <a:pt x="752" y="17"/>
                  </a:lnTo>
                  <a:lnTo>
                    <a:pt x="743" y="23"/>
                  </a:lnTo>
                  <a:lnTo>
                    <a:pt x="734" y="28"/>
                  </a:lnTo>
                  <a:lnTo>
                    <a:pt x="726" y="35"/>
                  </a:lnTo>
                  <a:lnTo>
                    <a:pt x="719" y="42"/>
                  </a:lnTo>
                  <a:lnTo>
                    <a:pt x="714" y="50"/>
                  </a:lnTo>
                  <a:lnTo>
                    <a:pt x="710" y="58"/>
                  </a:lnTo>
                  <a:lnTo>
                    <a:pt x="706" y="68"/>
                  </a:lnTo>
                  <a:lnTo>
                    <a:pt x="704" y="79"/>
                  </a:lnTo>
                  <a:lnTo>
                    <a:pt x="700" y="87"/>
                  </a:lnTo>
                  <a:lnTo>
                    <a:pt x="696" y="96"/>
                  </a:lnTo>
                  <a:lnTo>
                    <a:pt x="692" y="106"/>
                  </a:lnTo>
                  <a:lnTo>
                    <a:pt x="690" y="116"/>
                  </a:lnTo>
                  <a:lnTo>
                    <a:pt x="687" y="138"/>
                  </a:lnTo>
                  <a:lnTo>
                    <a:pt x="686" y="160"/>
                  </a:lnTo>
                  <a:lnTo>
                    <a:pt x="687" y="182"/>
                  </a:lnTo>
                  <a:lnTo>
                    <a:pt x="688" y="200"/>
                  </a:lnTo>
                  <a:lnTo>
                    <a:pt x="690" y="216"/>
                  </a:lnTo>
                  <a:lnTo>
                    <a:pt x="691" y="227"/>
                  </a:lnTo>
                  <a:lnTo>
                    <a:pt x="687" y="232"/>
                  </a:lnTo>
                  <a:lnTo>
                    <a:pt x="684" y="239"/>
                  </a:lnTo>
                  <a:lnTo>
                    <a:pt x="683" y="246"/>
                  </a:lnTo>
                  <a:lnTo>
                    <a:pt x="682" y="253"/>
                  </a:lnTo>
                  <a:lnTo>
                    <a:pt x="684" y="262"/>
                  </a:lnTo>
                  <a:lnTo>
                    <a:pt x="687" y="272"/>
                  </a:lnTo>
                  <a:lnTo>
                    <a:pt x="692" y="281"/>
                  </a:lnTo>
                  <a:lnTo>
                    <a:pt x="698" y="289"/>
                  </a:lnTo>
                  <a:lnTo>
                    <a:pt x="711" y="302"/>
                  </a:lnTo>
                  <a:lnTo>
                    <a:pt x="720" y="311"/>
                  </a:lnTo>
                  <a:lnTo>
                    <a:pt x="723" y="317"/>
                  </a:lnTo>
                  <a:lnTo>
                    <a:pt x="726" y="328"/>
                  </a:lnTo>
                  <a:lnTo>
                    <a:pt x="727" y="429"/>
                  </a:lnTo>
                  <a:lnTo>
                    <a:pt x="713" y="431"/>
                  </a:lnTo>
                  <a:lnTo>
                    <a:pt x="695" y="435"/>
                  </a:lnTo>
                  <a:lnTo>
                    <a:pt x="671" y="441"/>
                  </a:lnTo>
                  <a:lnTo>
                    <a:pt x="645" y="447"/>
                  </a:lnTo>
                  <a:lnTo>
                    <a:pt x="618" y="456"/>
                  </a:lnTo>
                  <a:lnTo>
                    <a:pt x="590" y="466"/>
                  </a:lnTo>
                  <a:lnTo>
                    <a:pt x="576" y="472"/>
                  </a:lnTo>
                  <a:lnTo>
                    <a:pt x="564" y="478"/>
                  </a:lnTo>
                  <a:lnTo>
                    <a:pt x="552" y="485"/>
                  </a:lnTo>
                  <a:lnTo>
                    <a:pt x="540" y="491"/>
                  </a:lnTo>
                  <a:lnTo>
                    <a:pt x="540" y="435"/>
                  </a:lnTo>
                  <a:lnTo>
                    <a:pt x="541" y="430"/>
                  </a:lnTo>
                  <a:lnTo>
                    <a:pt x="542" y="427"/>
                  </a:lnTo>
                  <a:lnTo>
                    <a:pt x="552" y="418"/>
                  </a:lnTo>
                  <a:lnTo>
                    <a:pt x="565" y="404"/>
                  </a:lnTo>
                  <a:lnTo>
                    <a:pt x="570" y="397"/>
                  </a:lnTo>
                  <a:lnTo>
                    <a:pt x="575" y="388"/>
                  </a:lnTo>
                  <a:lnTo>
                    <a:pt x="579" y="378"/>
                  </a:lnTo>
                  <a:lnTo>
                    <a:pt x="580" y="369"/>
                  </a:lnTo>
                  <a:lnTo>
                    <a:pt x="580" y="362"/>
                  </a:lnTo>
                  <a:lnTo>
                    <a:pt x="578" y="355"/>
                  </a:lnTo>
                  <a:lnTo>
                    <a:pt x="574" y="348"/>
                  </a:lnTo>
                  <a:lnTo>
                    <a:pt x="570" y="343"/>
                  </a:lnTo>
                  <a:lnTo>
                    <a:pt x="572" y="332"/>
                  </a:lnTo>
                  <a:lnTo>
                    <a:pt x="573" y="316"/>
                  </a:lnTo>
                  <a:lnTo>
                    <a:pt x="575" y="297"/>
                  </a:lnTo>
                  <a:lnTo>
                    <a:pt x="575" y="274"/>
                  </a:lnTo>
                  <a:lnTo>
                    <a:pt x="574" y="252"/>
                  </a:lnTo>
                  <a:lnTo>
                    <a:pt x="571" y="229"/>
                  </a:lnTo>
                  <a:lnTo>
                    <a:pt x="569" y="219"/>
                  </a:lnTo>
                  <a:lnTo>
                    <a:pt x="566" y="209"/>
                  </a:lnTo>
                  <a:lnTo>
                    <a:pt x="561" y="200"/>
                  </a:lnTo>
                  <a:lnTo>
                    <a:pt x="557" y="191"/>
                  </a:lnTo>
                  <a:lnTo>
                    <a:pt x="555" y="182"/>
                  </a:lnTo>
                  <a:lnTo>
                    <a:pt x="553" y="173"/>
                  </a:lnTo>
                  <a:lnTo>
                    <a:pt x="549" y="166"/>
                  </a:lnTo>
                  <a:lnTo>
                    <a:pt x="543" y="158"/>
                  </a:lnTo>
                  <a:lnTo>
                    <a:pt x="537" y="151"/>
                  </a:lnTo>
                  <a:lnTo>
                    <a:pt x="530" y="145"/>
                  </a:lnTo>
                  <a:lnTo>
                    <a:pt x="523" y="140"/>
                  </a:lnTo>
                  <a:lnTo>
                    <a:pt x="514" y="134"/>
                  </a:lnTo>
                  <a:lnTo>
                    <a:pt x="505" y="130"/>
                  </a:lnTo>
                  <a:lnTo>
                    <a:pt x="495" y="126"/>
                  </a:lnTo>
                  <a:lnTo>
                    <a:pt x="484" y="124"/>
                  </a:lnTo>
                  <a:lnTo>
                    <a:pt x="474" y="121"/>
                  </a:lnTo>
                  <a:lnTo>
                    <a:pt x="463" y="118"/>
                  </a:lnTo>
                  <a:lnTo>
                    <a:pt x="452" y="117"/>
                  </a:lnTo>
                  <a:lnTo>
                    <a:pt x="441" y="116"/>
                  </a:lnTo>
                  <a:lnTo>
                    <a:pt x="430" y="116"/>
                  </a:lnTo>
                  <a:lnTo>
                    <a:pt x="406" y="117"/>
                  </a:lnTo>
                  <a:lnTo>
                    <a:pt x="382" y="121"/>
                  </a:lnTo>
                  <a:lnTo>
                    <a:pt x="371" y="123"/>
                  </a:lnTo>
                  <a:lnTo>
                    <a:pt x="360" y="126"/>
                  </a:lnTo>
                  <a:lnTo>
                    <a:pt x="349" y="129"/>
                  </a:lnTo>
                  <a:lnTo>
                    <a:pt x="339" y="133"/>
                  </a:lnTo>
                  <a:lnTo>
                    <a:pt x="329" y="139"/>
                  </a:lnTo>
                  <a:lnTo>
                    <a:pt x="321" y="144"/>
                  </a:lnTo>
                  <a:lnTo>
                    <a:pt x="313" y="151"/>
                  </a:lnTo>
                  <a:lnTo>
                    <a:pt x="307" y="158"/>
                  </a:lnTo>
                  <a:lnTo>
                    <a:pt x="302" y="166"/>
                  </a:lnTo>
                  <a:lnTo>
                    <a:pt x="297" y="174"/>
                  </a:lnTo>
                  <a:lnTo>
                    <a:pt x="294" y="184"/>
                  </a:lnTo>
                  <a:lnTo>
                    <a:pt x="292" y="195"/>
                  </a:lnTo>
                  <a:lnTo>
                    <a:pt x="287" y="203"/>
                  </a:lnTo>
                  <a:lnTo>
                    <a:pt x="283" y="212"/>
                  </a:lnTo>
                  <a:lnTo>
                    <a:pt x="280" y="221"/>
                  </a:lnTo>
                  <a:lnTo>
                    <a:pt x="278" y="232"/>
                  </a:lnTo>
                  <a:lnTo>
                    <a:pt x="275" y="254"/>
                  </a:lnTo>
                  <a:lnTo>
                    <a:pt x="274" y="276"/>
                  </a:lnTo>
                  <a:lnTo>
                    <a:pt x="274" y="298"/>
                  </a:lnTo>
                  <a:lnTo>
                    <a:pt x="276" y="316"/>
                  </a:lnTo>
                  <a:lnTo>
                    <a:pt x="277" y="332"/>
                  </a:lnTo>
                  <a:lnTo>
                    <a:pt x="279" y="343"/>
                  </a:lnTo>
                  <a:lnTo>
                    <a:pt x="275" y="348"/>
                  </a:lnTo>
                  <a:lnTo>
                    <a:pt x="271" y="355"/>
                  </a:lnTo>
                  <a:lnTo>
                    <a:pt x="269" y="362"/>
                  </a:lnTo>
                  <a:lnTo>
                    <a:pt x="269" y="369"/>
                  </a:lnTo>
                  <a:lnTo>
                    <a:pt x="270" y="378"/>
                  </a:lnTo>
                  <a:lnTo>
                    <a:pt x="275" y="388"/>
                  </a:lnTo>
                  <a:lnTo>
                    <a:pt x="279" y="397"/>
                  </a:lnTo>
                  <a:lnTo>
                    <a:pt x="285" y="405"/>
                  </a:lnTo>
                  <a:lnTo>
                    <a:pt x="297" y="418"/>
                  </a:lnTo>
                  <a:lnTo>
                    <a:pt x="307" y="427"/>
                  </a:lnTo>
                  <a:lnTo>
                    <a:pt x="310" y="436"/>
                  </a:lnTo>
                  <a:lnTo>
                    <a:pt x="317" y="451"/>
                  </a:lnTo>
                  <a:lnTo>
                    <a:pt x="314" y="551"/>
                  </a:lnTo>
                  <a:lnTo>
                    <a:pt x="316" y="555"/>
                  </a:lnTo>
                  <a:lnTo>
                    <a:pt x="318" y="558"/>
                  </a:lnTo>
                  <a:lnTo>
                    <a:pt x="320" y="560"/>
                  </a:lnTo>
                  <a:lnTo>
                    <a:pt x="324" y="561"/>
                  </a:lnTo>
                  <a:lnTo>
                    <a:pt x="324" y="561"/>
                  </a:lnTo>
                  <a:lnTo>
                    <a:pt x="327" y="560"/>
                  </a:lnTo>
                  <a:lnTo>
                    <a:pt x="331" y="559"/>
                  </a:lnTo>
                  <a:lnTo>
                    <a:pt x="332" y="555"/>
                  </a:lnTo>
                  <a:lnTo>
                    <a:pt x="333" y="552"/>
                  </a:lnTo>
                  <a:lnTo>
                    <a:pt x="334" y="480"/>
                  </a:lnTo>
                  <a:lnTo>
                    <a:pt x="341" y="490"/>
                  </a:lnTo>
                  <a:lnTo>
                    <a:pt x="350" y="499"/>
                  </a:lnTo>
                  <a:lnTo>
                    <a:pt x="360" y="506"/>
                  </a:lnTo>
                  <a:lnTo>
                    <a:pt x="371" y="514"/>
                  </a:lnTo>
                  <a:lnTo>
                    <a:pt x="383" y="520"/>
                  </a:lnTo>
                  <a:lnTo>
                    <a:pt x="396" y="524"/>
                  </a:lnTo>
                  <a:lnTo>
                    <a:pt x="411" y="528"/>
                  </a:lnTo>
                  <a:lnTo>
                    <a:pt x="427" y="529"/>
                  </a:lnTo>
                  <a:lnTo>
                    <a:pt x="436" y="529"/>
                  </a:lnTo>
                  <a:lnTo>
                    <a:pt x="444" y="528"/>
                  </a:lnTo>
                  <a:lnTo>
                    <a:pt x="453" y="526"/>
                  </a:lnTo>
                  <a:lnTo>
                    <a:pt x="460" y="524"/>
                  </a:lnTo>
                  <a:lnTo>
                    <a:pt x="474" y="519"/>
                  </a:lnTo>
                  <a:lnTo>
                    <a:pt x="486" y="511"/>
                  </a:lnTo>
                  <a:lnTo>
                    <a:pt x="497" y="504"/>
                  </a:lnTo>
                  <a:lnTo>
                    <a:pt x="507" y="494"/>
                  </a:lnTo>
                  <a:lnTo>
                    <a:pt x="514" y="485"/>
                  </a:lnTo>
                  <a:lnTo>
                    <a:pt x="522" y="474"/>
                  </a:lnTo>
                  <a:lnTo>
                    <a:pt x="522" y="552"/>
                  </a:lnTo>
                  <a:lnTo>
                    <a:pt x="522" y="555"/>
                  </a:lnTo>
                  <a:lnTo>
                    <a:pt x="524" y="558"/>
                  </a:lnTo>
                  <a:lnTo>
                    <a:pt x="527" y="560"/>
                  </a:lnTo>
                  <a:lnTo>
                    <a:pt x="530" y="561"/>
                  </a:lnTo>
                  <a:lnTo>
                    <a:pt x="530" y="561"/>
                  </a:lnTo>
                  <a:lnTo>
                    <a:pt x="534" y="560"/>
                  </a:lnTo>
                  <a:lnTo>
                    <a:pt x="537" y="558"/>
                  </a:lnTo>
                  <a:lnTo>
                    <a:pt x="539" y="555"/>
                  </a:lnTo>
                  <a:lnTo>
                    <a:pt x="540" y="552"/>
                  </a:lnTo>
                  <a:lnTo>
                    <a:pt x="540" y="512"/>
                  </a:lnTo>
                  <a:lnTo>
                    <a:pt x="540" y="512"/>
                  </a:lnTo>
                  <a:lnTo>
                    <a:pt x="540" y="512"/>
                  </a:lnTo>
                  <a:lnTo>
                    <a:pt x="551" y="505"/>
                  </a:lnTo>
                  <a:lnTo>
                    <a:pt x="563" y="499"/>
                  </a:lnTo>
                  <a:lnTo>
                    <a:pt x="575" y="492"/>
                  </a:lnTo>
                  <a:lnTo>
                    <a:pt x="589" y="486"/>
                  </a:lnTo>
                  <a:lnTo>
                    <a:pt x="617" y="475"/>
                  </a:lnTo>
                  <a:lnTo>
                    <a:pt x="646" y="466"/>
                  </a:lnTo>
                  <a:lnTo>
                    <a:pt x="673" y="459"/>
                  </a:lnTo>
                  <a:lnTo>
                    <a:pt x="698" y="452"/>
                  </a:lnTo>
                  <a:lnTo>
                    <a:pt x="717" y="448"/>
                  </a:lnTo>
                  <a:lnTo>
                    <a:pt x="731" y="446"/>
                  </a:lnTo>
                  <a:lnTo>
                    <a:pt x="737" y="453"/>
                  </a:lnTo>
                  <a:lnTo>
                    <a:pt x="744" y="463"/>
                  </a:lnTo>
                  <a:lnTo>
                    <a:pt x="754" y="474"/>
                  </a:lnTo>
                  <a:lnTo>
                    <a:pt x="766" y="485"/>
                  </a:lnTo>
                  <a:lnTo>
                    <a:pt x="772" y="490"/>
                  </a:lnTo>
                  <a:lnTo>
                    <a:pt x="779" y="495"/>
                  </a:lnTo>
                  <a:lnTo>
                    <a:pt x="788" y="500"/>
                  </a:lnTo>
                  <a:lnTo>
                    <a:pt x="797" y="503"/>
                  </a:lnTo>
                  <a:lnTo>
                    <a:pt x="806" y="506"/>
                  </a:lnTo>
                  <a:lnTo>
                    <a:pt x="816" y="509"/>
                  </a:lnTo>
                  <a:lnTo>
                    <a:pt x="827" y="510"/>
                  </a:lnTo>
                  <a:lnTo>
                    <a:pt x="837" y="510"/>
                  </a:lnTo>
                  <a:lnTo>
                    <a:pt x="837" y="510"/>
                  </a:lnTo>
                  <a:lnTo>
                    <a:pt x="848" y="510"/>
                  </a:lnTo>
                  <a:lnTo>
                    <a:pt x="859" y="508"/>
                  </a:lnTo>
                  <a:lnTo>
                    <a:pt x="870" y="506"/>
                  </a:lnTo>
                  <a:lnTo>
                    <a:pt x="879" y="503"/>
                  </a:lnTo>
                  <a:lnTo>
                    <a:pt x="888" y="499"/>
                  </a:lnTo>
                  <a:lnTo>
                    <a:pt x="897" y="494"/>
                  </a:lnTo>
                  <a:lnTo>
                    <a:pt x="904" y="490"/>
                  </a:lnTo>
                  <a:lnTo>
                    <a:pt x="912" y="485"/>
                  </a:lnTo>
                  <a:lnTo>
                    <a:pt x="924" y="474"/>
                  </a:lnTo>
                  <a:lnTo>
                    <a:pt x="935" y="463"/>
                  </a:lnTo>
                  <a:lnTo>
                    <a:pt x="943" y="453"/>
                  </a:lnTo>
                  <a:lnTo>
                    <a:pt x="948" y="446"/>
                  </a:lnTo>
                  <a:lnTo>
                    <a:pt x="961" y="448"/>
                  </a:lnTo>
                  <a:lnTo>
                    <a:pt x="979" y="451"/>
                  </a:lnTo>
                  <a:lnTo>
                    <a:pt x="1002" y="457"/>
                  </a:lnTo>
                  <a:lnTo>
                    <a:pt x="1028" y="463"/>
                  </a:lnTo>
                  <a:lnTo>
                    <a:pt x="1054" y="471"/>
                  </a:lnTo>
                  <a:lnTo>
                    <a:pt x="1082" y="480"/>
                  </a:lnTo>
                  <a:lnTo>
                    <a:pt x="1095" y="486"/>
                  </a:lnTo>
                  <a:lnTo>
                    <a:pt x="1108" y="491"/>
                  </a:lnTo>
                  <a:lnTo>
                    <a:pt x="1121" y="497"/>
                  </a:lnTo>
                  <a:lnTo>
                    <a:pt x="1133" y="504"/>
                  </a:lnTo>
                  <a:lnTo>
                    <a:pt x="1136" y="504"/>
                  </a:lnTo>
                  <a:lnTo>
                    <a:pt x="1139" y="504"/>
                  </a:lnTo>
                  <a:lnTo>
                    <a:pt x="1139" y="544"/>
                  </a:lnTo>
                  <a:lnTo>
                    <a:pt x="1121" y="548"/>
                  </a:lnTo>
                  <a:lnTo>
                    <a:pt x="1096" y="553"/>
                  </a:lnTo>
                  <a:lnTo>
                    <a:pt x="1065" y="561"/>
                  </a:lnTo>
                  <a:lnTo>
                    <a:pt x="1032" y="572"/>
                  </a:lnTo>
                  <a:lnTo>
                    <a:pt x="1015" y="577"/>
                  </a:lnTo>
                  <a:lnTo>
                    <a:pt x="997" y="583"/>
                  </a:lnTo>
                  <a:lnTo>
                    <a:pt x="981" y="591"/>
                  </a:lnTo>
                  <a:lnTo>
                    <a:pt x="965" y="599"/>
                  </a:lnTo>
                  <a:lnTo>
                    <a:pt x="951" y="608"/>
                  </a:lnTo>
                  <a:lnTo>
                    <a:pt x="938" y="617"/>
                  </a:lnTo>
                  <a:lnTo>
                    <a:pt x="927" y="627"/>
                  </a:lnTo>
                  <a:lnTo>
                    <a:pt x="917" y="638"/>
                  </a:lnTo>
                  <a:lnTo>
                    <a:pt x="917" y="638"/>
                  </a:lnTo>
                  <a:lnTo>
                    <a:pt x="917" y="638"/>
                  </a:lnTo>
                  <a:lnTo>
                    <a:pt x="917" y="639"/>
                  </a:lnTo>
                  <a:lnTo>
                    <a:pt x="917" y="639"/>
                  </a:lnTo>
                  <a:lnTo>
                    <a:pt x="914" y="646"/>
                  </a:lnTo>
                  <a:lnTo>
                    <a:pt x="909" y="654"/>
                  </a:lnTo>
                  <a:lnTo>
                    <a:pt x="907" y="664"/>
                  </a:lnTo>
                  <a:lnTo>
                    <a:pt x="904" y="675"/>
                  </a:lnTo>
                  <a:lnTo>
                    <a:pt x="902" y="686"/>
                  </a:lnTo>
                  <a:lnTo>
                    <a:pt x="900" y="700"/>
                  </a:lnTo>
                  <a:lnTo>
                    <a:pt x="899" y="717"/>
                  </a:lnTo>
                  <a:lnTo>
                    <a:pt x="898" y="734"/>
                  </a:lnTo>
                  <a:lnTo>
                    <a:pt x="897" y="774"/>
                  </a:lnTo>
                  <a:lnTo>
                    <a:pt x="895" y="824"/>
                  </a:lnTo>
                  <a:lnTo>
                    <a:pt x="897" y="883"/>
                  </a:lnTo>
                  <a:lnTo>
                    <a:pt x="899" y="953"/>
                  </a:lnTo>
                  <a:lnTo>
                    <a:pt x="672" y="953"/>
                  </a:lnTo>
                  <a:lnTo>
                    <a:pt x="673" y="811"/>
                  </a:lnTo>
                  <a:lnTo>
                    <a:pt x="673" y="807"/>
                  </a:lnTo>
                  <a:lnTo>
                    <a:pt x="671" y="805"/>
                  </a:lnTo>
                  <a:lnTo>
                    <a:pt x="668" y="802"/>
                  </a:lnTo>
                  <a:lnTo>
                    <a:pt x="665" y="801"/>
                  </a:lnTo>
                  <a:lnTo>
                    <a:pt x="665" y="801"/>
                  </a:lnTo>
                  <a:lnTo>
                    <a:pt x="661" y="802"/>
                  </a:lnTo>
                  <a:lnTo>
                    <a:pt x="658" y="805"/>
                  </a:lnTo>
                  <a:lnTo>
                    <a:pt x="656" y="807"/>
                  </a:lnTo>
                  <a:lnTo>
                    <a:pt x="656" y="811"/>
                  </a:lnTo>
                  <a:lnTo>
                    <a:pt x="654" y="953"/>
                  </a:lnTo>
                  <a:lnTo>
                    <a:pt x="207" y="953"/>
                  </a:lnTo>
                  <a:lnTo>
                    <a:pt x="207" y="811"/>
                  </a:lnTo>
                  <a:lnTo>
                    <a:pt x="206" y="807"/>
                  </a:lnTo>
                  <a:lnTo>
                    <a:pt x="204" y="805"/>
                  </a:lnTo>
                  <a:lnTo>
                    <a:pt x="202" y="802"/>
                  </a:lnTo>
                  <a:lnTo>
                    <a:pt x="197" y="801"/>
                  </a:lnTo>
                  <a:lnTo>
                    <a:pt x="194" y="802"/>
                  </a:lnTo>
                  <a:lnTo>
                    <a:pt x="191" y="805"/>
                  </a:lnTo>
                  <a:lnTo>
                    <a:pt x="189" y="807"/>
                  </a:lnTo>
                  <a:lnTo>
                    <a:pt x="189" y="811"/>
                  </a:lnTo>
                  <a:lnTo>
                    <a:pt x="189" y="953"/>
                  </a:lnTo>
                  <a:lnTo>
                    <a:pt x="9" y="953"/>
                  </a:lnTo>
                  <a:lnTo>
                    <a:pt x="5" y="954"/>
                  </a:lnTo>
                  <a:lnTo>
                    <a:pt x="3" y="956"/>
                  </a:lnTo>
                  <a:lnTo>
                    <a:pt x="1" y="958"/>
                  </a:lnTo>
                  <a:lnTo>
                    <a:pt x="0" y="961"/>
                  </a:lnTo>
                  <a:lnTo>
                    <a:pt x="1" y="966"/>
                  </a:lnTo>
                  <a:lnTo>
                    <a:pt x="3" y="968"/>
                  </a:lnTo>
                  <a:lnTo>
                    <a:pt x="5" y="970"/>
                  </a:lnTo>
                  <a:lnTo>
                    <a:pt x="9" y="971"/>
                  </a:lnTo>
                  <a:lnTo>
                    <a:pt x="663" y="971"/>
                  </a:lnTo>
                  <a:lnTo>
                    <a:pt x="663" y="971"/>
                  </a:lnTo>
                  <a:lnTo>
                    <a:pt x="1487" y="971"/>
                  </a:lnTo>
                  <a:lnTo>
                    <a:pt x="1487" y="971"/>
                  </a:lnTo>
                  <a:lnTo>
                    <a:pt x="1677" y="971"/>
                  </a:lnTo>
                  <a:lnTo>
                    <a:pt x="1682" y="970"/>
                  </a:lnTo>
                  <a:lnTo>
                    <a:pt x="1685" y="968"/>
                  </a:lnTo>
                  <a:lnTo>
                    <a:pt x="1686" y="966"/>
                  </a:lnTo>
                  <a:lnTo>
                    <a:pt x="1687" y="961"/>
                  </a:lnTo>
                  <a:lnTo>
                    <a:pt x="1686" y="958"/>
                  </a:lnTo>
                  <a:lnTo>
                    <a:pt x="1685" y="956"/>
                  </a:lnTo>
                  <a:lnTo>
                    <a:pt x="1682" y="954"/>
                  </a:lnTo>
                  <a:lnTo>
                    <a:pt x="1677" y="953"/>
                  </a:lnTo>
                  <a:close/>
                </a:path>
              </a:pathLst>
            </a:custGeom>
            <a:solidFill>
              <a:srgbClr val="004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1" name="Picture165"/>
          <p:cNvSpPr>
            <a:spLocks/>
          </p:cNvSpPr>
          <p:nvPr/>
        </p:nvSpPr>
        <p:spPr bwMode="auto">
          <a:xfrm>
            <a:off x="773080" y="5742511"/>
            <a:ext cx="504056" cy="417066"/>
          </a:xfrm>
          <a:custGeom>
            <a:avLst/>
            <a:gdLst>
              <a:gd name="T0" fmla="*/ 0 w 762"/>
              <a:gd name="T1" fmla="*/ 467 h 912"/>
              <a:gd name="T2" fmla="*/ 152 w 762"/>
              <a:gd name="T3" fmla="*/ 372 h 912"/>
              <a:gd name="T4" fmla="*/ 280 w 762"/>
              <a:gd name="T5" fmla="*/ 608 h 912"/>
              <a:gd name="T6" fmla="*/ 609 w 762"/>
              <a:gd name="T7" fmla="*/ 0 h 912"/>
              <a:gd name="T8" fmla="*/ 762 w 762"/>
              <a:gd name="T9" fmla="*/ 95 h 912"/>
              <a:gd name="T10" fmla="*/ 280 w 762"/>
              <a:gd name="T11" fmla="*/ 912 h 912"/>
              <a:gd name="T12" fmla="*/ 0 w 762"/>
              <a:gd name="T13" fmla="*/ 467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2" h="912">
                <a:moveTo>
                  <a:pt x="0" y="467"/>
                </a:moveTo>
                <a:lnTo>
                  <a:pt x="152" y="372"/>
                </a:lnTo>
                <a:lnTo>
                  <a:pt x="280" y="608"/>
                </a:lnTo>
                <a:lnTo>
                  <a:pt x="609" y="0"/>
                </a:lnTo>
                <a:lnTo>
                  <a:pt x="762" y="95"/>
                </a:lnTo>
                <a:lnTo>
                  <a:pt x="280" y="912"/>
                </a:lnTo>
                <a:lnTo>
                  <a:pt x="0" y="467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lIns="75613" tIns="37806" rIns="75613" bIns="37806"/>
          <a:lstStyle/>
          <a:p>
            <a:pPr>
              <a:defRPr/>
            </a:pPr>
            <a:endParaRPr lang="ru-RU" sz="1100"/>
          </a:p>
        </p:txBody>
      </p:sp>
    </p:spTree>
    <p:extLst>
      <p:ext uri="{BB962C8B-B14F-4D97-AF65-F5344CB8AC3E}">
        <p14:creationId xmlns:p14="http://schemas.microsoft.com/office/powerpoint/2010/main" val="2993990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983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Slide" r:id="rId4" imgW="366" imgH="369" progId="TCLayout.ActiveDocument.1">
                  <p:embed/>
                </p:oleObj>
              </mc:Choice>
              <mc:Fallback>
                <p:oleObj name="think-cell Slide" r:id="rId4" imgW="366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Скругленный прямоугольник 7"/>
          <p:cNvSpPr/>
          <p:nvPr/>
        </p:nvSpPr>
        <p:spPr>
          <a:xfrm>
            <a:off x="1841070" y="1455017"/>
            <a:ext cx="8547039" cy="533274"/>
          </a:xfrm>
          <a:prstGeom prst="roundRect">
            <a:avLst/>
          </a:prstGeom>
          <a:noFill/>
          <a:ln>
            <a:solidFill>
              <a:srgbClr val="005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06822" y="870358"/>
            <a:ext cx="8285900" cy="340629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latin typeface="DINPro-Black" panose="02000503030000020004" pitchFamily="50" charset="0"/>
              </a:rPr>
              <a:t>Резюме </a:t>
            </a:r>
            <a:r>
              <a:rPr lang="ru-RU" dirty="0">
                <a:latin typeface="DINPro-Black" panose="02000503030000020004" pitchFamily="50" charset="0"/>
              </a:rPr>
              <a:t>раздела </a:t>
            </a:r>
            <a:r>
              <a:rPr lang="ru-RU" dirty="0" smtClean="0">
                <a:latin typeface="DINPro-Black" panose="02000503030000020004" pitchFamily="50" charset="0"/>
              </a:rPr>
              <a:t>«Метрологическое обеспечение при определении количества нефтяного сырья, направленного на переработку, для исчисления акциза»</a:t>
            </a:r>
            <a:endParaRPr lang="ru-RU" dirty="0">
              <a:latin typeface="DINPro-Black" panose="02000503030000020004" pitchFamily="50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836670" y="1355006"/>
            <a:ext cx="1928813" cy="200025"/>
          </a:xfrm>
          <a:prstGeom prst="rect">
            <a:avLst/>
          </a:prstGeom>
          <a:solidFill>
            <a:srgbClr val="00569B"/>
          </a:solidFill>
          <a:ln>
            <a:solidFill>
              <a:srgbClr val="005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ru-RU" sz="1050" dirty="0">
                <a:solidFill>
                  <a:prstClr val="white"/>
                </a:solidFill>
                <a:latin typeface="DINPro-Black" panose="02000503030000020004" pitchFamily="50" charset="0"/>
              </a:rPr>
              <a:t>Цели 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836670" y="2257489"/>
            <a:ext cx="8547041" cy="664370"/>
          </a:xfrm>
          <a:prstGeom prst="roundRect">
            <a:avLst/>
          </a:prstGeom>
          <a:noFill/>
          <a:ln>
            <a:solidFill>
              <a:srgbClr val="005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832271" y="2157478"/>
            <a:ext cx="1928813" cy="200025"/>
          </a:xfrm>
          <a:prstGeom prst="rect">
            <a:avLst/>
          </a:prstGeom>
          <a:solidFill>
            <a:srgbClr val="00569B"/>
          </a:solidFill>
          <a:ln>
            <a:solidFill>
              <a:srgbClr val="005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ru-RU" sz="1050" dirty="0">
                <a:solidFill>
                  <a:prstClr val="white"/>
                </a:solidFill>
                <a:latin typeface="DINPro-Black" panose="02000503030000020004" pitchFamily="50" charset="0"/>
              </a:rPr>
              <a:t>Задачи презентации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848213" y="3209896"/>
            <a:ext cx="8551440" cy="718448"/>
          </a:xfrm>
          <a:prstGeom prst="roundRect">
            <a:avLst/>
          </a:prstGeom>
          <a:noFill/>
          <a:ln>
            <a:solidFill>
              <a:srgbClr val="005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848214" y="3063379"/>
            <a:ext cx="1928813" cy="200025"/>
          </a:xfrm>
          <a:prstGeom prst="rect">
            <a:avLst/>
          </a:prstGeom>
          <a:solidFill>
            <a:srgbClr val="00569B"/>
          </a:solidFill>
          <a:ln>
            <a:solidFill>
              <a:srgbClr val="005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ru-RU" sz="1050" dirty="0">
                <a:solidFill>
                  <a:prstClr val="white"/>
                </a:solidFill>
                <a:latin typeface="DINPro-Black" panose="02000503030000020004" pitchFamily="50" charset="0"/>
              </a:rPr>
              <a:t>Принятые решения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822923" y="4120612"/>
            <a:ext cx="8547040" cy="637048"/>
          </a:xfrm>
          <a:prstGeom prst="roundRect">
            <a:avLst/>
          </a:prstGeom>
          <a:noFill/>
          <a:ln>
            <a:solidFill>
              <a:srgbClr val="005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832269" y="4013940"/>
            <a:ext cx="1928814" cy="200025"/>
          </a:xfrm>
          <a:prstGeom prst="rect">
            <a:avLst/>
          </a:prstGeom>
          <a:solidFill>
            <a:srgbClr val="00569B"/>
          </a:solidFill>
          <a:ln>
            <a:solidFill>
              <a:srgbClr val="005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ru-RU" sz="1050" dirty="0">
                <a:solidFill>
                  <a:prstClr val="white"/>
                </a:solidFill>
                <a:latin typeface="DINPro-Black" panose="02000503030000020004" pitchFamily="50" charset="0"/>
              </a:rPr>
              <a:t>Инвестиции и сроки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845469" y="5053070"/>
            <a:ext cx="8547040" cy="547630"/>
          </a:xfrm>
          <a:prstGeom prst="roundRect">
            <a:avLst/>
          </a:prstGeom>
          <a:noFill/>
          <a:ln>
            <a:solidFill>
              <a:srgbClr val="005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841069" y="4947735"/>
            <a:ext cx="1928814" cy="200025"/>
          </a:xfrm>
          <a:prstGeom prst="rect">
            <a:avLst/>
          </a:prstGeom>
          <a:solidFill>
            <a:srgbClr val="00569B"/>
          </a:solidFill>
          <a:ln>
            <a:solidFill>
              <a:srgbClr val="005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ru-RU" sz="1050" dirty="0">
                <a:solidFill>
                  <a:prstClr val="white"/>
                </a:solidFill>
                <a:latin typeface="DINPro-Black" panose="02000503030000020004" pitchFamily="50" charset="0"/>
              </a:rPr>
              <a:t>Цель презентации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581274" y="5240628"/>
            <a:ext cx="6930924" cy="2357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prstClr val="black"/>
                </a:solidFill>
                <a:latin typeface="DINPro-Regular" panose="02000503030000020004" pitchFamily="50" charset="0"/>
              </a:rPr>
              <a:t> Включить в резолюцию конференции предложение по внесению изменений / дополнений в Приказ №179 МЭ РФ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576875" y="1637183"/>
            <a:ext cx="8079581" cy="2357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prstClr val="black"/>
                </a:solidFill>
                <a:latin typeface="DINPro-Regular" panose="02000503030000020004" pitchFamily="50" charset="0"/>
              </a:rPr>
              <a:t> Исключения риска НЕ получения акциза на нефтяное сырье (НС) направленного в переработку после 31.12.2021г.</a:t>
            </a:r>
          </a:p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prstClr val="black"/>
                </a:solidFill>
                <a:latin typeface="DINPro-Regular" panose="02000503030000020004" pitchFamily="50" charset="0"/>
              </a:rPr>
              <a:t> Внесение изменений / дополнений в Приказ №179 Минэнерго (МЭ) РФ в части определения точности учёта НС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572474" y="2514664"/>
            <a:ext cx="8079582" cy="2357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prstClr val="black"/>
                </a:solidFill>
                <a:latin typeface="DINPro-Regular" panose="02000503030000020004" pitchFamily="50" charset="0"/>
              </a:rPr>
              <a:t> Проинформировать о текущем состоянии</a:t>
            </a:r>
          </a:p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prstClr val="black"/>
                </a:solidFill>
                <a:latin typeface="DINPro-Regular" panose="02000503030000020004" pitchFamily="50" charset="0"/>
              </a:rPr>
              <a:t> Проинформировать о проблематике (в части метрологического обеспечения и сроков реализации)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572474" y="3549799"/>
            <a:ext cx="8079582" cy="2357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prstClr val="black"/>
                </a:solidFill>
                <a:latin typeface="DINPro-Regular" panose="02000503030000020004" pitchFamily="50" charset="0"/>
              </a:rPr>
              <a:t> Оснащение узлами учёта НС заложено в комплексные программы по автоматизации производства НПЗ</a:t>
            </a:r>
            <a:endParaRPr lang="en-US" sz="900" dirty="0">
              <a:solidFill>
                <a:prstClr val="black"/>
              </a:solidFill>
              <a:latin typeface="DINPro-Regular" panose="02000503030000020004" pitchFamily="50" charset="0"/>
            </a:endParaRPr>
          </a:p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prstClr val="black"/>
                </a:solidFill>
                <a:latin typeface="DINPro-Regular" panose="02000503030000020004" pitchFamily="50" charset="0"/>
              </a:rPr>
              <a:t> Заложен экспертный объем инвестиций  </a:t>
            </a:r>
          </a:p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prstClr val="black"/>
                </a:solidFill>
                <a:latin typeface="DINPro-Regular" panose="02000503030000020004" pitchFamily="50" charset="0"/>
              </a:rPr>
              <a:t>Реализация проекта запланирована в соответствии с действующими процедурами в компании  </a:t>
            </a:r>
          </a:p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prstClr val="black"/>
                </a:solidFill>
                <a:latin typeface="DINPro-Regular" panose="02000503030000020004" pitchFamily="50" charset="0"/>
              </a:rPr>
              <a:t>Монтаж и пуско-наладочные работы необходимо проводить в период капитального ремонта установок</a:t>
            </a:r>
          </a:p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900" dirty="0">
              <a:solidFill>
                <a:prstClr val="black"/>
              </a:solidFill>
              <a:latin typeface="DINPro-Regular" panose="02000503030000020004" pitchFamily="50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568076" y="4372835"/>
            <a:ext cx="7811234" cy="2357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prstClr val="black"/>
                </a:solidFill>
                <a:latin typeface="DINPro-Regular" panose="02000503030000020004" pitchFamily="50" charset="0"/>
              </a:rPr>
              <a:t>Проект включен в СИП 2020-2023гг. </a:t>
            </a:r>
          </a:p>
          <a:p>
            <a:pPr marL="64294" indent="-64294" defTabSz="6858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prstClr val="black"/>
                </a:solidFill>
                <a:latin typeface="DINPro-Regular" panose="02000503030000020004" pitchFamily="50" charset="0"/>
              </a:rPr>
              <a:t>Планируемые сроки завершения проекта – декабрь 2021г. </a:t>
            </a:r>
          </a:p>
        </p:txBody>
      </p:sp>
      <p:grpSp>
        <p:nvGrpSpPr>
          <p:cNvPr id="24" name="start_manag_z"/>
          <p:cNvGrpSpPr>
            <a:grpSpLocks noChangeAspect="1"/>
          </p:cNvGrpSpPr>
          <p:nvPr/>
        </p:nvGrpSpPr>
        <p:grpSpPr>
          <a:xfrm>
            <a:off x="1960324" y="2503882"/>
            <a:ext cx="342926" cy="272451"/>
            <a:chOff x="3524250" y="1954213"/>
            <a:chExt cx="749300" cy="595312"/>
          </a:xfrm>
        </p:grpSpPr>
        <p:sp>
          <p:nvSpPr>
            <p:cNvPr id="25" name="Freeform 14"/>
            <p:cNvSpPr>
              <a:spLocks noEditPoints="1"/>
            </p:cNvSpPr>
            <p:nvPr/>
          </p:nvSpPr>
          <p:spPr bwMode="auto">
            <a:xfrm>
              <a:off x="3849688" y="1958975"/>
              <a:ext cx="182563" cy="184150"/>
            </a:xfrm>
            <a:custGeom>
              <a:avLst/>
              <a:gdLst>
                <a:gd name="T0" fmla="*/ 577 w 579"/>
                <a:gd name="T1" fmla="*/ 251 h 579"/>
                <a:gd name="T2" fmla="*/ 501 w 579"/>
                <a:gd name="T3" fmla="*/ 213 h 579"/>
                <a:gd name="T4" fmla="*/ 487 w 579"/>
                <a:gd name="T5" fmla="*/ 184 h 579"/>
                <a:gd name="T6" fmla="*/ 509 w 579"/>
                <a:gd name="T7" fmla="*/ 105 h 579"/>
                <a:gd name="T8" fmla="*/ 400 w 579"/>
                <a:gd name="T9" fmla="*/ 95 h 579"/>
                <a:gd name="T10" fmla="*/ 372 w 579"/>
                <a:gd name="T11" fmla="*/ 81 h 579"/>
                <a:gd name="T12" fmla="*/ 342 w 579"/>
                <a:gd name="T13" fmla="*/ 70 h 579"/>
                <a:gd name="T14" fmla="*/ 251 w 579"/>
                <a:gd name="T15" fmla="*/ 3 h 579"/>
                <a:gd name="T16" fmla="*/ 213 w 579"/>
                <a:gd name="T17" fmla="*/ 78 h 579"/>
                <a:gd name="T18" fmla="*/ 184 w 579"/>
                <a:gd name="T19" fmla="*/ 92 h 579"/>
                <a:gd name="T20" fmla="*/ 105 w 579"/>
                <a:gd name="T21" fmla="*/ 69 h 579"/>
                <a:gd name="T22" fmla="*/ 95 w 579"/>
                <a:gd name="T23" fmla="*/ 185 h 579"/>
                <a:gd name="T24" fmla="*/ 80 w 579"/>
                <a:gd name="T25" fmla="*/ 214 h 579"/>
                <a:gd name="T26" fmla="*/ 70 w 579"/>
                <a:gd name="T27" fmla="*/ 244 h 579"/>
                <a:gd name="T28" fmla="*/ 3 w 579"/>
                <a:gd name="T29" fmla="*/ 329 h 579"/>
                <a:gd name="T30" fmla="*/ 78 w 579"/>
                <a:gd name="T31" fmla="*/ 367 h 579"/>
                <a:gd name="T32" fmla="*/ 91 w 579"/>
                <a:gd name="T33" fmla="*/ 395 h 579"/>
                <a:gd name="T34" fmla="*/ 70 w 579"/>
                <a:gd name="T35" fmla="*/ 474 h 579"/>
                <a:gd name="T36" fmla="*/ 185 w 579"/>
                <a:gd name="T37" fmla="*/ 485 h 579"/>
                <a:gd name="T38" fmla="*/ 214 w 579"/>
                <a:gd name="T39" fmla="*/ 499 h 579"/>
                <a:gd name="T40" fmla="*/ 243 w 579"/>
                <a:gd name="T41" fmla="*/ 509 h 579"/>
                <a:gd name="T42" fmla="*/ 328 w 579"/>
                <a:gd name="T43" fmla="*/ 578 h 579"/>
                <a:gd name="T44" fmla="*/ 366 w 579"/>
                <a:gd name="T45" fmla="*/ 501 h 579"/>
                <a:gd name="T46" fmla="*/ 395 w 579"/>
                <a:gd name="T47" fmla="*/ 489 h 579"/>
                <a:gd name="T48" fmla="*/ 474 w 579"/>
                <a:gd name="T49" fmla="*/ 510 h 579"/>
                <a:gd name="T50" fmla="*/ 484 w 579"/>
                <a:gd name="T51" fmla="*/ 394 h 579"/>
                <a:gd name="T52" fmla="*/ 499 w 579"/>
                <a:gd name="T53" fmla="*/ 365 h 579"/>
                <a:gd name="T54" fmla="*/ 509 w 579"/>
                <a:gd name="T55" fmla="*/ 336 h 579"/>
                <a:gd name="T56" fmla="*/ 293 w 579"/>
                <a:gd name="T57" fmla="*/ 418 h 579"/>
                <a:gd name="T58" fmla="*/ 267 w 579"/>
                <a:gd name="T59" fmla="*/ 416 h 579"/>
                <a:gd name="T60" fmla="*/ 242 w 579"/>
                <a:gd name="T61" fmla="*/ 409 h 579"/>
                <a:gd name="T62" fmla="*/ 221 w 579"/>
                <a:gd name="T63" fmla="*/ 397 h 579"/>
                <a:gd name="T64" fmla="*/ 201 w 579"/>
                <a:gd name="T65" fmla="*/ 382 h 579"/>
                <a:gd name="T66" fmla="*/ 185 w 579"/>
                <a:gd name="T67" fmla="*/ 364 h 579"/>
                <a:gd name="T68" fmla="*/ 173 w 579"/>
                <a:gd name="T69" fmla="*/ 342 h 579"/>
                <a:gd name="T70" fmla="*/ 164 w 579"/>
                <a:gd name="T71" fmla="*/ 318 h 579"/>
                <a:gd name="T72" fmla="*/ 161 w 579"/>
                <a:gd name="T73" fmla="*/ 293 h 579"/>
                <a:gd name="T74" fmla="*/ 163 w 579"/>
                <a:gd name="T75" fmla="*/ 267 h 579"/>
                <a:gd name="T76" fmla="*/ 170 w 579"/>
                <a:gd name="T77" fmla="*/ 243 h 579"/>
                <a:gd name="T78" fmla="*/ 182 w 579"/>
                <a:gd name="T79" fmla="*/ 221 h 579"/>
                <a:gd name="T80" fmla="*/ 196 w 579"/>
                <a:gd name="T81" fmla="*/ 202 h 579"/>
                <a:gd name="T82" fmla="*/ 216 w 579"/>
                <a:gd name="T83" fmla="*/ 185 h 579"/>
                <a:gd name="T84" fmla="*/ 237 w 579"/>
                <a:gd name="T85" fmla="*/ 173 h 579"/>
                <a:gd name="T86" fmla="*/ 261 w 579"/>
                <a:gd name="T87" fmla="*/ 165 h 579"/>
                <a:gd name="T88" fmla="*/ 286 w 579"/>
                <a:gd name="T89" fmla="*/ 162 h 579"/>
                <a:gd name="T90" fmla="*/ 312 w 579"/>
                <a:gd name="T91" fmla="*/ 164 h 579"/>
                <a:gd name="T92" fmla="*/ 337 w 579"/>
                <a:gd name="T93" fmla="*/ 171 h 579"/>
                <a:gd name="T94" fmla="*/ 358 w 579"/>
                <a:gd name="T95" fmla="*/ 182 h 579"/>
                <a:gd name="T96" fmla="*/ 378 w 579"/>
                <a:gd name="T97" fmla="*/ 197 h 579"/>
                <a:gd name="T98" fmla="*/ 394 w 579"/>
                <a:gd name="T99" fmla="*/ 216 h 579"/>
                <a:gd name="T100" fmla="*/ 406 w 579"/>
                <a:gd name="T101" fmla="*/ 237 h 579"/>
                <a:gd name="T102" fmla="*/ 415 w 579"/>
                <a:gd name="T103" fmla="*/ 261 h 579"/>
                <a:gd name="T104" fmla="*/ 418 w 579"/>
                <a:gd name="T105" fmla="*/ 287 h 579"/>
                <a:gd name="T106" fmla="*/ 416 w 579"/>
                <a:gd name="T107" fmla="*/ 312 h 579"/>
                <a:gd name="T108" fmla="*/ 408 w 579"/>
                <a:gd name="T109" fmla="*/ 337 h 579"/>
                <a:gd name="T110" fmla="*/ 397 w 579"/>
                <a:gd name="T111" fmla="*/ 359 h 579"/>
                <a:gd name="T112" fmla="*/ 382 w 579"/>
                <a:gd name="T113" fmla="*/ 378 h 579"/>
                <a:gd name="T114" fmla="*/ 363 w 579"/>
                <a:gd name="T115" fmla="*/ 394 h 579"/>
                <a:gd name="T116" fmla="*/ 342 w 579"/>
                <a:gd name="T117" fmla="*/ 407 h 579"/>
                <a:gd name="T118" fmla="*/ 318 w 579"/>
                <a:gd name="T119" fmla="*/ 415 h 579"/>
                <a:gd name="T120" fmla="*/ 293 w 579"/>
                <a:gd name="T121" fmla="*/ 418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9" h="579">
                  <a:moveTo>
                    <a:pt x="579" y="315"/>
                  </a:moveTo>
                  <a:lnTo>
                    <a:pt x="577" y="251"/>
                  </a:lnTo>
                  <a:lnTo>
                    <a:pt x="506" y="227"/>
                  </a:lnTo>
                  <a:lnTo>
                    <a:pt x="501" y="213"/>
                  </a:lnTo>
                  <a:lnTo>
                    <a:pt x="495" y="198"/>
                  </a:lnTo>
                  <a:lnTo>
                    <a:pt x="487" y="184"/>
                  </a:lnTo>
                  <a:lnTo>
                    <a:pt x="479" y="170"/>
                  </a:lnTo>
                  <a:lnTo>
                    <a:pt x="509" y="105"/>
                  </a:lnTo>
                  <a:lnTo>
                    <a:pt x="464" y="61"/>
                  </a:lnTo>
                  <a:lnTo>
                    <a:pt x="400" y="95"/>
                  </a:lnTo>
                  <a:lnTo>
                    <a:pt x="386" y="87"/>
                  </a:lnTo>
                  <a:lnTo>
                    <a:pt x="372" y="81"/>
                  </a:lnTo>
                  <a:lnTo>
                    <a:pt x="356" y="75"/>
                  </a:lnTo>
                  <a:lnTo>
                    <a:pt x="342" y="70"/>
                  </a:lnTo>
                  <a:lnTo>
                    <a:pt x="315" y="0"/>
                  </a:lnTo>
                  <a:lnTo>
                    <a:pt x="251" y="3"/>
                  </a:lnTo>
                  <a:lnTo>
                    <a:pt x="227" y="73"/>
                  </a:lnTo>
                  <a:lnTo>
                    <a:pt x="213" y="78"/>
                  </a:lnTo>
                  <a:lnTo>
                    <a:pt x="198" y="85"/>
                  </a:lnTo>
                  <a:lnTo>
                    <a:pt x="184" y="92"/>
                  </a:lnTo>
                  <a:lnTo>
                    <a:pt x="170" y="100"/>
                  </a:lnTo>
                  <a:lnTo>
                    <a:pt x="105" y="69"/>
                  </a:lnTo>
                  <a:lnTo>
                    <a:pt x="61" y="115"/>
                  </a:lnTo>
                  <a:lnTo>
                    <a:pt x="95" y="185"/>
                  </a:lnTo>
                  <a:lnTo>
                    <a:pt x="87" y="200"/>
                  </a:lnTo>
                  <a:lnTo>
                    <a:pt x="80" y="214"/>
                  </a:lnTo>
                  <a:lnTo>
                    <a:pt x="75" y="229"/>
                  </a:lnTo>
                  <a:lnTo>
                    <a:pt x="70" y="244"/>
                  </a:lnTo>
                  <a:lnTo>
                    <a:pt x="0" y="264"/>
                  </a:lnTo>
                  <a:lnTo>
                    <a:pt x="3" y="329"/>
                  </a:lnTo>
                  <a:lnTo>
                    <a:pt x="72" y="352"/>
                  </a:lnTo>
                  <a:lnTo>
                    <a:pt x="78" y="367"/>
                  </a:lnTo>
                  <a:lnTo>
                    <a:pt x="84" y="381"/>
                  </a:lnTo>
                  <a:lnTo>
                    <a:pt x="91" y="395"/>
                  </a:lnTo>
                  <a:lnTo>
                    <a:pt x="100" y="410"/>
                  </a:lnTo>
                  <a:lnTo>
                    <a:pt x="70" y="474"/>
                  </a:lnTo>
                  <a:lnTo>
                    <a:pt x="115" y="519"/>
                  </a:lnTo>
                  <a:lnTo>
                    <a:pt x="185" y="485"/>
                  </a:lnTo>
                  <a:lnTo>
                    <a:pt x="199" y="493"/>
                  </a:lnTo>
                  <a:lnTo>
                    <a:pt x="214" y="499"/>
                  </a:lnTo>
                  <a:lnTo>
                    <a:pt x="229" y="504"/>
                  </a:lnTo>
                  <a:lnTo>
                    <a:pt x="243" y="509"/>
                  </a:lnTo>
                  <a:lnTo>
                    <a:pt x="264" y="579"/>
                  </a:lnTo>
                  <a:lnTo>
                    <a:pt x="328" y="578"/>
                  </a:lnTo>
                  <a:lnTo>
                    <a:pt x="352" y="506"/>
                  </a:lnTo>
                  <a:lnTo>
                    <a:pt x="366" y="501"/>
                  </a:lnTo>
                  <a:lnTo>
                    <a:pt x="381" y="496"/>
                  </a:lnTo>
                  <a:lnTo>
                    <a:pt x="395" y="489"/>
                  </a:lnTo>
                  <a:lnTo>
                    <a:pt x="409" y="480"/>
                  </a:lnTo>
                  <a:lnTo>
                    <a:pt x="474" y="510"/>
                  </a:lnTo>
                  <a:lnTo>
                    <a:pt x="517" y="464"/>
                  </a:lnTo>
                  <a:lnTo>
                    <a:pt x="484" y="394"/>
                  </a:lnTo>
                  <a:lnTo>
                    <a:pt x="492" y="380"/>
                  </a:lnTo>
                  <a:lnTo>
                    <a:pt x="499" y="365"/>
                  </a:lnTo>
                  <a:lnTo>
                    <a:pt x="504" y="350"/>
                  </a:lnTo>
                  <a:lnTo>
                    <a:pt x="509" y="336"/>
                  </a:lnTo>
                  <a:lnTo>
                    <a:pt x="579" y="315"/>
                  </a:lnTo>
                  <a:close/>
                  <a:moveTo>
                    <a:pt x="293" y="418"/>
                  </a:moveTo>
                  <a:lnTo>
                    <a:pt x="279" y="418"/>
                  </a:lnTo>
                  <a:lnTo>
                    <a:pt x="267" y="416"/>
                  </a:lnTo>
                  <a:lnTo>
                    <a:pt x="255" y="413"/>
                  </a:lnTo>
                  <a:lnTo>
                    <a:pt x="242" y="409"/>
                  </a:lnTo>
                  <a:lnTo>
                    <a:pt x="231" y="404"/>
                  </a:lnTo>
                  <a:lnTo>
                    <a:pt x="221" y="397"/>
                  </a:lnTo>
                  <a:lnTo>
                    <a:pt x="211" y="390"/>
                  </a:lnTo>
                  <a:lnTo>
                    <a:pt x="201" y="382"/>
                  </a:lnTo>
                  <a:lnTo>
                    <a:pt x="192" y="374"/>
                  </a:lnTo>
                  <a:lnTo>
                    <a:pt x="185" y="364"/>
                  </a:lnTo>
                  <a:lnTo>
                    <a:pt x="178" y="353"/>
                  </a:lnTo>
                  <a:lnTo>
                    <a:pt x="173" y="342"/>
                  </a:lnTo>
                  <a:lnTo>
                    <a:pt x="168" y="331"/>
                  </a:lnTo>
                  <a:lnTo>
                    <a:pt x="164" y="318"/>
                  </a:lnTo>
                  <a:lnTo>
                    <a:pt x="162" y="306"/>
                  </a:lnTo>
                  <a:lnTo>
                    <a:pt x="161" y="293"/>
                  </a:lnTo>
                  <a:lnTo>
                    <a:pt x="161" y="280"/>
                  </a:lnTo>
                  <a:lnTo>
                    <a:pt x="163" y="267"/>
                  </a:lnTo>
                  <a:lnTo>
                    <a:pt x="167" y="255"/>
                  </a:lnTo>
                  <a:lnTo>
                    <a:pt x="170" y="243"/>
                  </a:lnTo>
                  <a:lnTo>
                    <a:pt x="176" y="231"/>
                  </a:lnTo>
                  <a:lnTo>
                    <a:pt x="182" y="221"/>
                  </a:lnTo>
                  <a:lnTo>
                    <a:pt x="189" y="211"/>
                  </a:lnTo>
                  <a:lnTo>
                    <a:pt x="196" y="202"/>
                  </a:lnTo>
                  <a:lnTo>
                    <a:pt x="205" y="193"/>
                  </a:lnTo>
                  <a:lnTo>
                    <a:pt x="216" y="185"/>
                  </a:lnTo>
                  <a:lnTo>
                    <a:pt x="226" y="179"/>
                  </a:lnTo>
                  <a:lnTo>
                    <a:pt x="237" y="173"/>
                  </a:lnTo>
                  <a:lnTo>
                    <a:pt x="249" y="169"/>
                  </a:lnTo>
                  <a:lnTo>
                    <a:pt x="261" y="165"/>
                  </a:lnTo>
                  <a:lnTo>
                    <a:pt x="273" y="163"/>
                  </a:lnTo>
                  <a:lnTo>
                    <a:pt x="286" y="162"/>
                  </a:lnTo>
                  <a:lnTo>
                    <a:pt x="300" y="163"/>
                  </a:lnTo>
                  <a:lnTo>
                    <a:pt x="312" y="164"/>
                  </a:lnTo>
                  <a:lnTo>
                    <a:pt x="324" y="167"/>
                  </a:lnTo>
                  <a:lnTo>
                    <a:pt x="337" y="171"/>
                  </a:lnTo>
                  <a:lnTo>
                    <a:pt x="348" y="176"/>
                  </a:lnTo>
                  <a:lnTo>
                    <a:pt x="358" y="182"/>
                  </a:lnTo>
                  <a:lnTo>
                    <a:pt x="368" y="189"/>
                  </a:lnTo>
                  <a:lnTo>
                    <a:pt x="378" y="197"/>
                  </a:lnTo>
                  <a:lnTo>
                    <a:pt x="386" y="206"/>
                  </a:lnTo>
                  <a:lnTo>
                    <a:pt x="394" y="216"/>
                  </a:lnTo>
                  <a:lnTo>
                    <a:pt x="400" y="226"/>
                  </a:lnTo>
                  <a:lnTo>
                    <a:pt x="406" y="237"/>
                  </a:lnTo>
                  <a:lnTo>
                    <a:pt x="410" y="249"/>
                  </a:lnTo>
                  <a:lnTo>
                    <a:pt x="415" y="261"/>
                  </a:lnTo>
                  <a:lnTo>
                    <a:pt x="417" y="273"/>
                  </a:lnTo>
                  <a:lnTo>
                    <a:pt x="418" y="287"/>
                  </a:lnTo>
                  <a:lnTo>
                    <a:pt x="417" y="300"/>
                  </a:lnTo>
                  <a:lnTo>
                    <a:pt x="416" y="312"/>
                  </a:lnTo>
                  <a:lnTo>
                    <a:pt x="413" y="325"/>
                  </a:lnTo>
                  <a:lnTo>
                    <a:pt x="408" y="337"/>
                  </a:lnTo>
                  <a:lnTo>
                    <a:pt x="403" y="348"/>
                  </a:lnTo>
                  <a:lnTo>
                    <a:pt x="397" y="359"/>
                  </a:lnTo>
                  <a:lnTo>
                    <a:pt x="390" y="369"/>
                  </a:lnTo>
                  <a:lnTo>
                    <a:pt x="382" y="378"/>
                  </a:lnTo>
                  <a:lnTo>
                    <a:pt x="373" y="387"/>
                  </a:lnTo>
                  <a:lnTo>
                    <a:pt x="363" y="394"/>
                  </a:lnTo>
                  <a:lnTo>
                    <a:pt x="353" y="402"/>
                  </a:lnTo>
                  <a:lnTo>
                    <a:pt x="342" y="407"/>
                  </a:lnTo>
                  <a:lnTo>
                    <a:pt x="331" y="412"/>
                  </a:lnTo>
                  <a:lnTo>
                    <a:pt x="318" y="415"/>
                  </a:lnTo>
                  <a:lnTo>
                    <a:pt x="306" y="417"/>
                  </a:lnTo>
                  <a:lnTo>
                    <a:pt x="293" y="418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 15"/>
            <p:cNvSpPr>
              <a:spLocks/>
            </p:cNvSpPr>
            <p:nvPr/>
          </p:nvSpPr>
          <p:spPr bwMode="auto">
            <a:xfrm>
              <a:off x="3786188" y="2100263"/>
              <a:ext cx="482600" cy="444500"/>
            </a:xfrm>
            <a:custGeom>
              <a:avLst/>
              <a:gdLst>
                <a:gd name="T0" fmla="*/ 859 w 1517"/>
                <a:gd name="T1" fmla="*/ 1402 h 1402"/>
                <a:gd name="T2" fmla="*/ 843 w 1517"/>
                <a:gd name="T3" fmla="*/ 1399 h 1402"/>
                <a:gd name="T4" fmla="*/ 824 w 1517"/>
                <a:gd name="T5" fmla="*/ 1391 h 1402"/>
                <a:gd name="T6" fmla="*/ 804 w 1517"/>
                <a:gd name="T7" fmla="*/ 1375 h 1402"/>
                <a:gd name="T8" fmla="*/ 790 w 1517"/>
                <a:gd name="T9" fmla="*/ 1355 h 1402"/>
                <a:gd name="T10" fmla="*/ 783 w 1517"/>
                <a:gd name="T11" fmla="*/ 1330 h 1402"/>
                <a:gd name="T12" fmla="*/ 782 w 1517"/>
                <a:gd name="T13" fmla="*/ 1019 h 1402"/>
                <a:gd name="T14" fmla="*/ 54 w 1517"/>
                <a:gd name="T15" fmla="*/ 850 h 1402"/>
                <a:gd name="T16" fmla="*/ 875 w 1517"/>
                <a:gd name="T17" fmla="*/ 850 h 1402"/>
                <a:gd name="T18" fmla="*/ 891 w 1517"/>
                <a:gd name="T19" fmla="*/ 853 h 1402"/>
                <a:gd name="T20" fmla="*/ 907 w 1517"/>
                <a:gd name="T21" fmla="*/ 860 h 1402"/>
                <a:gd name="T22" fmla="*/ 920 w 1517"/>
                <a:gd name="T23" fmla="*/ 870 h 1402"/>
                <a:gd name="T24" fmla="*/ 932 w 1517"/>
                <a:gd name="T25" fmla="*/ 881 h 1402"/>
                <a:gd name="T26" fmla="*/ 942 w 1517"/>
                <a:gd name="T27" fmla="*/ 894 h 1402"/>
                <a:gd name="T28" fmla="*/ 948 w 1517"/>
                <a:gd name="T29" fmla="*/ 910 h 1402"/>
                <a:gd name="T30" fmla="*/ 951 w 1517"/>
                <a:gd name="T31" fmla="*/ 926 h 1402"/>
                <a:gd name="T32" fmla="*/ 951 w 1517"/>
                <a:gd name="T33" fmla="*/ 1099 h 1402"/>
                <a:gd name="T34" fmla="*/ 951 w 1517"/>
                <a:gd name="T35" fmla="*/ 302 h 1402"/>
                <a:gd name="T36" fmla="*/ 951 w 1517"/>
                <a:gd name="T37" fmla="*/ 476 h 1402"/>
                <a:gd name="T38" fmla="*/ 948 w 1517"/>
                <a:gd name="T39" fmla="*/ 492 h 1402"/>
                <a:gd name="T40" fmla="*/ 942 w 1517"/>
                <a:gd name="T41" fmla="*/ 507 h 1402"/>
                <a:gd name="T42" fmla="*/ 932 w 1517"/>
                <a:gd name="T43" fmla="*/ 521 h 1402"/>
                <a:gd name="T44" fmla="*/ 920 w 1517"/>
                <a:gd name="T45" fmla="*/ 532 h 1402"/>
                <a:gd name="T46" fmla="*/ 907 w 1517"/>
                <a:gd name="T47" fmla="*/ 541 h 1402"/>
                <a:gd name="T48" fmla="*/ 891 w 1517"/>
                <a:gd name="T49" fmla="*/ 548 h 1402"/>
                <a:gd name="T50" fmla="*/ 875 w 1517"/>
                <a:gd name="T51" fmla="*/ 552 h 1402"/>
                <a:gd name="T52" fmla="*/ 512 w 1517"/>
                <a:gd name="T53" fmla="*/ 552 h 1402"/>
                <a:gd name="T54" fmla="*/ 782 w 1517"/>
                <a:gd name="T55" fmla="*/ 382 h 1402"/>
                <a:gd name="T56" fmla="*/ 783 w 1517"/>
                <a:gd name="T57" fmla="*/ 71 h 1402"/>
                <a:gd name="T58" fmla="*/ 790 w 1517"/>
                <a:gd name="T59" fmla="*/ 47 h 1402"/>
                <a:gd name="T60" fmla="*/ 804 w 1517"/>
                <a:gd name="T61" fmla="*/ 26 h 1402"/>
                <a:gd name="T62" fmla="*/ 824 w 1517"/>
                <a:gd name="T63" fmla="*/ 11 h 1402"/>
                <a:gd name="T64" fmla="*/ 848 w 1517"/>
                <a:gd name="T65" fmla="*/ 2 h 1402"/>
                <a:gd name="T66" fmla="*/ 873 w 1517"/>
                <a:gd name="T67" fmla="*/ 0 h 1402"/>
                <a:gd name="T68" fmla="*/ 898 w 1517"/>
                <a:gd name="T69" fmla="*/ 5 h 1402"/>
                <a:gd name="T70" fmla="*/ 920 w 1517"/>
                <a:gd name="T71" fmla="*/ 18 h 1402"/>
                <a:gd name="T72" fmla="*/ 1494 w 1517"/>
                <a:gd name="T73" fmla="*/ 644 h 1402"/>
                <a:gd name="T74" fmla="*/ 1504 w 1517"/>
                <a:gd name="T75" fmla="*/ 656 h 1402"/>
                <a:gd name="T76" fmla="*/ 1512 w 1517"/>
                <a:gd name="T77" fmla="*/ 671 h 1402"/>
                <a:gd name="T78" fmla="*/ 1516 w 1517"/>
                <a:gd name="T79" fmla="*/ 686 h 1402"/>
                <a:gd name="T80" fmla="*/ 1517 w 1517"/>
                <a:gd name="T81" fmla="*/ 701 h 1402"/>
                <a:gd name="T82" fmla="*/ 1516 w 1517"/>
                <a:gd name="T83" fmla="*/ 717 h 1402"/>
                <a:gd name="T84" fmla="*/ 1512 w 1517"/>
                <a:gd name="T85" fmla="*/ 731 h 1402"/>
                <a:gd name="T86" fmla="*/ 1504 w 1517"/>
                <a:gd name="T87" fmla="*/ 745 h 1402"/>
                <a:gd name="T88" fmla="*/ 1494 w 1517"/>
                <a:gd name="T89" fmla="*/ 759 h 1402"/>
                <a:gd name="T90" fmla="*/ 922 w 1517"/>
                <a:gd name="T91" fmla="*/ 1381 h 1402"/>
                <a:gd name="T92" fmla="*/ 908 w 1517"/>
                <a:gd name="T93" fmla="*/ 1392 h 1402"/>
                <a:gd name="T94" fmla="*/ 892 w 1517"/>
                <a:gd name="T95" fmla="*/ 1399 h 1402"/>
                <a:gd name="T96" fmla="*/ 875 w 1517"/>
                <a:gd name="T97" fmla="*/ 1402 h 1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7" h="1402">
                  <a:moveTo>
                    <a:pt x="867" y="1402"/>
                  </a:moveTo>
                  <a:lnTo>
                    <a:pt x="859" y="1402"/>
                  </a:lnTo>
                  <a:lnTo>
                    <a:pt x="851" y="1401"/>
                  </a:lnTo>
                  <a:lnTo>
                    <a:pt x="843" y="1399"/>
                  </a:lnTo>
                  <a:lnTo>
                    <a:pt x="836" y="1397"/>
                  </a:lnTo>
                  <a:lnTo>
                    <a:pt x="824" y="1391"/>
                  </a:lnTo>
                  <a:lnTo>
                    <a:pt x="814" y="1383"/>
                  </a:lnTo>
                  <a:lnTo>
                    <a:pt x="804" y="1375"/>
                  </a:lnTo>
                  <a:lnTo>
                    <a:pt x="796" y="1365"/>
                  </a:lnTo>
                  <a:lnTo>
                    <a:pt x="790" y="1355"/>
                  </a:lnTo>
                  <a:lnTo>
                    <a:pt x="785" y="1342"/>
                  </a:lnTo>
                  <a:lnTo>
                    <a:pt x="783" y="1330"/>
                  </a:lnTo>
                  <a:lnTo>
                    <a:pt x="782" y="1318"/>
                  </a:lnTo>
                  <a:lnTo>
                    <a:pt x="782" y="1019"/>
                  </a:lnTo>
                  <a:lnTo>
                    <a:pt x="0" y="1019"/>
                  </a:lnTo>
                  <a:lnTo>
                    <a:pt x="54" y="850"/>
                  </a:lnTo>
                  <a:lnTo>
                    <a:pt x="867" y="850"/>
                  </a:lnTo>
                  <a:lnTo>
                    <a:pt x="875" y="850"/>
                  </a:lnTo>
                  <a:lnTo>
                    <a:pt x="884" y="851"/>
                  </a:lnTo>
                  <a:lnTo>
                    <a:pt x="891" y="853"/>
                  </a:lnTo>
                  <a:lnTo>
                    <a:pt x="900" y="856"/>
                  </a:lnTo>
                  <a:lnTo>
                    <a:pt x="907" y="860"/>
                  </a:lnTo>
                  <a:lnTo>
                    <a:pt x="914" y="864"/>
                  </a:lnTo>
                  <a:lnTo>
                    <a:pt x="920" y="870"/>
                  </a:lnTo>
                  <a:lnTo>
                    <a:pt x="926" y="875"/>
                  </a:lnTo>
                  <a:lnTo>
                    <a:pt x="932" y="881"/>
                  </a:lnTo>
                  <a:lnTo>
                    <a:pt x="937" y="887"/>
                  </a:lnTo>
                  <a:lnTo>
                    <a:pt x="942" y="894"/>
                  </a:lnTo>
                  <a:lnTo>
                    <a:pt x="945" y="901"/>
                  </a:lnTo>
                  <a:lnTo>
                    <a:pt x="948" y="910"/>
                  </a:lnTo>
                  <a:lnTo>
                    <a:pt x="950" y="918"/>
                  </a:lnTo>
                  <a:lnTo>
                    <a:pt x="951" y="926"/>
                  </a:lnTo>
                  <a:lnTo>
                    <a:pt x="951" y="935"/>
                  </a:lnTo>
                  <a:lnTo>
                    <a:pt x="951" y="1099"/>
                  </a:lnTo>
                  <a:lnTo>
                    <a:pt x="1317" y="701"/>
                  </a:lnTo>
                  <a:lnTo>
                    <a:pt x="951" y="302"/>
                  </a:lnTo>
                  <a:lnTo>
                    <a:pt x="951" y="467"/>
                  </a:lnTo>
                  <a:lnTo>
                    <a:pt x="951" y="476"/>
                  </a:lnTo>
                  <a:lnTo>
                    <a:pt x="950" y="484"/>
                  </a:lnTo>
                  <a:lnTo>
                    <a:pt x="948" y="492"/>
                  </a:lnTo>
                  <a:lnTo>
                    <a:pt x="945" y="500"/>
                  </a:lnTo>
                  <a:lnTo>
                    <a:pt x="942" y="507"/>
                  </a:lnTo>
                  <a:lnTo>
                    <a:pt x="937" y="515"/>
                  </a:lnTo>
                  <a:lnTo>
                    <a:pt x="932" y="521"/>
                  </a:lnTo>
                  <a:lnTo>
                    <a:pt x="926" y="527"/>
                  </a:lnTo>
                  <a:lnTo>
                    <a:pt x="920" y="532"/>
                  </a:lnTo>
                  <a:lnTo>
                    <a:pt x="914" y="537"/>
                  </a:lnTo>
                  <a:lnTo>
                    <a:pt x="907" y="541"/>
                  </a:lnTo>
                  <a:lnTo>
                    <a:pt x="900" y="545"/>
                  </a:lnTo>
                  <a:lnTo>
                    <a:pt x="891" y="548"/>
                  </a:lnTo>
                  <a:lnTo>
                    <a:pt x="884" y="551"/>
                  </a:lnTo>
                  <a:lnTo>
                    <a:pt x="875" y="552"/>
                  </a:lnTo>
                  <a:lnTo>
                    <a:pt x="867" y="552"/>
                  </a:lnTo>
                  <a:lnTo>
                    <a:pt x="512" y="552"/>
                  </a:lnTo>
                  <a:lnTo>
                    <a:pt x="512" y="382"/>
                  </a:lnTo>
                  <a:lnTo>
                    <a:pt x="782" y="382"/>
                  </a:lnTo>
                  <a:lnTo>
                    <a:pt x="782" y="84"/>
                  </a:lnTo>
                  <a:lnTo>
                    <a:pt x="783" y="71"/>
                  </a:lnTo>
                  <a:lnTo>
                    <a:pt x="785" y="59"/>
                  </a:lnTo>
                  <a:lnTo>
                    <a:pt x="790" y="47"/>
                  </a:lnTo>
                  <a:lnTo>
                    <a:pt x="796" y="37"/>
                  </a:lnTo>
                  <a:lnTo>
                    <a:pt x="804" y="26"/>
                  </a:lnTo>
                  <a:lnTo>
                    <a:pt x="814" y="18"/>
                  </a:lnTo>
                  <a:lnTo>
                    <a:pt x="824" y="11"/>
                  </a:lnTo>
                  <a:lnTo>
                    <a:pt x="836" y="5"/>
                  </a:lnTo>
                  <a:lnTo>
                    <a:pt x="848" y="2"/>
                  </a:lnTo>
                  <a:lnTo>
                    <a:pt x="861" y="0"/>
                  </a:lnTo>
                  <a:lnTo>
                    <a:pt x="873" y="0"/>
                  </a:lnTo>
                  <a:lnTo>
                    <a:pt x="885" y="2"/>
                  </a:lnTo>
                  <a:lnTo>
                    <a:pt x="898" y="5"/>
                  </a:lnTo>
                  <a:lnTo>
                    <a:pt x="909" y="11"/>
                  </a:lnTo>
                  <a:lnTo>
                    <a:pt x="920" y="18"/>
                  </a:lnTo>
                  <a:lnTo>
                    <a:pt x="929" y="26"/>
                  </a:lnTo>
                  <a:lnTo>
                    <a:pt x="1494" y="644"/>
                  </a:lnTo>
                  <a:lnTo>
                    <a:pt x="1500" y="650"/>
                  </a:lnTo>
                  <a:lnTo>
                    <a:pt x="1504" y="656"/>
                  </a:lnTo>
                  <a:lnTo>
                    <a:pt x="1508" y="663"/>
                  </a:lnTo>
                  <a:lnTo>
                    <a:pt x="1512" y="671"/>
                  </a:lnTo>
                  <a:lnTo>
                    <a:pt x="1514" y="678"/>
                  </a:lnTo>
                  <a:lnTo>
                    <a:pt x="1516" y="686"/>
                  </a:lnTo>
                  <a:lnTo>
                    <a:pt x="1517" y="693"/>
                  </a:lnTo>
                  <a:lnTo>
                    <a:pt x="1517" y="701"/>
                  </a:lnTo>
                  <a:lnTo>
                    <a:pt x="1517" y="709"/>
                  </a:lnTo>
                  <a:lnTo>
                    <a:pt x="1516" y="717"/>
                  </a:lnTo>
                  <a:lnTo>
                    <a:pt x="1514" y="724"/>
                  </a:lnTo>
                  <a:lnTo>
                    <a:pt x="1512" y="731"/>
                  </a:lnTo>
                  <a:lnTo>
                    <a:pt x="1508" y="738"/>
                  </a:lnTo>
                  <a:lnTo>
                    <a:pt x="1504" y="745"/>
                  </a:lnTo>
                  <a:lnTo>
                    <a:pt x="1500" y="752"/>
                  </a:lnTo>
                  <a:lnTo>
                    <a:pt x="1494" y="759"/>
                  </a:lnTo>
                  <a:lnTo>
                    <a:pt x="929" y="1375"/>
                  </a:lnTo>
                  <a:lnTo>
                    <a:pt x="922" y="1381"/>
                  </a:lnTo>
                  <a:lnTo>
                    <a:pt x="916" y="1387"/>
                  </a:lnTo>
                  <a:lnTo>
                    <a:pt x="908" y="1392"/>
                  </a:lnTo>
                  <a:lnTo>
                    <a:pt x="901" y="1396"/>
                  </a:lnTo>
                  <a:lnTo>
                    <a:pt x="892" y="1399"/>
                  </a:lnTo>
                  <a:lnTo>
                    <a:pt x="884" y="1401"/>
                  </a:lnTo>
                  <a:lnTo>
                    <a:pt x="875" y="1402"/>
                  </a:lnTo>
                  <a:lnTo>
                    <a:pt x="867" y="1402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 16"/>
            <p:cNvSpPr>
              <a:spLocks noEditPoints="1"/>
            </p:cNvSpPr>
            <p:nvPr/>
          </p:nvSpPr>
          <p:spPr bwMode="auto">
            <a:xfrm>
              <a:off x="3529013" y="2028825"/>
              <a:ext cx="363538" cy="365125"/>
            </a:xfrm>
            <a:custGeom>
              <a:avLst/>
              <a:gdLst>
                <a:gd name="T0" fmla="*/ 975 w 1147"/>
                <a:gd name="T1" fmla="*/ 382 h 1148"/>
                <a:gd name="T2" fmla="*/ 935 w 1147"/>
                <a:gd name="T3" fmla="*/ 315 h 1148"/>
                <a:gd name="T4" fmla="*/ 754 w 1147"/>
                <a:gd name="T5" fmla="*/ 168 h 1148"/>
                <a:gd name="T6" fmla="*/ 695 w 1147"/>
                <a:gd name="T7" fmla="*/ 146 h 1148"/>
                <a:gd name="T8" fmla="*/ 443 w 1147"/>
                <a:gd name="T9" fmla="*/ 15 h 1148"/>
                <a:gd name="T10" fmla="*/ 341 w 1147"/>
                <a:gd name="T11" fmla="*/ 195 h 1148"/>
                <a:gd name="T12" fmla="*/ 168 w 1147"/>
                <a:gd name="T13" fmla="*/ 175 h 1148"/>
                <a:gd name="T14" fmla="*/ 157 w 1147"/>
                <a:gd name="T15" fmla="*/ 435 h 1148"/>
                <a:gd name="T16" fmla="*/ 134 w 1147"/>
                <a:gd name="T17" fmla="*/ 524 h 1148"/>
                <a:gd name="T18" fmla="*/ 173 w 1147"/>
                <a:gd name="T19" fmla="*/ 765 h 1148"/>
                <a:gd name="T20" fmla="*/ 213 w 1147"/>
                <a:gd name="T21" fmla="*/ 833 h 1148"/>
                <a:gd name="T22" fmla="*/ 406 w 1147"/>
                <a:gd name="T23" fmla="*/ 978 h 1148"/>
                <a:gd name="T24" fmla="*/ 465 w 1147"/>
                <a:gd name="T25" fmla="*/ 1000 h 1148"/>
                <a:gd name="T26" fmla="*/ 705 w 1147"/>
                <a:gd name="T27" fmla="*/ 1133 h 1148"/>
                <a:gd name="T28" fmla="*/ 807 w 1147"/>
                <a:gd name="T29" fmla="*/ 953 h 1148"/>
                <a:gd name="T30" fmla="*/ 980 w 1147"/>
                <a:gd name="T31" fmla="*/ 971 h 1148"/>
                <a:gd name="T32" fmla="*/ 990 w 1147"/>
                <a:gd name="T33" fmla="*/ 712 h 1148"/>
                <a:gd name="T34" fmla="*/ 1014 w 1147"/>
                <a:gd name="T35" fmla="*/ 623 h 1148"/>
                <a:gd name="T36" fmla="*/ 579 w 1147"/>
                <a:gd name="T37" fmla="*/ 827 h 1148"/>
                <a:gd name="T38" fmla="*/ 529 w 1147"/>
                <a:gd name="T39" fmla="*/ 823 h 1148"/>
                <a:gd name="T40" fmla="*/ 482 w 1147"/>
                <a:gd name="T41" fmla="*/ 809 h 1148"/>
                <a:gd name="T42" fmla="*/ 438 w 1147"/>
                <a:gd name="T43" fmla="*/ 787 h 1148"/>
                <a:gd name="T44" fmla="*/ 400 w 1147"/>
                <a:gd name="T45" fmla="*/ 757 h 1148"/>
                <a:gd name="T46" fmla="*/ 367 w 1147"/>
                <a:gd name="T47" fmla="*/ 720 h 1148"/>
                <a:gd name="T48" fmla="*/ 342 w 1147"/>
                <a:gd name="T49" fmla="*/ 677 h 1148"/>
                <a:gd name="T50" fmla="*/ 327 w 1147"/>
                <a:gd name="T51" fmla="*/ 629 h 1148"/>
                <a:gd name="T52" fmla="*/ 321 w 1147"/>
                <a:gd name="T53" fmla="*/ 578 h 1148"/>
                <a:gd name="T54" fmla="*/ 325 w 1147"/>
                <a:gd name="T55" fmla="*/ 527 h 1148"/>
                <a:gd name="T56" fmla="*/ 338 w 1147"/>
                <a:gd name="T57" fmla="*/ 480 h 1148"/>
                <a:gd name="T58" fmla="*/ 361 w 1147"/>
                <a:gd name="T59" fmla="*/ 437 h 1148"/>
                <a:gd name="T60" fmla="*/ 390 w 1147"/>
                <a:gd name="T61" fmla="*/ 399 h 1148"/>
                <a:gd name="T62" fmla="*/ 427 w 1147"/>
                <a:gd name="T63" fmla="*/ 367 h 1148"/>
                <a:gd name="T64" fmla="*/ 470 w 1147"/>
                <a:gd name="T65" fmla="*/ 343 h 1148"/>
                <a:gd name="T66" fmla="*/ 518 w 1147"/>
                <a:gd name="T67" fmla="*/ 326 h 1148"/>
                <a:gd name="T68" fmla="*/ 570 w 1147"/>
                <a:gd name="T69" fmla="*/ 320 h 1148"/>
                <a:gd name="T70" fmla="*/ 620 w 1147"/>
                <a:gd name="T71" fmla="*/ 324 h 1148"/>
                <a:gd name="T72" fmla="*/ 667 w 1147"/>
                <a:gd name="T73" fmla="*/ 338 h 1148"/>
                <a:gd name="T74" fmla="*/ 710 w 1147"/>
                <a:gd name="T75" fmla="*/ 360 h 1148"/>
                <a:gd name="T76" fmla="*/ 748 w 1147"/>
                <a:gd name="T77" fmla="*/ 390 h 1148"/>
                <a:gd name="T78" fmla="*/ 780 w 1147"/>
                <a:gd name="T79" fmla="*/ 427 h 1148"/>
                <a:gd name="T80" fmla="*/ 804 w 1147"/>
                <a:gd name="T81" fmla="*/ 470 h 1148"/>
                <a:gd name="T82" fmla="*/ 821 w 1147"/>
                <a:gd name="T83" fmla="*/ 517 h 1148"/>
                <a:gd name="T84" fmla="*/ 827 w 1147"/>
                <a:gd name="T85" fmla="*/ 568 h 1148"/>
                <a:gd name="T86" fmla="*/ 823 w 1147"/>
                <a:gd name="T87" fmla="*/ 619 h 1148"/>
                <a:gd name="T88" fmla="*/ 810 w 1147"/>
                <a:gd name="T89" fmla="*/ 667 h 1148"/>
                <a:gd name="T90" fmla="*/ 787 w 1147"/>
                <a:gd name="T91" fmla="*/ 710 h 1148"/>
                <a:gd name="T92" fmla="*/ 757 w 1147"/>
                <a:gd name="T93" fmla="*/ 748 h 1148"/>
                <a:gd name="T94" fmla="*/ 720 w 1147"/>
                <a:gd name="T95" fmla="*/ 781 h 1148"/>
                <a:gd name="T96" fmla="*/ 677 w 1147"/>
                <a:gd name="T97" fmla="*/ 805 h 1148"/>
                <a:gd name="T98" fmla="*/ 630 w 1147"/>
                <a:gd name="T99" fmla="*/ 821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47" h="1148">
                  <a:moveTo>
                    <a:pt x="1147" y="568"/>
                  </a:moveTo>
                  <a:lnTo>
                    <a:pt x="1131" y="442"/>
                  </a:lnTo>
                  <a:lnTo>
                    <a:pt x="988" y="408"/>
                  </a:lnTo>
                  <a:lnTo>
                    <a:pt x="975" y="382"/>
                  </a:lnTo>
                  <a:lnTo>
                    <a:pt x="960" y="354"/>
                  </a:lnTo>
                  <a:lnTo>
                    <a:pt x="952" y="341"/>
                  </a:lnTo>
                  <a:lnTo>
                    <a:pt x="944" y="327"/>
                  </a:lnTo>
                  <a:lnTo>
                    <a:pt x="935" y="315"/>
                  </a:lnTo>
                  <a:lnTo>
                    <a:pt x="924" y="302"/>
                  </a:lnTo>
                  <a:lnTo>
                    <a:pt x="972" y="168"/>
                  </a:lnTo>
                  <a:lnTo>
                    <a:pt x="873" y="90"/>
                  </a:lnTo>
                  <a:lnTo>
                    <a:pt x="754" y="168"/>
                  </a:lnTo>
                  <a:lnTo>
                    <a:pt x="740" y="161"/>
                  </a:lnTo>
                  <a:lnTo>
                    <a:pt x="725" y="155"/>
                  </a:lnTo>
                  <a:lnTo>
                    <a:pt x="709" y="150"/>
                  </a:lnTo>
                  <a:lnTo>
                    <a:pt x="695" y="146"/>
                  </a:lnTo>
                  <a:lnTo>
                    <a:pt x="665" y="138"/>
                  </a:lnTo>
                  <a:lnTo>
                    <a:pt x="635" y="131"/>
                  </a:lnTo>
                  <a:lnTo>
                    <a:pt x="569" y="0"/>
                  </a:lnTo>
                  <a:lnTo>
                    <a:pt x="443" y="15"/>
                  </a:lnTo>
                  <a:lnTo>
                    <a:pt x="409" y="159"/>
                  </a:lnTo>
                  <a:lnTo>
                    <a:pt x="382" y="172"/>
                  </a:lnTo>
                  <a:lnTo>
                    <a:pt x="354" y="187"/>
                  </a:lnTo>
                  <a:lnTo>
                    <a:pt x="341" y="195"/>
                  </a:lnTo>
                  <a:lnTo>
                    <a:pt x="328" y="203"/>
                  </a:lnTo>
                  <a:lnTo>
                    <a:pt x="315" y="212"/>
                  </a:lnTo>
                  <a:lnTo>
                    <a:pt x="302" y="224"/>
                  </a:lnTo>
                  <a:lnTo>
                    <a:pt x="168" y="175"/>
                  </a:lnTo>
                  <a:lnTo>
                    <a:pt x="91" y="274"/>
                  </a:lnTo>
                  <a:lnTo>
                    <a:pt x="170" y="405"/>
                  </a:lnTo>
                  <a:lnTo>
                    <a:pt x="163" y="421"/>
                  </a:lnTo>
                  <a:lnTo>
                    <a:pt x="157" y="435"/>
                  </a:lnTo>
                  <a:lnTo>
                    <a:pt x="152" y="450"/>
                  </a:lnTo>
                  <a:lnTo>
                    <a:pt x="147" y="465"/>
                  </a:lnTo>
                  <a:lnTo>
                    <a:pt x="140" y="494"/>
                  </a:lnTo>
                  <a:lnTo>
                    <a:pt x="134" y="524"/>
                  </a:lnTo>
                  <a:lnTo>
                    <a:pt x="0" y="580"/>
                  </a:lnTo>
                  <a:lnTo>
                    <a:pt x="15" y="705"/>
                  </a:lnTo>
                  <a:lnTo>
                    <a:pt x="160" y="739"/>
                  </a:lnTo>
                  <a:lnTo>
                    <a:pt x="173" y="765"/>
                  </a:lnTo>
                  <a:lnTo>
                    <a:pt x="186" y="793"/>
                  </a:lnTo>
                  <a:lnTo>
                    <a:pt x="195" y="806"/>
                  </a:lnTo>
                  <a:lnTo>
                    <a:pt x="204" y="820"/>
                  </a:lnTo>
                  <a:lnTo>
                    <a:pt x="213" y="833"/>
                  </a:lnTo>
                  <a:lnTo>
                    <a:pt x="223" y="846"/>
                  </a:lnTo>
                  <a:lnTo>
                    <a:pt x="176" y="980"/>
                  </a:lnTo>
                  <a:lnTo>
                    <a:pt x="275" y="1057"/>
                  </a:lnTo>
                  <a:lnTo>
                    <a:pt x="406" y="978"/>
                  </a:lnTo>
                  <a:lnTo>
                    <a:pt x="421" y="985"/>
                  </a:lnTo>
                  <a:lnTo>
                    <a:pt x="435" y="991"/>
                  </a:lnTo>
                  <a:lnTo>
                    <a:pt x="451" y="996"/>
                  </a:lnTo>
                  <a:lnTo>
                    <a:pt x="465" y="1000"/>
                  </a:lnTo>
                  <a:lnTo>
                    <a:pt x="495" y="1007"/>
                  </a:lnTo>
                  <a:lnTo>
                    <a:pt x="525" y="1014"/>
                  </a:lnTo>
                  <a:lnTo>
                    <a:pt x="579" y="1148"/>
                  </a:lnTo>
                  <a:lnTo>
                    <a:pt x="705" y="1133"/>
                  </a:lnTo>
                  <a:lnTo>
                    <a:pt x="739" y="988"/>
                  </a:lnTo>
                  <a:lnTo>
                    <a:pt x="766" y="975"/>
                  </a:lnTo>
                  <a:lnTo>
                    <a:pt x="793" y="961"/>
                  </a:lnTo>
                  <a:lnTo>
                    <a:pt x="807" y="953"/>
                  </a:lnTo>
                  <a:lnTo>
                    <a:pt x="820" y="944"/>
                  </a:lnTo>
                  <a:lnTo>
                    <a:pt x="832" y="935"/>
                  </a:lnTo>
                  <a:lnTo>
                    <a:pt x="845" y="924"/>
                  </a:lnTo>
                  <a:lnTo>
                    <a:pt x="980" y="971"/>
                  </a:lnTo>
                  <a:lnTo>
                    <a:pt x="1057" y="873"/>
                  </a:lnTo>
                  <a:lnTo>
                    <a:pt x="977" y="742"/>
                  </a:lnTo>
                  <a:lnTo>
                    <a:pt x="984" y="726"/>
                  </a:lnTo>
                  <a:lnTo>
                    <a:pt x="990" y="712"/>
                  </a:lnTo>
                  <a:lnTo>
                    <a:pt x="995" y="697"/>
                  </a:lnTo>
                  <a:lnTo>
                    <a:pt x="999" y="681"/>
                  </a:lnTo>
                  <a:lnTo>
                    <a:pt x="1007" y="651"/>
                  </a:lnTo>
                  <a:lnTo>
                    <a:pt x="1014" y="623"/>
                  </a:lnTo>
                  <a:lnTo>
                    <a:pt x="1147" y="568"/>
                  </a:lnTo>
                  <a:close/>
                  <a:moveTo>
                    <a:pt x="605" y="826"/>
                  </a:moveTo>
                  <a:lnTo>
                    <a:pt x="591" y="827"/>
                  </a:lnTo>
                  <a:lnTo>
                    <a:pt x="579" y="827"/>
                  </a:lnTo>
                  <a:lnTo>
                    <a:pt x="566" y="827"/>
                  </a:lnTo>
                  <a:lnTo>
                    <a:pt x="553" y="827"/>
                  </a:lnTo>
                  <a:lnTo>
                    <a:pt x="541" y="825"/>
                  </a:lnTo>
                  <a:lnTo>
                    <a:pt x="529" y="823"/>
                  </a:lnTo>
                  <a:lnTo>
                    <a:pt x="516" y="821"/>
                  </a:lnTo>
                  <a:lnTo>
                    <a:pt x="504" y="818"/>
                  </a:lnTo>
                  <a:lnTo>
                    <a:pt x="493" y="814"/>
                  </a:lnTo>
                  <a:lnTo>
                    <a:pt x="482" y="809"/>
                  </a:lnTo>
                  <a:lnTo>
                    <a:pt x="470" y="804"/>
                  </a:lnTo>
                  <a:lnTo>
                    <a:pt x="459" y="799"/>
                  </a:lnTo>
                  <a:lnTo>
                    <a:pt x="448" y="793"/>
                  </a:lnTo>
                  <a:lnTo>
                    <a:pt x="438" y="787"/>
                  </a:lnTo>
                  <a:lnTo>
                    <a:pt x="427" y="780"/>
                  </a:lnTo>
                  <a:lnTo>
                    <a:pt x="418" y="772"/>
                  </a:lnTo>
                  <a:lnTo>
                    <a:pt x="409" y="765"/>
                  </a:lnTo>
                  <a:lnTo>
                    <a:pt x="400" y="757"/>
                  </a:lnTo>
                  <a:lnTo>
                    <a:pt x="390" y="748"/>
                  </a:lnTo>
                  <a:lnTo>
                    <a:pt x="382" y="739"/>
                  </a:lnTo>
                  <a:lnTo>
                    <a:pt x="375" y="729"/>
                  </a:lnTo>
                  <a:lnTo>
                    <a:pt x="367" y="720"/>
                  </a:lnTo>
                  <a:lnTo>
                    <a:pt x="361" y="710"/>
                  </a:lnTo>
                  <a:lnTo>
                    <a:pt x="353" y="699"/>
                  </a:lnTo>
                  <a:lnTo>
                    <a:pt x="348" y="688"/>
                  </a:lnTo>
                  <a:lnTo>
                    <a:pt x="342" y="677"/>
                  </a:lnTo>
                  <a:lnTo>
                    <a:pt x="338" y="666"/>
                  </a:lnTo>
                  <a:lnTo>
                    <a:pt x="334" y="653"/>
                  </a:lnTo>
                  <a:lnTo>
                    <a:pt x="330" y="641"/>
                  </a:lnTo>
                  <a:lnTo>
                    <a:pt x="327" y="629"/>
                  </a:lnTo>
                  <a:lnTo>
                    <a:pt x="324" y="617"/>
                  </a:lnTo>
                  <a:lnTo>
                    <a:pt x="322" y="604"/>
                  </a:lnTo>
                  <a:lnTo>
                    <a:pt x="321" y="591"/>
                  </a:lnTo>
                  <a:lnTo>
                    <a:pt x="321" y="578"/>
                  </a:lnTo>
                  <a:lnTo>
                    <a:pt x="321" y="565"/>
                  </a:lnTo>
                  <a:lnTo>
                    <a:pt x="322" y="553"/>
                  </a:lnTo>
                  <a:lnTo>
                    <a:pt x="323" y="540"/>
                  </a:lnTo>
                  <a:lnTo>
                    <a:pt x="325" y="527"/>
                  </a:lnTo>
                  <a:lnTo>
                    <a:pt x="327" y="516"/>
                  </a:lnTo>
                  <a:lnTo>
                    <a:pt x="330" y="504"/>
                  </a:lnTo>
                  <a:lnTo>
                    <a:pt x="334" y="492"/>
                  </a:lnTo>
                  <a:lnTo>
                    <a:pt x="338" y="480"/>
                  </a:lnTo>
                  <a:lnTo>
                    <a:pt x="343" y="469"/>
                  </a:lnTo>
                  <a:lnTo>
                    <a:pt x="348" y="459"/>
                  </a:lnTo>
                  <a:lnTo>
                    <a:pt x="354" y="447"/>
                  </a:lnTo>
                  <a:lnTo>
                    <a:pt x="361" y="437"/>
                  </a:lnTo>
                  <a:lnTo>
                    <a:pt x="368" y="427"/>
                  </a:lnTo>
                  <a:lnTo>
                    <a:pt x="375" y="418"/>
                  </a:lnTo>
                  <a:lnTo>
                    <a:pt x="382" y="408"/>
                  </a:lnTo>
                  <a:lnTo>
                    <a:pt x="390" y="399"/>
                  </a:lnTo>
                  <a:lnTo>
                    <a:pt x="400" y="390"/>
                  </a:lnTo>
                  <a:lnTo>
                    <a:pt x="408" y="382"/>
                  </a:lnTo>
                  <a:lnTo>
                    <a:pt x="418" y="374"/>
                  </a:lnTo>
                  <a:lnTo>
                    <a:pt x="427" y="367"/>
                  </a:lnTo>
                  <a:lnTo>
                    <a:pt x="438" y="360"/>
                  </a:lnTo>
                  <a:lnTo>
                    <a:pt x="448" y="354"/>
                  </a:lnTo>
                  <a:lnTo>
                    <a:pt x="459" y="348"/>
                  </a:lnTo>
                  <a:lnTo>
                    <a:pt x="470" y="343"/>
                  </a:lnTo>
                  <a:lnTo>
                    <a:pt x="482" y="338"/>
                  </a:lnTo>
                  <a:lnTo>
                    <a:pt x="494" y="333"/>
                  </a:lnTo>
                  <a:lnTo>
                    <a:pt x="506" y="329"/>
                  </a:lnTo>
                  <a:lnTo>
                    <a:pt x="518" y="326"/>
                  </a:lnTo>
                  <a:lnTo>
                    <a:pt x="531" y="324"/>
                  </a:lnTo>
                  <a:lnTo>
                    <a:pt x="544" y="322"/>
                  </a:lnTo>
                  <a:lnTo>
                    <a:pt x="556" y="321"/>
                  </a:lnTo>
                  <a:lnTo>
                    <a:pt x="570" y="320"/>
                  </a:lnTo>
                  <a:lnTo>
                    <a:pt x="582" y="320"/>
                  </a:lnTo>
                  <a:lnTo>
                    <a:pt x="594" y="321"/>
                  </a:lnTo>
                  <a:lnTo>
                    <a:pt x="608" y="322"/>
                  </a:lnTo>
                  <a:lnTo>
                    <a:pt x="620" y="324"/>
                  </a:lnTo>
                  <a:lnTo>
                    <a:pt x="631" y="327"/>
                  </a:lnTo>
                  <a:lnTo>
                    <a:pt x="644" y="330"/>
                  </a:lnTo>
                  <a:lnTo>
                    <a:pt x="655" y="333"/>
                  </a:lnTo>
                  <a:lnTo>
                    <a:pt x="667" y="338"/>
                  </a:lnTo>
                  <a:lnTo>
                    <a:pt x="678" y="343"/>
                  </a:lnTo>
                  <a:lnTo>
                    <a:pt x="689" y="348"/>
                  </a:lnTo>
                  <a:lnTo>
                    <a:pt x="700" y="354"/>
                  </a:lnTo>
                  <a:lnTo>
                    <a:pt x="710" y="360"/>
                  </a:lnTo>
                  <a:lnTo>
                    <a:pt x="720" y="367"/>
                  </a:lnTo>
                  <a:lnTo>
                    <a:pt x="730" y="374"/>
                  </a:lnTo>
                  <a:lnTo>
                    <a:pt x="739" y="382"/>
                  </a:lnTo>
                  <a:lnTo>
                    <a:pt x="748" y="390"/>
                  </a:lnTo>
                  <a:lnTo>
                    <a:pt x="757" y="399"/>
                  </a:lnTo>
                  <a:lnTo>
                    <a:pt x="766" y="408"/>
                  </a:lnTo>
                  <a:lnTo>
                    <a:pt x="773" y="418"/>
                  </a:lnTo>
                  <a:lnTo>
                    <a:pt x="780" y="427"/>
                  </a:lnTo>
                  <a:lnTo>
                    <a:pt x="787" y="437"/>
                  </a:lnTo>
                  <a:lnTo>
                    <a:pt x="793" y="447"/>
                  </a:lnTo>
                  <a:lnTo>
                    <a:pt x="799" y="459"/>
                  </a:lnTo>
                  <a:lnTo>
                    <a:pt x="804" y="470"/>
                  </a:lnTo>
                  <a:lnTo>
                    <a:pt x="810" y="481"/>
                  </a:lnTo>
                  <a:lnTo>
                    <a:pt x="814" y="493"/>
                  </a:lnTo>
                  <a:lnTo>
                    <a:pt x="818" y="505"/>
                  </a:lnTo>
                  <a:lnTo>
                    <a:pt x="821" y="517"/>
                  </a:lnTo>
                  <a:lnTo>
                    <a:pt x="823" y="530"/>
                  </a:lnTo>
                  <a:lnTo>
                    <a:pt x="825" y="543"/>
                  </a:lnTo>
                  <a:lnTo>
                    <a:pt x="826" y="556"/>
                  </a:lnTo>
                  <a:lnTo>
                    <a:pt x="827" y="568"/>
                  </a:lnTo>
                  <a:lnTo>
                    <a:pt x="827" y="582"/>
                  </a:lnTo>
                  <a:lnTo>
                    <a:pt x="826" y="594"/>
                  </a:lnTo>
                  <a:lnTo>
                    <a:pt x="825" y="606"/>
                  </a:lnTo>
                  <a:lnTo>
                    <a:pt x="823" y="619"/>
                  </a:lnTo>
                  <a:lnTo>
                    <a:pt x="821" y="631"/>
                  </a:lnTo>
                  <a:lnTo>
                    <a:pt x="817" y="643"/>
                  </a:lnTo>
                  <a:lnTo>
                    <a:pt x="814" y="655"/>
                  </a:lnTo>
                  <a:lnTo>
                    <a:pt x="810" y="667"/>
                  </a:lnTo>
                  <a:lnTo>
                    <a:pt x="804" y="678"/>
                  </a:lnTo>
                  <a:lnTo>
                    <a:pt x="799" y="688"/>
                  </a:lnTo>
                  <a:lnTo>
                    <a:pt x="793" y="700"/>
                  </a:lnTo>
                  <a:lnTo>
                    <a:pt x="787" y="710"/>
                  </a:lnTo>
                  <a:lnTo>
                    <a:pt x="780" y="720"/>
                  </a:lnTo>
                  <a:lnTo>
                    <a:pt x="773" y="729"/>
                  </a:lnTo>
                  <a:lnTo>
                    <a:pt x="766" y="740"/>
                  </a:lnTo>
                  <a:lnTo>
                    <a:pt x="757" y="748"/>
                  </a:lnTo>
                  <a:lnTo>
                    <a:pt x="748" y="757"/>
                  </a:lnTo>
                  <a:lnTo>
                    <a:pt x="740" y="765"/>
                  </a:lnTo>
                  <a:lnTo>
                    <a:pt x="730" y="774"/>
                  </a:lnTo>
                  <a:lnTo>
                    <a:pt x="720" y="781"/>
                  </a:lnTo>
                  <a:lnTo>
                    <a:pt x="710" y="787"/>
                  </a:lnTo>
                  <a:lnTo>
                    <a:pt x="700" y="794"/>
                  </a:lnTo>
                  <a:lnTo>
                    <a:pt x="689" y="799"/>
                  </a:lnTo>
                  <a:lnTo>
                    <a:pt x="677" y="805"/>
                  </a:lnTo>
                  <a:lnTo>
                    <a:pt x="666" y="809"/>
                  </a:lnTo>
                  <a:lnTo>
                    <a:pt x="655" y="815"/>
                  </a:lnTo>
                  <a:lnTo>
                    <a:pt x="643" y="818"/>
                  </a:lnTo>
                  <a:lnTo>
                    <a:pt x="630" y="821"/>
                  </a:lnTo>
                  <a:lnTo>
                    <a:pt x="618" y="824"/>
                  </a:lnTo>
                  <a:lnTo>
                    <a:pt x="605" y="826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17"/>
            <p:cNvSpPr>
              <a:spLocks/>
            </p:cNvSpPr>
            <p:nvPr/>
          </p:nvSpPr>
          <p:spPr bwMode="auto">
            <a:xfrm>
              <a:off x="3665538" y="2166938"/>
              <a:ext cx="88900" cy="88900"/>
            </a:xfrm>
            <a:custGeom>
              <a:avLst/>
              <a:gdLst>
                <a:gd name="T0" fmla="*/ 138 w 281"/>
                <a:gd name="T1" fmla="*/ 0 h 281"/>
                <a:gd name="T2" fmla="*/ 165 w 281"/>
                <a:gd name="T3" fmla="*/ 3 h 281"/>
                <a:gd name="T4" fmla="*/ 192 w 281"/>
                <a:gd name="T5" fmla="*/ 10 h 281"/>
                <a:gd name="T6" fmla="*/ 216 w 281"/>
                <a:gd name="T7" fmla="*/ 23 h 281"/>
                <a:gd name="T8" fmla="*/ 237 w 281"/>
                <a:gd name="T9" fmla="*/ 39 h 281"/>
                <a:gd name="T10" fmla="*/ 255 w 281"/>
                <a:gd name="T11" fmla="*/ 59 h 281"/>
                <a:gd name="T12" fmla="*/ 269 w 281"/>
                <a:gd name="T13" fmla="*/ 83 h 281"/>
                <a:gd name="T14" fmla="*/ 277 w 281"/>
                <a:gd name="T15" fmla="*/ 110 h 281"/>
                <a:gd name="T16" fmla="*/ 281 w 281"/>
                <a:gd name="T17" fmla="*/ 138 h 281"/>
                <a:gd name="T18" fmla="*/ 279 w 281"/>
                <a:gd name="T19" fmla="*/ 166 h 281"/>
                <a:gd name="T20" fmla="*/ 271 w 281"/>
                <a:gd name="T21" fmla="*/ 193 h 281"/>
                <a:gd name="T22" fmla="*/ 259 w 281"/>
                <a:gd name="T23" fmla="*/ 216 h 281"/>
                <a:gd name="T24" fmla="*/ 242 w 281"/>
                <a:gd name="T25" fmla="*/ 238 h 281"/>
                <a:gd name="T26" fmla="*/ 222 w 281"/>
                <a:gd name="T27" fmla="*/ 255 h 281"/>
                <a:gd name="T28" fmla="*/ 198 w 281"/>
                <a:gd name="T29" fmla="*/ 269 h 281"/>
                <a:gd name="T30" fmla="*/ 172 w 281"/>
                <a:gd name="T31" fmla="*/ 278 h 281"/>
                <a:gd name="T32" fmla="*/ 143 w 281"/>
                <a:gd name="T33" fmla="*/ 281 h 281"/>
                <a:gd name="T34" fmla="*/ 115 w 281"/>
                <a:gd name="T35" fmla="*/ 279 h 281"/>
                <a:gd name="T36" fmla="*/ 90 w 281"/>
                <a:gd name="T37" fmla="*/ 272 h 281"/>
                <a:gd name="T38" fmla="*/ 65 w 281"/>
                <a:gd name="T39" fmla="*/ 259 h 281"/>
                <a:gd name="T40" fmla="*/ 44 w 281"/>
                <a:gd name="T41" fmla="*/ 242 h 281"/>
                <a:gd name="T42" fmla="*/ 26 w 281"/>
                <a:gd name="T43" fmla="*/ 223 h 281"/>
                <a:gd name="T44" fmla="*/ 13 w 281"/>
                <a:gd name="T45" fmla="*/ 198 h 281"/>
                <a:gd name="T46" fmla="*/ 5 w 281"/>
                <a:gd name="T47" fmla="*/ 172 h 281"/>
                <a:gd name="T48" fmla="*/ 0 w 281"/>
                <a:gd name="T49" fmla="*/ 144 h 281"/>
                <a:gd name="T50" fmla="*/ 2 w 281"/>
                <a:gd name="T51" fmla="*/ 116 h 281"/>
                <a:gd name="T52" fmla="*/ 11 w 281"/>
                <a:gd name="T53" fmla="*/ 89 h 281"/>
                <a:gd name="T54" fmla="*/ 23 w 281"/>
                <a:gd name="T55" fmla="*/ 66 h 281"/>
                <a:gd name="T56" fmla="*/ 39 w 281"/>
                <a:gd name="T57" fmla="*/ 44 h 281"/>
                <a:gd name="T58" fmla="*/ 60 w 281"/>
                <a:gd name="T59" fmla="*/ 27 h 281"/>
                <a:gd name="T60" fmla="*/ 83 w 281"/>
                <a:gd name="T61" fmla="*/ 12 h 281"/>
                <a:gd name="T62" fmla="*/ 110 w 281"/>
                <a:gd name="T63" fmla="*/ 4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1" h="281">
                  <a:moveTo>
                    <a:pt x="123" y="1"/>
                  </a:moveTo>
                  <a:lnTo>
                    <a:pt x="138" y="0"/>
                  </a:lnTo>
                  <a:lnTo>
                    <a:pt x="152" y="1"/>
                  </a:lnTo>
                  <a:lnTo>
                    <a:pt x="165" y="3"/>
                  </a:lnTo>
                  <a:lnTo>
                    <a:pt x="179" y="6"/>
                  </a:lnTo>
                  <a:lnTo>
                    <a:pt x="192" y="10"/>
                  </a:lnTo>
                  <a:lnTo>
                    <a:pt x="204" y="15"/>
                  </a:lnTo>
                  <a:lnTo>
                    <a:pt x="216" y="23"/>
                  </a:lnTo>
                  <a:lnTo>
                    <a:pt x="227" y="31"/>
                  </a:lnTo>
                  <a:lnTo>
                    <a:pt x="237" y="39"/>
                  </a:lnTo>
                  <a:lnTo>
                    <a:pt x="246" y="49"/>
                  </a:lnTo>
                  <a:lnTo>
                    <a:pt x="255" y="59"/>
                  </a:lnTo>
                  <a:lnTo>
                    <a:pt x="263" y="71"/>
                  </a:lnTo>
                  <a:lnTo>
                    <a:pt x="269" y="83"/>
                  </a:lnTo>
                  <a:lnTo>
                    <a:pt x="274" y="96"/>
                  </a:lnTo>
                  <a:lnTo>
                    <a:pt x="277" y="110"/>
                  </a:lnTo>
                  <a:lnTo>
                    <a:pt x="280" y="124"/>
                  </a:lnTo>
                  <a:lnTo>
                    <a:pt x="281" y="138"/>
                  </a:lnTo>
                  <a:lnTo>
                    <a:pt x="280" y="153"/>
                  </a:lnTo>
                  <a:lnTo>
                    <a:pt x="279" y="166"/>
                  </a:lnTo>
                  <a:lnTo>
                    <a:pt x="275" y="179"/>
                  </a:lnTo>
                  <a:lnTo>
                    <a:pt x="271" y="193"/>
                  </a:lnTo>
                  <a:lnTo>
                    <a:pt x="266" y="205"/>
                  </a:lnTo>
                  <a:lnTo>
                    <a:pt x="259" y="216"/>
                  </a:lnTo>
                  <a:lnTo>
                    <a:pt x="251" y="228"/>
                  </a:lnTo>
                  <a:lnTo>
                    <a:pt x="242" y="238"/>
                  </a:lnTo>
                  <a:lnTo>
                    <a:pt x="232" y="247"/>
                  </a:lnTo>
                  <a:lnTo>
                    <a:pt x="222" y="255"/>
                  </a:lnTo>
                  <a:lnTo>
                    <a:pt x="211" y="263"/>
                  </a:lnTo>
                  <a:lnTo>
                    <a:pt x="198" y="269"/>
                  </a:lnTo>
                  <a:lnTo>
                    <a:pt x="185" y="274"/>
                  </a:lnTo>
                  <a:lnTo>
                    <a:pt x="172" y="278"/>
                  </a:lnTo>
                  <a:lnTo>
                    <a:pt x="157" y="280"/>
                  </a:lnTo>
                  <a:lnTo>
                    <a:pt x="143" y="281"/>
                  </a:lnTo>
                  <a:lnTo>
                    <a:pt x="130" y="281"/>
                  </a:lnTo>
                  <a:lnTo>
                    <a:pt x="115" y="279"/>
                  </a:lnTo>
                  <a:lnTo>
                    <a:pt x="102" y="276"/>
                  </a:lnTo>
                  <a:lnTo>
                    <a:pt x="90" y="272"/>
                  </a:lnTo>
                  <a:lnTo>
                    <a:pt x="77" y="266"/>
                  </a:lnTo>
                  <a:lnTo>
                    <a:pt x="65" y="259"/>
                  </a:lnTo>
                  <a:lnTo>
                    <a:pt x="55" y="251"/>
                  </a:lnTo>
                  <a:lnTo>
                    <a:pt x="44" y="242"/>
                  </a:lnTo>
                  <a:lnTo>
                    <a:pt x="35" y="233"/>
                  </a:lnTo>
                  <a:lnTo>
                    <a:pt x="26" y="223"/>
                  </a:lnTo>
                  <a:lnTo>
                    <a:pt x="19" y="210"/>
                  </a:lnTo>
                  <a:lnTo>
                    <a:pt x="13" y="198"/>
                  </a:lnTo>
                  <a:lnTo>
                    <a:pt x="8" y="186"/>
                  </a:lnTo>
                  <a:lnTo>
                    <a:pt x="5" y="172"/>
                  </a:lnTo>
                  <a:lnTo>
                    <a:pt x="1" y="158"/>
                  </a:lnTo>
                  <a:lnTo>
                    <a:pt x="0" y="144"/>
                  </a:lnTo>
                  <a:lnTo>
                    <a:pt x="1" y="129"/>
                  </a:lnTo>
                  <a:lnTo>
                    <a:pt x="2" y="116"/>
                  </a:lnTo>
                  <a:lnTo>
                    <a:pt x="6" y="103"/>
                  </a:lnTo>
                  <a:lnTo>
                    <a:pt x="11" y="89"/>
                  </a:lnTo>
                  <a:lnTo>
                    <a:pt x="16" y="77"/>
                  </a:lnTo>
                  <a:lnTo>
                    <a:pt x="23" y="66"/>
                  </a:lnTo>
                  <a:lnTo>
                    <a:pt x="30" y="54"/>
                  </a:lnTo>
                  <a:lnTo>
                    <a:pt x="39" y="44"/>
                  </a:lnTo>
                  <a:lnTo>
                    <a:pt x="49" y="35"/>
                  </a:lnTo>
                  <a:lnTo>
                    <a:pt x="60" y="27"/>
                  </a:lnTo>
                  <a:lnTo>
                    <a:pt x="71" y="18"/>
                  </a:lnTo>
                  <a:lnTo>
                    <a:pt x="83" y="12"/>
                  </a:lnTo>
                  <a:lnTo>
                    <a:pt x="96" y="7"/>
                  </a:lnTo>
                  <a:lnTo>
                    <a:pt x="110" y="4"/>
                  </a:lnTo>
                  <a:lnTo>
                    <a:pt x="123" y="1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reeform 18"/>
            <p:cNvSpPr>
              <a:spLocks noEditPoints="1"/>
            </p:cNvSpPr>
            <p:nvPr/>
          </p:nvSpPr>
          <p:spPr bwMode="auto">
            <a:xfrm>
              <a:off x="3781425" y="2095500"/>
              <a:ext cx="492125" cy="454025"/>
            </a:xfrm>
            <a:custGeom>
              <a:avLst/>
              <a:gdLst>
                <a:gd name="T0" fmla="*/ 908 w 1548"/>
                <a:gd name="T1" fmla="*/ 1398 h 1433"/>
                <a:gd name="T2" fmla="*/ 857 w 1548"/>
                <a:gd name="T3" fmla="*/ 1398 h 1433"/>
                <a:gd name="T4" fmla="*/ 819 w 1548"/>
                <a:gd name="T5" fmla="*/ 1364 h 1433"/>
                <a:gd name="T6" fmla="*/ 812 w 1548"/>
                <a:gd name="T7" fmla="*/ 1032 h 1433"/>
                <a:gd name="T8" fmla="*/ 803 w 1548"/>
                <a:gd name="T9" fmla="*/ 1022 h 1433"/>
                <a:gd name="T10" fmla="*/ 883 w 1548"/>
                <a:gd name="T11" fmla="*/ 880 h 1433"/>
                <a:gd name="T12" fmla="*/ 916 w 1548"/>
                <a:gd name="T13" fmla="*/ 890 h 1433"/>
                <a:gd name="T14" fmla="*/ 940 w 1548"/>
                <a:gd name="T15" fmla="*/ 911 h 1433"/>
                <a:gd name="T16" fmla="*/ 953 w 1548"/>
                <a:gd name="T17" fmla="*/ 944 h 1433"/>
                <a:gd name="T18" fmla="*/ 958 w 1548"/>
                <a:gd name="T19" fmla="*/ 1127 h 1433"/>
                <a:gd name="T20" fmla="*/ 979 w 1548"/>
                <a:gd name="T21" fmla="*/ 1126 h 1433"/>
                <a:gd name="T22" fmla="*/ 1344 w 1548"/>
                <a:gd name="T23" fmla="*/ 707 h 1433"/>
                <a:gd name="T24" fmla="*/ 962 w 1548"/>
                <a:gd name="T25" fmla="*/ 305 h 1433"/>
                <a:gd name="T26" fmla="*/ 953 w 1548"/>
                <a:gd name="T27" fmla="*/ 483 h 1433"/>
                <a:gd name="T28" fmla="*/ 944 w 1548"/>
                <a:gd name="T29" fmla="*/ 516 h 1433"/>
                <a:gd name="T30" fmla="*/ 922 w 1548"/>
                <a:gd name="T31" fmla="*/ 541 h 1433"/>
                <a:gd name="T32" fmla="*/ 890 w 1548"/>
                <a:gd name="T33" fmla="*/ 552 h 1433"/>
                <a:gd name="T34" fmla="*/ 801 w 1548"/>
                <a:gd name="T35" fmla="*/ 413 h 1433"/>
                <a:gd name="T36" fmla="*/ 811 w 1548"/>
                <a:gd name="T37" fmla="*/ 403 h 1433"/>
                <a:gd name="T38" fmla="*/ 816 w 1548"/>
                <a:gd name="T39" fmla="*/ 79 h 1433"/>
                <a:gd name="T40" fmla="*/ 847 w 1548"/>
                <a:gd name="T41" fmla="*/ 39 h 1433"/>
                <a:gd name="T42" fmla="*/ 898 w 1548"/>
                <a:gd name="T43" fmla="*/ 32 h 1433"/>
                <a:gd name="T44" fmla="*/ 1500 w 1548"/>
                <a:gd name="T45" fmla="*/ 669 h 1433"/>
                <a:gd name="T46" fmla="*/ 1515 w 1548"/>
                <a:gd name="T47" fmla="*/ 698 h 1433"/>
                <a:gd name="T48" fmla="*/ 1517 w 1548"/>
                <a:gd name="T49" fmla="*/ 730 h 1433"/>
                <a:gd name="T50" fmla="*/ 1504 w 1548"/>
                <a:gd name="T51" fmla="*/ 759 h 1433"/>
                <a:gd name="T52" fmla="*/ 945 w 1548"/>
                <a:gd name="T53" fmla="*/ 22 h 1433"/>
                <a:gd name="T54" fmla="*/ 913 w 1548"/>
                <a:gd name="T55" fmla="*/ 4 h 1433"/>
                <a:gd name="T56" fmla="*/ 876 w 1548"/>
                <a:gd name="T57" fmla="*/ 0 h 1433"/>
                <a:gd name="T58" fmla="*/ 839 w 1548"/>
                <a:gd name="T59" fmla="*/ 11 h 1433"/>
                <a:gd name="T60" fmla="*/ 809 w 1548"/>
                <a:gd name="T61" fmla="*/ 32 h 1433"/>
                <a:gd name="T62" fmla="*/ 790 w 1548"/>
                <a:gd name="T63" fmla="*/ 63 h 1433"/>
                <a:gd name="T64" fmla="*/ 782 w 1548"/>
                <a:gd name="T65" fmla="*/ 100 h 1433"/>
                <a:gd name="T66" fmla="*/ 520 w 1548"/>
                <a:gd name="T67" fmla="*/ 386 h 1433"/>
                <a:gd name="T68" fmla="*/ 513 w 1548"/>
                <a:gd name="T69" fmla="*/ 398 h 1433"/>
                <a:gd name="T70" fmla="*/ 518 w 1548"/>
                <a:gd name="T71" fmla="*/ 579 h 1433"/>
                <a:gd name="T72" fmla="*/ 883 w 1548"/>
                <a:gd name="T73" fmla="*/ 583 h 1433"/>
                <a:gd name="T74" fmla="*/ 930 w 1548"/>
                <a:gd name="T75" fmla="*/ 571 h 1433"/>
                <a:gd name="T76" fmla="*/ 966 w 1548"/>
                <a:gd name="T77" fmla="*/ 539 h 1433"/>
                <a:gd name="T78" fmla="*/ 982 w 1548"/>
                <a:gd name="T79" fmla="*/ 494 h 1433"/>
                <a:gd name="T80" fmla="*/ 982 w 1548"/>
                <a:gd name="T81" fmla="*/ 951 h 1433"/>
                <a:gd name="T82" fmla="*/ 970 w 1548"/>
                <a:gd name="T83" fmla="*/ 903 h 1433"/>
                <a:gd name="T84" fmla="*/ 938 w 1548"/>
                <a:gd name="T85" fmla="*/ 868 h 1433"/>
                <a:gd name="T86" fmla="*/ 893 w 1548"/>
                <a:gd name="T87" fmla="*/ 852 h 1433"/>
                <a:gd name="T88" fmla="*/ 58 w 1548"/>
                <a:gd name="T89" fmla="*/ 857 h 1433"/>
                <a:gd name="T90" fmla="*/ 1 w 1548"/>
                <a:gd name="T91" fmla="*/ 1041 h 1433"/>
                <a:gd name="T92" fmla="*/ 16 w 1548"/>
                <a:gd name="T93" fmla="*/ 1051 h 1433"/>
                <a:gd name="T94" fmla="*/ 784 w 1548"/>
                <a:gd name="T95" fmla="*/ 1356 h 1433"/>
                <a:gd name="T96" fmla="*/ 800 w 1548"/>
                <a:gd name="T97" fmla="*/ 1390 h 1433"/>
                <a:gd name="T98" fmla="*/ 825 w 1548"/>
                <a:gd name="T99" fmla="*/ 1416 h 1433"/>
                <a:gd name="T100" fmla="*/ 864 w 1548"/>
                <a:gd name="T101" fmla="*/ 1431 h 1433"/>
                <a:gd name="T102" fmla="*/ 914 w 1548"/>
                <a:gd name="T103" fmla="*/ 1428 h 1433"/>
                <a:gd name="T104" fmla="*/ 956 w 1548"/>
                <a:gd name="T105" fmla="*/ 1402 h 1433"/>
                <a:gd name="T106" fmla="*/ 1542 w 1548"/>
                <a:gd name="T107" fmla="*/ 752 h 1433"/>
                <a:gd name="T108" fmla="*/ 1548 w 1548"/>
                <a:gd name="T109" fmla="*/ 708 h 1433"/>
                <a:gd name="T110" fmla="*/ 1533 w 1548"/>
                <a:gd name="T111" fmla="*/ 665 h 1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48" h="1433">
                  <a:moveTo>
                    <a:pt x="1500" y="765"/>
                  </a:moveTo>
                  <a:lnTo>
                    <a:pt x="934" y="1381"/>
                  </a:lnTo>
                  <a:lnTo>
                    <a:pt x="927" y="1388"/>
                  </a:lnTo>
                  <a:lnTo>
                    <a:pt x="918" y="1393"/>
                  </a:lnTo>
                  <a:lnTo>
                    <a:pt x="908" y="1398"/>
                  </a:lnTo>
                  <a:lnTo>
                    <a:pt x="898" y="1402"/>
                  </a:lnTo>
                  <a:lnTo>
                    <a:pt x="888" y="1403"/>
                  </a:lnTo>
                  <a:lnTo>
                    <a:pt x="878" y="1404"/>
                  </a:lnTo>
                  <a:lnTo>
                    <a:pt x="867" y="1402"/>
                  </a:lnTo>
                  <a:lnTo>
                    <a:pt x="857" y="1398"/>
                  </a:lnTo>
                  <a:lnTo>
                    <a:pt x="847" y="1394"/>
                  </a:lnTo>
                  <a:lnTo>
                    <a:pt x="839" y="1388"/>
                  </a:lnTo>
                  <a:lnTo>
                    <a:pt x="832" y="1381"/>
                  </a:lnTo>
                  <a:lnTo>
                    <a:pt x="824" y="1373"/>
                  </a:lnTo>
                  <a:lnTo>
                    <a:pt x="819" y="1364"/>
                  </a:lnTo>
                  <a:lnTo>
                    <a:pt x="816" y="1354"/>
                  </a:lnTo>
                  <a:lnTo>
                    <a:pt x="813" y="1344"/>
                  </a:lnTo>
                  <a:lnTo>
                    <a:pt x="813" y="1334"/>
                  </a:lnTo>
                  <a:lnTo>
                    <a:pt x="813" y="1035"/>
                  </a:lnTo>
                  <a:lnTo>
                    <a:pt x="812" y="1032"/>
                  </a:lnTo>
                  <a:lnTo>
                    <a:pt x="811" y="1030"/>
                  </a:lnTo>
                  <a:lnTo>
                    <a:pt x="810" y="1027"/>
                  </a:lnTo>
                  <a:lnTo>
                    <a:pt x="808" y="1025"/>
                  </a:lnTo>
                  <a:lnTo>
                    <a:pt x="806" y="1023"/>
                  </a:lnTo>
                  <a:lnTo>
                    <a:pt x="803" y="1022"/>
                  </a:lnTo>
                  <a:lnTo>
                    <a:pt x="801" y="1021"/>
                  </a:lnTo>
                  <a:lnTo>
                    <a:pt x="798" y="1021"/>
                  </a:lnTo>
                  <a:lnTo>
                    <a:pt x="36" y="1021"/>
                  </a:lnTo>
                  <a:lnTo>
                    <a:pt x="81" y="880"/>
                  </a:lnTo>
                  <a:lnTo>
                    <a:pt x="883" y="880"/>
                  </a:lnTo>
                  <a:lnTo>
                    <a:pt x="890" y="881"/>
                  </a:lnTo>
                  <a:lnTo>
                    <a:pt x="897" y="882"/>
                  </a:lnTo>
                  <a:lnTo>
                    <a:pt x="903" y="884"/>
                  </a:lnTo>
                  <a:lnTo>
                    <a:pt x="909" y="887"/>
                  </a:lnTo>
                  <a:lnTo>
                    <a:pt x="916" y="890"/>
                  </a:lnTo>
                  <a:lnTo>
                    <a:pt x="922" y="893"/>
                  </a:lnTo>
                  <a:lnTo>
                    <a:pt x="927" y="897"/>
                  </a:lnTo>
                  <a:lnTo>
                    <a:pt x="932" y="901"/>
                  </a:lnTo>
                  <a:lnTo>
                    <a:pt x="936" y="906"/>
                  </a:lnTo>
                  <a:lnTo>
                    <a:pt x="940" y="911"/>
                  </a:lnTo>
                  <a:lnTo>
                    <a:pt x="944" y="917"/>
                  </a:lnTo>
                  <a:lnTo>
                    <a:pt x="947" y="924"/>
                  </a:lnTo>
                  <a:lnTo>
                    <a:pt x="949" y="930"/>
                  </a:lnTo>
                  <a:lnTo>
                    <a:pt x="952" y="937"/>
                  </a:lnTo>
                  <a:lnTo>
                    <a:pt x="953" y="944"/>
                  </a:lnTo>
                  <a:lnTo>
                    <a:pt x="953" y="951"/>
                  </a:lnTo>
                  <a:lnTo>
                    <a:pt x="953" y="1115"/>
                  </a:lnTo>
                  <a:lnTo>
                    <a:pt x="954" y="1119"/>
                  </a:lnTo>
                  <a:lnTo>
                    <a:pt x="956" y="1124"/>
                  </a:lnTo>
                  <a:lnTo>
                    <a:pt x="958" y="1127"/>
                  </a:lnTo>
                  <a:lnTo>
                    <a:pt x="962" y="1129"/>
                  </a:lnTo>
                  <a:lnTo>
                    <a:pt x="967" y="1130"/>
                  </a:lnTo>
                  <a:lnTo>
                    <a:pt x="971" y="1130"/>
                  </a:lnTo>
                  <a:lnTo>
                    <a:pt x="975" y="1129"/>
                  </a:lnTo>
                  <a:lnTo>
                    <a:pt x="979" y="1126"/>
                  </a:lnTo>
                  <a:lnTo>
                    <a:pt x="1344" y="727"/>
                  </a:lnTo>
                  <a:lnTo>
                    <a:pt x="1347" y="722"/>
                  </a:lnTo>
                  <a:lnTo>
                    <a:pt x="1348" y="717"/>
                  </a:lnTo>
                  <a:lnTo>
                    <a:pt x="1347" y="711"/>
                  </a:lnTo>
                  <a:lnTo>
                    <a:pt x="1344" y="707"/>
                  </a:lnTo>
                  <a:lnTo>
                    <a:pt x="979" y="308"/>
                  </a:lnTo>
                  <a:lnTo>
                    <a:pt x="975" y="306"/>
                  </a:lnTo>
                  <a:lnTo>
                    <a:pt x="971" y="304"/>
                  </a:lnTo>
                  <a:lnTo>
                    <a:pt x="967" y="304"/>
                  </a:lnTo>
                  <a:lnTo>
                    <a:pt x="962" y="305"/>
                  </a:lnTo>
                  <a:lnTo>
                    <a:pt x="958" y="307"/>
                  </a:lnTo>
                  <a:lnTo>
                    <a:pt x="956" y="310"/>
                  </a:lnTo>
                  <a:lnTo>
                    <a:pt x="954" y="314"/>
                  </a:lnTo>
                  <a:lnTo>
                    <a:pt x="953" y="318"/>
                  </a:lnTo>
                  <a:lnTo>
                    <a:pt x="953" y="483"/>
                  </a:lnTo>
                  <a:lnTo>
                    <a:pt x="953" y="491"/>
                  </a:lnTo>
                  <a:lnTo>
                    <a:pt x="952" y="497"/>
                  </a:lnTo>
                  <a:lnTo>
                    <a:pt x="949" y="504"/>
                  </a:lnTo>
                  <a:lnTo>
                    <a:pt x="947" y="510"/>
                  </a:lnTo>
                  <a:lnTo>
                    <a:pt x="944" y="516"/>
                  </a:lnTo>
                  <a:lnTo>
                    <a:pt x="940" y="522"/>
                  </a:lnTo>
                  <a:lnTo>
                    <a:pt x="936" y="528"/>
                  </a:lnTo>
                  <a:lnTo>
                    <a:pt x="932" y="533"/>
                  </a:lnTo>
                  <a:lnTo>
                    <a:pt x="927" y="537"/>
                  </a:lnTo>
                  <a:lnTo>
                    <a:pt x="922" y="541"/>
                  </a:lnTo>
                  <a:lnTo>
                    <a:pt x="916" y="545"/>
                  </a:lnTo>
                  <a:lnTo>
                    <a:pt x="909" y="547"/>
                  </a:lnTo>
                  <a:lnTo>
                    <a:pt x="903" y="550"/>
                  </a:lnTo>
                  <a:lnTo>
                    <a:pt x="897" y="551"/>
                  </a:lnTo>
                  <a:lnTo>
                    <a:pt x="890" y="552"/>
                  </a:lnTo>
                  <a:lnTo>
                    <a:pt x="883" y="553"/>
                  </a:lnTo>
                  <a:lnTo>
                    <a:pt x="543" y="553"/>
                  </a:lnTo>
                  <a:lnTo>
                    <a:pt x="543" y="413"/>
                  </a:lnTo>
                  <a:lnTo>
                    <a:pt x="798" y="413"/>
                  </a:lnTo>
                  <a:lnTo>
                    <a:pt x="801" y="413"/>
                  </a:lnTo>
                  <a:lnTo>
                    <a:pt x="803" y="412"/>
                  </a:lnTo>
                  <a:lnTo>
                    <a:pt x="806" y="411"/>
                  </a:lnTo>
                  <a:lnTo>
                    <a:pt x="808" y="409"/>
                  </a:lnTo>
                  <a:lnTo>
                    <a:pt x="810" y="407"/>
                  </a:lnTo>
                  <a:lnTo>
                    <a:pt x="811" y="403"/>
                  </a:lnTo>
                  <a:lnTo>
                    <a:pt x="812" y="401"/>
                  </a:lnTo>
                  <a:lnTo>
                    <a:pt x="813" y="398"/>
                  </a:lnTo>
                  <a:lnTo>
                    <a:pt x="813" y="100"/>
                  </a:lnTo>
                  <a:lnTo>
                    <a:pt x="813" y="90"/>
                  </a:lnTo>
                  <a:lnTo>
                    <a:pt x="816" y="79"/>
                  </a:lnTo>
                  <a:lnTo>
                    <a:pt x="819" y="70"/>
                  </a:lnTo>
                  <a:lnTo>
                    <a:pt x="824" y="61"/>
                  </a:lnTo>
                  <a:lnTo>
                    <a:pt x="832" y="53"/>
                  </a:lnTo>
                  <a:lnTo>
                    <a:pt x="839" y="45"/>
                  </a:lnTo>
                  <a:lnTo>
                    <a:pt x="847" y="39"/>
                  </a:lnTo>
                  <a:lnTo>
                    <a:pt x="857" y="35"/>
                  </a:lnTo>
                  <a:lnTo>
                    <a:pt x="867" y="32"/>
                  </a:lnTo>
                  <a:lnTo>
                    <a:pt x="878" y="30"/>
                  </a:lnTo>
                  <a:lnTo>
                    <a:pt x="888" y="30"/>
                  </a:lnTo>
                  <a:lnTo>
                    <a:pt x="898" y="32"/>
                  </a:lnTo>
                  <a:lnTo>
                    <a:pt x="908" y="35"/>
                  </a:lnTo>
                  <a:lnTo>
                    <a:pt x="918" y="39"/>
                  </a:lnTo>
                  <a:lnTo>
                    <a:pt x="926" y="45"/>
                  </a:lnTo>
                  <a:lnTo>
                    <a:pt x="934" y="53"/>
                  </a:lnTo>
                  <a:lnTo>
                    <a:pt x="1500" y="669"/>
                  </a:lnTo>
                  <a:lnTo>
                    <a:pt x="1504" y="674"/>
                  </a:lnTo>
                  <a:lnTo>
                    <a:pt x="1508" y="680"/>
                  </a:lnTo>
                  <a:lnTo>
                    <a:pt x="1511" y="686"/>
                  </a:lnTo>
                  <a:lnTo>
                    <a:pt x="1513" y="692"/>
                  </a:lnTo>
                  <a:lnTo>
                    <a:pt x="1515" y="698"/>
                  </a:lnTo>
                  <a:lnTo>
                    <a:pt x="1517" y="704"/>
                  </a:lnTo>
                  <a:lnTo>
                    <a:pt x="1518" y="710"/>
                  </a:lnTo>
                  <a:lnTo>
                    <a:pt x="1518" y="717"/>
                  </a:lnTo>
                  <a:lnTo>
                    <a:pt x="1518" y="723"/>
                  </a:lnTo>
                  <a:lnTo>
                    <a:pt x="1517" y="730"/>
                  </a:lnTo>
                  <a:lnTo>
                    <a:pt x="1515" y="736"/>
                  </a:lnTo>
                  <a:lnTo>
                    <a:pt x="1513" y="742"/>
                  </a:lnTo>
                  <a:lnTo>
                    <a:pt x="1511" y="748"/>
                  </a:lnTo>
                  <a:lnTo>
                    <a:pt x="1508" y="753"/>
                  </a:lnTo>
                  <a:lnTo>
                    <a:pt x="1504" y="759"/>
                  </a:lnTo>
                  <a:lnTo>
                    <a:pt x="1500" y="765"/>
                  </a:lnTo>
                  <a:close/>
                  <a:moveTo>
                    <a:pt x="1521" y="650"/>
                  </a:moveTo>
                  <a:lnTo>
                    <a:pt x="956" y="33"/>
                  </a:lnTo>
                  <a:lnTo>
                    <a:pt x="950" y="27"/>
                  </a:lnTo>
                  <a:lnTo>
                    <a:pt x="945" y="22"/>
                  </a:lnTo>
                  <a:lnTo>
                    <a:pt x="939" y="18"/>
                  </a:lnTo>
                  <a:lnTo>
                    <a:pt x="932" y="14"/>
                  </a:lnTo>
                  <a:lnTo>
                    <a:pt x="926" y="11"/>
                  </a:lnTo>
                  <a:lnTo>
                    <a:pt x="920" y="7"/>
                  </a:lnTo>
                  <a:lnTo>
                    <a:pt x="913" y="4"/>
                  </a:lnTo>
                  <a:lnTo>
                    <a:pt x="905" y="2"/>
                  </a:lnTo>
                  <a:lnTo>
                    <a:pt x="898" y="1"/>
                  </a:lnTo>
                  <a:lnTo>
                    <a:pt x="891" y="0"/>
                  </a:lnTo>
                  <a:lnTo>
                    <a:pt x="883" y="0"/>
                  </a:lnTo>
                  <a:lnTo>
                    <a:pt x="876" y="0"/>
                  </a:lnTo>
                  <a:lnTo>
                    <a:pt x="868" y="1"/>
                  </a:lnTo>
                  <a:lnTo>
                    <a:pt x="861" y="2"/>
                  </a:lnTo>
                  <a:lnTo>
                    <a:pt x="853" y="4"/>
                  </a:lnTo>
                  <a:lnTo>
                    <a:pt x="846" y="7"/>
                  </a:lnTo>
                  <a:lnTo>
                    <a:pt x="839" y="11"/>
                  </a:lnTo>
                  <a:lnTo>
                    <a:pt x="833" y="14"/>
                  </a:lnTo>
                  <a:lnTo>
                    <a:pt x="825" y="18"/>
                  </a:lnTo>
                  <a:lnTo>
                    <a:pt x="820" y="22"/>
                  </a:lnTo>
                  <a:lnTo>
                    <a:pt x="814" y="27"/>
                  </a:lnTo>
                  <a:lnTo>
                    <a:pt x="809" y="32"/>
                  </a:lnTo>
                  <a:lnTo>
                    <a:pt x="804" y="38"/>
                  </a:lnTo>
                  <a:lnTo>
                    <a:pt x="800" y="43"/>
                  </a:lnTo>
                  <a:lnTo>
                    <a:pt x="796" y="50"/>
                  </a:lnTo>
                  <a:lnTo>
                    <a:pt x="793" y="57"/>
                  </a:lnTo>
                  <a:lnTo>
                    <a:pt x="790" y="63"/>
                  </a:lnTo>
                  <a:lnTo>
                    <a:pt x="786" y="70"/>
                  </a:lnTo>
                  <a:lnTo>
                    <a:pt x="784" y="77"/>
                  </a:lnTo>
                  <a:lnTo>
                    <a:pt x="783" y="85"/>
                  </a:lnTo>
                  <a:lnTo>
                    <a:pt x="782" y="93"/>
                  </a:lnTo>
                  <a:lnTo>
                    <a:pt x="782" y="100"/>
                  </a:lnTo>
                  <a:lnTo>
                    <a:pt x="782" y="383"/>
                  </a:lnTo>
                  <a:lnTo>
                    <a:pt x="528" y="383"/>
                  </a:lnTo>
                  <a:lnTo>
                    <a:pt x="525" y="383"/>
                  </a:lnTo>
                  <a:lnTo>
                    <a:pt x="522" y="384"/>
                  </a:lnTo>
                  <a:lnTo>
                    <a:pt x="520" y="386"/>
                  </a:lnTo>
                  <a:lnTo>
                    <a:pt x="518" y="387"/>
                  </a:lnTo>
                  <a:lnTo>
                    <a:pt x="516" y="390"/>
                  </a:lnTo>
                  <a:lnTo>
                    <a:pt x="514" y="392"/>
                  </a:lnTo>
                  <a:lnTo>
                    <a:pt x="514" y="395"/>
                  </a:lnTo>
                  <a:lnTo>
                    <a:pt x="513" y="398"/>
                  </a:lnTo>
                  <a:lnTo>
                    <a:pt x="513" y="568"/>
                  </a:lnTo>
                  <a:lnTo>
                    <a:pt x="514" y="571"/>
                  </a:lnTo>
                  <a:lnTo>
                    <a:pt x="514" y="574"/>
                  </a:lnTo>
                  <a:lnTo>
                    <a:pt x="516" y="577"/>
                  </a:lnTo>
                  <a:lnTo>
                    <a:pt x="518" y="579"/>
                  </a:lnTo>
                  <a:lnTo>
                    <a:pt x="520" y="581"/>
                  </a:lnTo>
                  <a:lnTo>
                    <a:pt x="522" y="582"/>
                  </a:lnTo>
                  <a:lnTo>
                    <a:pt x="525" y="583"/>
                  </a:lnTo>
                  <a:lnTo>
                    <a:pt x="528" y="583"/>
                  </a:lnTo>
                  <a:lnTo>
                    <a:pt x="883" y="583"/>
                  </a:lnTo>
                  <a:lnTo>
                    <a:pt x="893" y="583"/>
                  </a:lnTo>
                  <a:lnTo>
                    <a:pt x="902" y="581"/>
                  </a:lnTo>
                  <a:lnTo>
                    <a:pt x="913" y="579"/>
                  </a:lnTo>
                  <a:lnTo>
                    <a:pt x="922" y="575"/>
                  </a:lnTo>
                  <a:lnTo>
                    <a:pt x="930" y="571"/>
                  </a:lnTo>
                  <a:lnTo>
                    <a:pt x="938" y="566"/>
                  </a:lnTo>
                  <a:lnTo>
                    <a:pt x="946" y="560"/>
                  </a:lnTo>
                  <a:lnTo>
                    <a:pt x="954" y="553"/>
                  </a:lnTo>
                  <a:lnTo>
                    <a:pt x="960" y="547"/>
                  </a:lnTo>
                  <a:lnTo>
                    <a:pt x="966" y="539"/>
                  </a:lnTo>
                  <a:lnTo>
                    <a:pt x="970" y="531"/>
                  </a:lnTo>
                  <a:lnTo>
                    <a:pt x="975" y="521"/>
                  </a:lnTo>
                  <a:lnTo>
                    <a:pt x="978" y="513"/>
                  </a:lnTo>
                  <a:lnTo>
                    <a:pt x="980" y="503"/>
                  </a:lnTo>
                  <a:lnTo>
                    <a:pt x="982" y="494"/>
                  </a:lnTo>
                  <a:lnTo>
                    <a:pt x="982" y="483"/>
                  </a:lnTo>
                  <a:lnTo>
                    <a:pt x="982" y="357"/>
                  </a:lnTo>
                  <a:lnTo>
                    <a:pt x="1312" y="717"/>
                  </a:lnTo>
                  <a:lnTo>
                    <a:pt x="982" y="1076"/>
                  </a:lnTo>
                  <a:lnTo>
                    <a:pt x="982" y="951"/>
                  </a:lnTo>
                  <a:lnTo>
                    <a:pt x="982" y="941"/>
                  </a:lnTo>
                  <a:lnTo>
                    <a:pt x="980" y="931"/>
                  </a:lnTo>
                  <a:lnTo>
                    <a:pt x="978" y="921"/>
                  </a:lnTo>
                  <a:lnTo>
                    <a:pt x="975" y="912"/>
                  </a:lnTo>
                  <a:lnTo>
                    <a:pt x="970" y="903"/>
                  </a:lnTo>
                  <a:lnTo>
                    <a:pt x="966" y="895"/>
                  </a:lnTo>
                  <a:lnTo>
                    <a:pt x="960" y="888"/>
                  </a:lnTo>
                  <a:lnTo>
                    <a:pt x="954" y="880"/>
                  </a:lnTo>
                  <a:lnTo>
                    <a:pt x="946" y="873"/>
                  </a:lnTo>
                  <a:lnTo>
                    <a:pt x="938" y="868"/>
                  </a:lnTo>
                  <a:lnTo>
                    <a:pt x="930" y="863"/>
                  </a:lnTo>
                  <a:lnTo>
                    <a:pt x="922" y="859"/>
                  </a:lnTo>
                  <a:lnTo>
                    <a:pt x="913" y="855"/>
                  </a:lnTo>
                  <a:lnTo>
                    <a:pt x="902" y="853"/>
                  </a:lnTo>
                  <a:lnTo>
                    <a:pt x="893" y="852"/>
                  </a:lnTo>
                  <a:lnTo>
                    <a:pt x="883" y="851"/>
                  </a:lnTo>
                  <a:lnTo>
                    <a:pt x="70" y="851"/>
                  </a:lnTo>
                  <a:lnTo>
                    <a:pt x="66" y="852"/>
                  </a:lnTo>
                  <a:lnTo>
                    <a:pt x="62" y="854"/>
                  </a:lnTo>
                  <a:lnTo>
                    <a:pt x="58" y="857"/>
                  </a:lnTo>
                  <a:lnTo>
                    <a:pt x="56" y="861"/>
                  </a:lnTo>
                  <a:lnTo>
                    <a:pt x="1" y="1031"/>
                  </a:lnTo>
                  <a:lnTo>
                    <a:pt x="0" y="1034"/>
                  </a:lnTo>
                  <a:lnTo>
                    <a:pt x="0" y="1038"/>
                  </a:lnTo>
                  <a:lnTo>
                    <a:pt x="1" y="1041"/>
                  </a:lnTo>
                  <a:lnTo>
                    <a:pt x="3" y="1045"/>
                  </a:lnTo>
                  <a:lnTo>
                    <a:pt x="5" y="1047"/>
                  </a:lnTo>
                  <a:lnTo>
                    <a:pt x="9" y="1049"/>
                  </a:lnTo>
                  <a:lnTo>
                    <a:pt x="12" y="1051"/>
                  </a:lnTo>
                  <a:lnTo>
                    <a:pt x="16" y="1051"/>
                  </a:lnTo>
                  <a:lnTo>
                    <a:pt x="782" y="1051"/>
                  </a:lnTo>
                  <a:lnTo>
                    <a:pt x="782" y="1334"/>
                  </a:lnTo>
                  <a:lnTo>
                    <a:pt x="782" y="1341"/>
                  </a:lnTo>
                  <a:lnTo>
                    <a:pt x="783" y="1349"/>
                  </a:lnTo>
                  <a:lnTo>
                    <a:pt x="784" y="1356"/>
                  </a:lnTo>
                  <a:lnTo>
                    <a:pt x="786" y="1364"/>
                  </a:lnTo>
                  <a:lnTo>
                    <a:pt x="790" y="1371"/>
                  </a:lnTo>
                  <a:lnTo>
                    <a:pt x="793" y="1377"/>
                  </a:lnTo>
                  <a:lnTo>
                    <a:pt x="796" y="1384"/>
                  </a:lnTo>
                  <a:lnTo>
                    <a:pt x="800" y="1390"/>
                  </a:lnTo>
                  <a:lnTo>
                    <a:pt x="804" y="1395"/>
                  </a:lnTo>
                  <a:lnTo>
                    <a:pt x="809" y="1402"/>
                  </a:lnTo>
                  <a:lnTo>
                    <a:pt x="814" y="1407"/>
                  </a:lnTo>
                  <a:lnTo>
                    <a:pt x="820" y="1412"/>
                  </a:lnTo>
                  <a:lnTo>
                    <a:pt x="825" y="1416"/>
                  </a:lnTo>
                  <a:lnTo>
                    <a:pt x="833" y="1420"/>
                  </a:lnTo>
                  <a:lnTo>
                    <a:pt x="839" y="1423"/>
                  </a:lnTo>
                  <a:lnTo>
                    <a:pt x="846" y="1426"/>
                  </a:lnTo>
                  <a:lnTo>
                    <a:pt x="855" y="1429"/>
                  </a:lnTo>
                  <a:lnTo>
                    <a:pt x="864" y="1431"/>
                  </a:lnTo>
                  <a:lnTo>
                    <a:pt x="874" y="1433"/>
                  </a:lnTo>
                  <a:lnTo>
                    <a:pt x="883" y="1433"/>
                  </a:lnTo>
                  <a:lnTo>
                    <a:pt x="893" y="1433"/>
                  </a:lnTo>
                  <a:lnTo>
                    <a:pt x="903" y="1431"/>
                  </a:lnTo>
                  <a:lnTo>
                    <a:pt x="914" y="1428"/>
                  </a:lnTo>
                  <a:lnTo>
                    <a:pt x="923" y="1425"/>
                  </a:lnTo>
                  <a:lnTo>
                    <a:pt x="932" y="1420"/>
                  </a:lnTo>
                  <a:lnTo>
                    <a:pt x="940" y="1415"/>
                  </a:lnTo>
                  <a:lnTo>
                    <a:pt x="948" y="1409"/>
                  </a:lnTo>
                  <a:lnTo>
                    <a:pt x="956" y="1402"/>
                  </a:lnTo>
                  <a:lnTo>
                    <a:pt x="1521" y="784"/>
                  </a:lnTo>
                  <a:lnTo>
                    <a:pt x="1528" y="777"/>
                  </a:lnTo>
                  <a:lnTo>
                    <a:pt x="1533" y="770"/>
                  </a:lnTo>
                  <a:lnTo>
                    <a:pt x="1538" y="761"/>
                  </a:lnTo>
                  <a:lnTo>
                    <a:pt x="1542" y="752"/>
                  </a:lnTo>
                  <a:lnTo>
                    <a:pt x="1544" y="744"/>
                  </a:lnTo>
                  <a:lnTo>
                    <a:pt x="1546" y="735"/>
                  </a:lnTo>
                  <a:lnTo>
                    <a:pt x="1548" y="726"/>
                  </a:lnTo>
                  <a:lnTo>
                    <a:pt x="1548" y="717"/>
                  </a:lnTo>
                  <a:lnTo>
                    <a:pt x="1548" y="708"/>
                  </a:lnTo>
                  <a:lnTo>
                    <a:pt x="1546" y="699"/>
                  </a:lnTo>
                  <a:lnTo>
                    <a:pt x="1544" y="690"/>
                  </a:lnTo>
                  <a:lnTo>
                    <a:pt x="1542" y="681"/>
                  </a:lnTo>
                  <a:lnTo>
                    <a:pt x="1538" y="673"/>
                  </a:lnTo>
                  <a:lnTo>
                    <a:pt x="1533" y="665"/>
                  </a:lnTo>
                  <a:lnTo>
                    <a:pt x="1528" y="657"/>
                  </a:lnTo>
                  <a:lnTo>
                    <a:pt x="1521" y="65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reeform 19"/>
            <p:cNvSpPr>
              <a:spLocks noEditPoints="1"/>
            </p:cNvSpPr>
            <p:nvPr/>
          </p:nvSpPr>
          <p:spPr bwMode="auto">
            <a:xfrm>
              <a:off x="3625850" y="2125663"/>
              <a:ext cx="169863" cy="169863"/>
            </a:xfrm>
            <a:custGeom>
              <a:avLst/>
              <a:gdLst>
                <a:gd name="T0" fmla="*/ 432 w 536"/>
                <a:gd name="T1" fmla="*/ 442 h 537"/>
                <a:gd name="T2" fmla="*/ 395 w 536"/>
                <a:gd name="T3" fmla="*/ 471 h 537"/>
                <a:gd name="T4" fmla="*/ 354 w 536"/>
                <a:gd name="T5" fmla="*/ 491 h 537"/>
                <a:gd name="T6" fmla="*/ 309 w 536"/>
                <a:gd name="T7" fmla="*/ 503 h 537"/>
                <a:gd name="T8" fmla="*/ 261 w 536"/>
                <a:gd name="T9" fmla="*/ 507 h 537"/>
                <a:gd name="T10" fmla="*/ 215 w 536"/>
                <a:gd name="T11" fmla="*/ 501 h 537"/>
                <a:gd name="T12" fmla="*/ 170 w 536"/>
                <a:gd name="T13" fmla="*/ 486 h 537"/>
                <a:gd name="T14" fmla="*/ 130 w 536"/>
                <a:gd name="T15" fmla="*/ 463 h 537"/>
                <a:gd name="T16" fmla="*/ 97 w 536"/>
                <a:gd name="T17" fmla="*/ 433 h 537"/>
                <a:gd name="T18" fmla="*/ 68 w 536"/>
                <a:gd name="T19" fmla="*/ 397 h 537"/>
                <a:gd name="T20" fmla="*/ 46 w 536"/>
                <a:gd name="T21" fmla="*/ 356 h 537"/>
                <a:gd name="T22" fmla="*/ 34 w 536"/>
                <a:gd name="T23" fmla="*/ 310 h 537"/>
                <a:gd name="T24" fmla="*/ 30 w 536"/>
                <a:gd name="T25" fmla="*/ 260 h 537"/>
                <a:gd name="T26" fmla="*/ 36 w 536"/>
                <a:gd name="T27" fmla="*/ 214 h 537"/>
                <a:gd name="T28" fmla="*/ 52 w 536"/>
                <a:gd name="T29" fmla="*/ 170 h 537"/>
                <a:gd name="T30" fmla="*/ 74 w 536"/>
                <a:gd name="T31" fmla="*/ 131 h 537"/>
                <a:gd name="T32" fmla="*/ 105 w 536"/>
                <a:gd name="T33" fmla="*/ 96 h 537"/>
                <a:gd name="T34" fmla="*/ 141 w 536"/>
                <a:gd name="T35" fmla="*/ 67 h 537"/>
                <a:gd name="T36" fmla="*/ 183 w 536"/>
                <a:gd name="T37" fmla="*/ 47 h 537"/>
                <a:gd name="T38" fmla="*/ 229 w 536"/>
                <a:gd name="T39" fmla="*/ 34 h 537"/>
                <a:gd name="T40" fmla="*/ 291 w 536"/>
                <a:gd name="T41" fmla="*/ 32 h 537"/>
                <a:gd name="T42" fmla="*/ 373 w 536"/>
                <a:gd name="T43" fmla="*/ 54 h 537"/>
                <a:gd name="T44" fmla="*/ 441 w 536"/>
                <a:gd name="T45" fmla="*/ 104 h 537"/>
                <a:gd name="T46" fmla="*/ 488 w 536"/>
                <a:gd name="T47" fmla="*/ 175 h 537"/>
                <a:gd name="T48" fmla="*/ 504 w 536"/>
                <a:gd name="T49" fmla="*/ 228 h 537"/>
                <a:gd name="T50" fmla="*/ 507 w 536"/>
                <a:gd name="T51" fmla="*/ 275 h 537"/>
                <a:gd name="T52" fmla="*/ 502 w 536"/>
                <a:gd name="T53" fmla="*/ 321 h 537"/>
                <a:gd name="T54" fmla="*/ 486 w 536"/>
                <a:gd name="T55" fmla="*/ 365 h 537"/>
                <a:gd name="T56" fmla="*/ 464 w 536"/>
                <a:gd name="T57" fmla="*/ 406 h 537"/>
                <a:gd name="T58" fmla="*/ 209 w 536"/>
                <a:gd name="T59" fmla="*/ 7 h 537"/>
                <a:gd name="T60" fmla="*/ 159 w 536"/>
                <a:gd name="T61" fmla="*/ 23 h 537"/>
                <a:gd name="T62" fmla="*/ 114 w 536"/>
                <a:gd name="T63" fmla="*/ 50 h 537"/>
                <a:gd name="T64" fmla="*/ 75 w 536"/>
                <a:gd name="T65" fmla="*/ 84 h 537"/>
                <a:gd name="T66" fmla="*/ 43 w 536"/>
                <a:gd name="T67" fmla="*/ 124 h 537"/>
                <a:gd name="T68" fmla="*/ 20 w 536"/>
                <a:gd name="T69" fmla="*/ 170 h 537"/>
                <a:gd name="T70" fmla="*/ 4 w 536"/>
                <a:gd name="T71" fmla="*/ 220 h 537"/>
                <a:gd name="T72" fmla="*/ 0 w 536"/>
                <a:gd name="T73" fmla="*/ 274 h 537"/>
                <a:gd name="T74" fmla="*/ 6 w 536"/>
                <a:gd name="T75" fmla="*/ 326 h 537"/>
                <a:gd name="T76" fmla="*/ 22 w 536"/>
                <a:gd name="T77" fmla="*/ 373 h 537"/>
                <a:gd name="T78" fmla="*/ 44 w 536"/>
                <a:gd name="T79" fmla="*/ 416 h 537"/>
                <a:gd name="T80" fmla="*/ 74 w 536"/>
                <a:gd name="T81" fmla="*/ 453 h 537"/>
                <a:gd name="T82" fmla="*/ 110 w 536"/>
                <a:gd name="T83" fmla="*/ 485 h 537"/>
                <a:gd name="T84" fmla="*/ 151 w 536"/>
                <a:gd name="T85" fmla="*/ 510 h 537"/>
                <a:gd name="T86" fmla="*/ 196 w 536"/>
                <a:gd name="T87" fmla="*/ 527 h 537"/>
                <a:gd name="T88" fmla="*/ 244 w 536"/>
                <a:gd name="T89" fmla="*/ 536 h 537"/>
                <a:gd name="T90" fmla="*/ 285 w 536"/>
                <a:gd name="T91" fmla="*/ 537 h 537"/>
                <a:gd name="T92" fmla="*/ 327 w 536"/>
                <a:gd name="T93" fmla="*/ 531 h 537"/>
                <a:gd name="T94" fmla="*/ 377 w 536"/>
                <a:gd name="T95" fmla="*/ 515 h 537"/>
                <a:gd name="T96" fmla="*/ 423 w 536"/>
                <a:gd name="T97" fmla="*/ 489 h 537"/>
                <a:gd name="T98" fmla="*/ 463 w 536"/>
                <a:gd name="T99" fmla="*/ 454 h 537"/>
                <a:gd name="T100" fmla="*/ 495 w 536"/>
                <a:gd name="T101" fmla="*/ 412 h 537"/>
                <a:gd name="T102" fmla="*/ 519 w 536"/>
                <a:gd name="T103" fmla="*/ 365 h 537"/>
                <a:gd name="T104" fmla="*/ 533 w 536"/>
                <a:gd name="T105" fmla="*/ 315 h 537"/>
                <a:gd name="T106" fmla="*/ 536 w 536"/>
                <a:gd name="T107" fmla="*/ 262 h 537"/>
                <a:gd name="T108" fmla="*/ 530 w 536"/>
                <a:gd name="T109" fmla="*/ 209 h 537"/>
                <a:gd name="T110" fmla="*/ 514 w 536"/>
                <a:gd name="T111" fmla="*/ 159 h 537"/>
                <a:gd name="T112" fmla="*/ 487 w 536"/>
                <a:gd name="T113" fmla="*/ 114 h 537"/>
                <a:gd name="T114" fmla="*/ 453 w 536"/>
                <a:gd name="T115" fmla="*/ 75 h 537"/>
                <a:gd name="T116" fmla="*/ 413 w 536"/>
                <a:gd name="T117" fmla="*/ 43 h 537"/>
                <a:gd name="T118" fmla="*/ 367 w 536"/>
                <a:gd name="T119" fmla="*/ 19 h 537"/>
                <a:gd name="T120" fmla="*/ 317 w 536"/>
                <a:gd name="T121" fmla="*/ 5 h 537"/>
                <a:gd name="T122" fmla="*/ 264 w 536"/>
                <a:gd name="T123" fmla="*/ 0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6" h="537">
                  <a:moveTo>
                    <a:pt x="456" y="415"/>
                  </a:moveTo>
                  <a:lnTo>
                    <a:pt x="448" y="424"/>
                  </a:lnTo>
                  <a:lnTo>
                    <a:pt x="441" y="434"/>
                  </a:lnTo>
                  <a:lnTo>
                    <a:pt x="432" y="442"/>
                  </a:lnTo>
                  <a:lnTo>
                    <a:pt x="424" y="450"/>
                  </a:lnTo>
                  <a:lnTo>
                    <a:pt x="414" y="457"/>
                  </a:lnTo>
                  <a:lnTo>
                    <a:pt x="405" y="464"/>
                  </a:lnTo>
                  <a:lnTo>
                    <a:pt x="395" y="471"/>
                  </a:lnTo>
                  <a:lnTo>
                    <a:pt x="386" y="477"/>
                  </a:lnTo>
                  <a:lnTo>
                    <a:pt x="375" y="482"/>
                  </a:lnTo>
                  <a:lnTo>
                    <a:pt x="365" y="487"/>
                  </a:lnTo>
                  <a:lnTo>
                    <a:pt x="354" y="491"/>
                  </a:lnTo>
                  <a:lnTo>
                    <a:pt x="343" y="495"/>
                  </a:lnTo>
                  <a:lnTo>
                    <a:pt x="332" y="498"/>
                  </a:lnTo>
                  <a:lnTo>
                    <a:pt x="320" y="501"/>
                  </a:lnTo>
                  <a:lnTo>
                    <a:pt x="309" y="503"/>
                  </a:lnTo>
                  <a:lnTo>
                    <a:pt x="298" y="505"/>
                  </a:lnTo>
                  <a:lnTo>
                    <a:pt x="285" y="506"/>
                  </a:lnTo>
                  <a:lnTo>
                    <a:pt x="273" y="507"/>
                  </a:lnTo>
                  <a:lnTo>
                    <a:pt x="261" y="507"/>
                  </a:lnTo>
                  <a:lnTo>
                    <a:pt x="249" y="506"/>
                  </a:lnTo>
                  <a:lnTo>
                    <a:pt x="237" y="505"/>
                  </a:lnTo>
                  <a:lnTo>
                    <a:pt x="226" y="503"/>
                  </a:lnTo>
                  <a:lnTo>
                    <a:pt x="215" y="501"/>
                  </a:lnTo>
                  <a:lnTo>
                    <a:pt x="203" y="498"/>
                  </a:lnTo>
                  <a:lnTo>
                    <a:pt x="192" y="494"/>
                  </a:lnTo>
                  <a:lnTo>
                    <a:pt x="182" y="490"/>
                  </a:lnTo>
                  <a:lnTo>
                    <a:pt x="170" y="486"/>
                  </a:lnTo>
                  <a:lnTo>
                    <a:pt x="160" y="481"/>
                  </a:lnTo>
                  <a:lnTo>
                    <a:pt x="150" y="476"/>
                  </a:lnTo>
                  <a:lnTo>
                    <a:pt x="141" y="470"/>
                  </a:lnTo>
                  <a:lnTo>
                    <a:pt x="130" y="463"/>
                  </a:lnTo>
                  <a:lnTo>
                    <a:pt x="122" y="456"/>
                  </a:lnTo>
                  <a:lnTo>
                    <a:pt x="113" y="449"/>
                  </a:lnTo>
                  <a:lnTo>
                    <a:pt x="105" y="441"/>
                  </a:lnTo>
                  <a:lnTo>
                    <a:pt x="97" y="433"/>
                  </a:lnTo>
                  <a:lnTo>
                    <a:pt x="88" y="424"/>
                  </a:lnTo>
                  <a:lnTo>
                    <a:pt x="81" y="416"/>
                  </a:lnTo>
                  <a:lnTo>
                    <a:pt x="74" y="407"/>
                  </a:lnTo>
                  <a:lnTo>
                    <a:pt x="68" y="397"/>
                  </a:lnTo>
                  <a:lnTo>
                    <a:pt x="62" y="386"/>
                  </a:lnTo>
                  <a:lnTo>
                    <a:pt x="57" y="377"/>
                  </a:lnTo>
                  <a:lnTo>
                    <a:pt x="52" y="366"/>
                  </a:lnTo>
                  <a:lnTo>
                    <a:pt x="46" y="356"/>
                  </a:lnTo>
                  <a:lnTo>
                    <a:pt x="42" y="344"/>
                  </a:lnTo>
                  <a:lnTo>
                    <a:pt x="39" y="333"/>
                  </a:lnTo>
                  <a:lnTo>
                    <a:pt x="36" y="321"/>
                  </a:lnTo>
                  <a:lnTo>
                    <a:pt x="34" y="310"/>
                  </a:lnTo>
                  <a:lnTo>
                    <a:pt x="32" y="297"/>
                  </a:lnTo>
                  <a:lnTo>
                    <a:pt x="31" y="285"/>
                  </a:lnTo>
                  <a:lnTo>
                    <a:pt x="30" y="273"/>
                  </a:lnTo>
                  <a:lnTo>
                    <a:pt x="30" y="260"/>
                  </a:lnTo>
                  <a:lnTo>
                    <a:pt x="31" y="249"/>
                  </a:lnTo>
                  <a:lnTo>
                    <a:pt x="32" y="237"/>
                  </a:lnTo>
                  <a:lnTo>
                    <a:pt x="34" y="225"/>
                  </a:lnTo>
                  <a:lnTo>
                    <a:pt x="36" y="214"/>
                  </a:lnTo>
                  <a:lnTo>
                    <a:pt x="39" y="203"/>
                  </a:lnTo>
                  <a:lnTo>
                    <a:pt x="43" y="192"/>
                  </a:lnTo>
                  <a:lnTo>
                    <a:pt x="47" y="181"/>
                  </a:lnTo>
                  <a:lnTo>
                    <a:pt x="52" y="170"/>
                  </a:lnTo>
                  <a:lnTo>
                    <a:pt x="57" y="160"/>
                  </a:lnTo>
                  <a:lnTo>
                    <a:pt x="62" y="149"/>
                  </a:lnTo>
                  <a:lnTo>
                    <a:pt x="68" y="140"/>
                  </a:lnTo>
                  <a:lnTo>
                    <a:pt x="74" y="131"/>
                  </a:lnTo>
                  <a:lnTo>
                    <a:pt x="81" y="122"/>
                  </a:lnTo>
                  <a:lnTo>
                    <a:pt x="88" y="113"/>
                  </a:lnTo>
                  <a:lnTo>
                    <a:pt x="97" y="104"/>
                  </a:lnTo>
                  <a:lnTo>
                    <a:pt x="105" y="96"/>
                  </a:lnTo>
                  <a:lnTo>
                    <a:pt x="113" y="88"/>
                  </a:lnTo>
                  <a:lnTo>
                    <a:pt x="122" y="81"/>
                  </a:lnTo>
                  <a:lnTo>
                    <a:pt x="131" y="75"/>
                  </a:lnTo>
                  <a:lnTo>
                    <a:pt x="141" y="67"/>
                  </a:lnTo>
                  <a:lnTo>
                    <a:pt x="151" y="61"/>
                  </a:lnTo>
                  <a:lnTo>
                    <a:pt x="161" y="56"/>
                  </a:lnTo>
                  <a:lnTo>
                    <a:pt x="171" y="51"/>
                  </a:lnTo>
                  <a:lnTo>
                    <a:pt x="183" y="47"/>
                  </a:lnTo>
                  <a:lnTo>
                    <a:pt x="193" y="43"/>
                  </a:lnTo>
                  <a:lnTo>
                    <a:pt x="205" y="39"/>
                  </a:lnTo>
                  <a:lnTo>
                    <a:pt x="217" y="36"/>
                  </a:lnTo>
                  <a:lnTo>
                    <a:pt x="229" y="34"/>
                  </a:lnTo>
                  <a:lnTo>
                    <a:pt x="240" y="32"/>
                  </a:lnTo>
                  <a:lnTo>
                    <a:pt x="254" y="30"/>
                  </a:lnTo>
                  <a:lnTo>
                    <a:pt x="269" y="30"/>
                  </a:lnTo>
                  <a:lnTo>
                    <a:pt x="291" y="32"/>
                  </a:lnTo>
                  <a:lnTo>
                    <a:pt x="313" y="35"/>
                  </a:lnTo>
                  <a:lnTo>
                    <a:pt x="333" y="39"/>
                  </a:lnTo>
                  <a:lnTo>
                    <a:pt x="354" y="46"/>
                  </a:lnTo>
                  <a:lnTo>
                    <a:pt x="373" y="54"/>
                  </a:lnTo>
                  <a:lnTo>
                    <a:pt x="392" y="64"/>
                  </a:lnTo>
                  <a:lnTo>
                    <a:pt x="409" y="77"/>
                  </a:lnTo>
                  <a:lnTo>
                    <a:pt x="427" y="90"/>
                  </a:lnTo>
                  <a:lnTo>
                    <a:pt x="441" y="104"/>
                  </a:lnTo>
                  <a:lnTo>
                    <a:pt x="455" y="121"/>
                  </a:lnTo>
                  <a:lnTo>
                    <a:pt x="468" y="137"/>
                  </a:lnTo>
                  <a:lnTo>
                    <a:pt x="479" y="156"/>
                  </a:lnTo>
                  <a:lnTo>
                    <a:pt x="488" y="175"/>
                  </a:lnTo>
                  <a:lnTo>
                    <a:pt x="496" y="196"/>
                  </a:lnTo>
                  <a:lnTo>
                    <a:pt x="499" y="207"/>
                  </a:lnTo>
                  <a:lnTo>
                    <a:pt x="502" y="217"/>
                  </a:lnTo>
                  <a:lnTo>
                    <a:pt x="504" y="228"/>
                  </a:lnTo>
                  <a:lnTo>
                    <a:pt x="506" y="240"/>
                  </a:lnTo>
                  <a:lnTo>
                    <a:pt x="507" y="252"/>
                  </a:lnTo>
                  <a:lnTo>
                    <a:pt x="507" y="263"/>
                  </a:lnTo>
                  <a:lnTo>
                    <a:pt x="507" y="275"/>
                  </a:lnTo>
                  <a:lnTo>
                    <a:pt x="507" y="287"/>
                  </a:lnTo>
                  <a:lnTo>
                    <a:pt x="506" y="298"/>
                  </a:lnTo>
                  <a:lnTo>
                    <a:pt x="504" y="310"/>
                  </a:lnTo>
                  <a:lnTo>
                    <a:pt x="502" y="321"/>
                  </a:lnTo>
                  <a:lnTo>
                    <a:pt x="498" y="332"/>
                  </a:lnTo>
                  <a:lnTo>
                    <a:pt x="495" y="343"/>
                  </a:lnTo>
                  <a:lnTo>
                    <a:pt x="491" y="355"/>
                  </a:lnTo>
                  <a:lnTo>
                    <a:pt x="486" y="365"/>
                  </a:lnTo>
                  <a:lnTo>
                    <a:pt x="482" y="376"/>
                  </a:lnTo>
                  <a:lnTo>
                    <a:pt x="476" y="386"/>
                  </a:lnTo>
                  <a:lnTo>
                    <a:pt x="470" y="396"/>
                  </a:lnTo>
                  <a:lnTo>
                    <a:pt x="464" y="406"/>
                  </a:lnTo>
                  <a:lnTo>
                    <a:pt x="456" y="415"/>
                  </a:lnTo>
                  <a:close/>
                  <a:moveTo>
                    <a:pt x="237" y="2"/>
                  </a:moveTo>
                  <a:lnTo>
                    <a:pt x="223" y="4"/>
                  </a:lnTo>
                  <a:lnTo>
                    <a:pt x="209" y="7"/>
                  </a:lnTo>
                  <a:lnTo>
                    <a:pt x="197" y="10"/>
                  </a:lnTo>
                  <a:lnTo>
                    <a:pt x="184" y="14"/>
                  </a:lnTo>
                  <a:lnTo>
                    <a:pt x="171" y="18"/>
                  </a:lnTo>
                  <a:lnTo>
                    <a:pt x="159" y="23"/>
                  </a:lnTo>
                  <a:lnTo>
                    <a:pt x="147" y="29"/>
                  </a:lnTo>
                  <a:lnTo>
                    <a:pt x="136" y="36"/>
                  </a:lnTo>
                  <a:lnTo>
                    <a:pt x="124" y="43"/>
                  </a:lnTo>
                  <a:lnTo>
                    <a:pt x="114" y="50"/>
                  </a:lnTo>
                  <a:lnTo>
                    <a:pt x="104" y="57"/>
                  </a:lnTo>
                  <a:lnTo>
                    <a:pt x="94" y="65"/>
                  </a:lnTo>
                  <a:lnTo>
                    <a:pt x="84" y="75"/>
                  </a:lnTo>
                  <a:lnTo>
                    <a:pt x="75" y="84"/>
                  </a:lnTo>
                  <a:lnTo>
                    <a:pt x="66" y="93"/>
                  </a:lnTo>
                  <a:lnTo>
                    <a:pt x="58" y="103"/>
                  </a:lnTo>
                  <a:lnTo>
                    <a:pt x="51" y="114"/>
                  </a:lnTo>
                  <a:lnTo>
                    <a:pt x="43" y="124"/>
                  </a:lnTo>
                  <a:lnTo>
                    <a:pt x="36" y="135"/>
                  </a:lnTo>
                  <a:lnTo>
                    <a:pt x="30" y="146"/>
                  </a:lnTo>
                  <a:lnTo>
                    <a:pt x="25" y="158"/>
                  </a:lnTo>
                  <a:lnTo>
                    <a:pt x="20" y="170"/>
                  </a:lnTo>
                  <a:lnTo>
                    <a:pt x="15" y="182"/>
                  </a:lnTo>
                  <a:lnTo>
                    <a:pt x="11" y="195"/>
                  </a:lnTo>
                  <a:lnTo>
                    <a:pt x="7" y="207"/>
                  </a:lnTo>
                  <a:lnTo>
                    <a:pt x="4" y="220"/>
                  </a:lnTo>
                  <a:lnTo>
                    <a:pt x="2" y="233"/>
                  </a:lnTo>
                  <a:lnTo>
                    <a:pt x="1" y="246"/>
                  </a:lnTo>
                  <a:lnTo>
                    <a:pt x="0" y="259"/>
                  </a:lnTo>
                  <a:lnTo>
                    <a:pt x="0" y="274"/>
                  </a:lnTo>
                  <a:lnTo>
                    <a:pt x="1" y="287"/>
                  </a:lnTo>
                  <a:lnTo>
                    <a:pt x="2" y="300"/>
                  </a:lnTo>
                  <a:lnTo>
                    <a:pt x="4" y="314"/>
                  </a:lnTo>
                  <a:lnTo>
                    <a:pt x="6" y="326"/>
                  </a:lnTo>
                  <a:lnTo>
                    <a:pt x="10" y="338"/>
                  </a:lnTo>
                  <a:lnTo>
                    <a:pt x="14" y="350"/>
                  </a:lnTo>
                  <a:lnTo>
                    <a:pt x="18" y="362"/>
                  </a:lnTo>
                  <a:lnTo>
                    <a:pt x="22" y="373"/>
                  </a:lnTo>
                  <a:lnTo>
                    <a:pt x="27" y="384"/>
                  </a:lnTo>
                  <a:lnTo>
                    <a:pt x="32" y="395"/>
                  </a:lnTo>
                  <a:lnTo>
                    <a:pt x="38" y="406"/>
                  </a:lnTo>
                  <a:lnTo>
                    <a:pt x="44" y="416"/>
                  </a:lnTo>
                  <a:lnTo>
                    <a:pt x="52" y="425"/>
                  </a:lnTo>
                  <a:lnTo>
                    <a:pt x="59" y="436"/>
                  </a:lnTo>
                  <a:lnTo>
                    <a:pt x="67" y="445"/>
                  </a:lnTo>
                  <a:lnTo>
                    <a:pt x="74" y="453"/>
                  </a:lnTo>
                  <a:lnTo>
                    <a:pt x="83" y="462"/>
                  </a:lnTo>
                  <a:lnTo>
                    <a:pt x="92" y="471"/>
                  </a:lnTo>
                  <a:lnTo>
                    <a:pt x="101" y="478"/>
                  </a:lnTo>
                  <a:lnTo>
                    <a:pt x="110" y="485"/>
                  </a:lnTo>
                  <a:lnTo>
                    <a:pt x="120" y="492"/>
                  </a:lnTo>
                  <a:lnTo>
                    <a:pt x="130" y="498"/>
                  </a:lnTo>
                  <a:lnTo>
                    <a:pt x="141" y="504"/>
                  </a:lnTo>
                  <a:lnTo>
                    <a:pt x="151" y="510"/>
                  </a:lnTo>
                  <a:lnTo>
                    <a:pt x="162" y="515"/>
                  </a:lnTo>
                  <a:lnTo>
                    <a:pt x="174" y="520"/>
                  </a:lnTo>
                  <a:lnTo>
                    <a:pt x="185" y="524"/>
                  </a:lnTo>
                  <a:lnTo>
                    <a:pt x="196" y="527"/>
                  </a:lnTo>
                  <a:lnTo>
                    <a:pt x="207" y="530"/>
                  </a:lnTo>
                  <a:lnTo>
                    <a:pt x="220" y="533"/>
                  </a:lnTo>
                  <a:lnTo>
                    <a:pt x="232" y="535"/>
                  </a:lnTo>
                  <a:lnTo>
                    <a:pt x="244" y="536"/>
                  </a:lnTo>
                  <a:lnTo>
                    <a:pt x="257" y="537"/>
                  </a:lnTo>
                  <a:lnTo>
                    <a:pt x="269" y="537"/>
                  </a:lnTo>
                  <a:lnTo>
                    <a:pt x="277" y="537"/>
                  </a:lnTo>
                  <a:lnTo>
                    <a:pt x="285" y="537"/>
                  </a:lnTo>
                  <a:lnTo>
                    <a:pt x="292" y="536"/>
                  </a:lnTo>
                  <a:lnTo>
                    <a:pt x="301" y="535"/>
                  </a:lnTo>
                  <a:lnTo>
                    <a:pt x="314" y="533"/>
                  </a:lnTo>
                  <a:lnTo>
                    <a:pt x="327" y="531"/>
                  </a:lnTo>
                  <a:lnTo>
                    <a:pt x="341" y="528"/>
                  </a:lnTo>
                  <a:lnTo>
                    <a:pt x="353" y="524"/>
                  </a:lnTo>
                  <a:lnTo>
                    <a:pt x="365" y="520"/>
                  </a:lnTo>
                  <a:lnTo>
                    <a:pt x="377" y="515"/>
                  </a:lnTo>
                  <a:lnTo>
                    <a:pt x="389" y="509"/>
                  </a:lnTo>
                  <a:lnTo>
                    <a:pt x="400" y="502"/>
                  </a:lnTo>
                  <a:lnTo>
                    <a:pt x="411" y="496"/>
                  </a:lnTo>
                  <a:lnTo>
                    <a:pt x="423" y="489"/>
                  </a:lnTo>
                  <a:lnTo>
                    <a:pt x="433" y="481"/>
                  </a:lnTo>
                  <a:lnTo>
                    <a:pt x="443" y="473"/>
                  </a:lnTo>
                  <a:lnTo>
                    <a:pt x="453" y="463"/>
                  </a:lnTo>
                  <a:lnTo>
                    <a:pt x="463" y="454"/>
                  </a:lnTo>
                  <a:lnTo>
                    <a:pt x="472" y="445"/>
                  </a:lnTo>
                  <a:lnTo>
                    <a:pt x="480" y="434"/>
                  </a:lnTo>
                  <a:lnTo>
                    <a:pt x="488" y="423"/>
                  </a:lnTo>
                  <a:lnTo>
                    <a:pt x="495" y="412"/>
                  </a:lnTo>
                  <a:lnTo>
                    <a:pt x="503" y="401"/>
                  </a:lnTo>
                  <a:lnTo>
                    <a:pt x="509" y="390"/>
                  </a:lnTo>
                  <a:lnTo>
                    <a:pt x="514" y="377"/>
                  </a:lnTo>
                  <a:lnTo>
                    <a:pt x="519" y="365"/>
                  </a:lnTo>
                  <a:lnTo>
                    <a:pt x="523" y="353"/>
                  </a:lnTo>
                  <a:lnTo>
                    <a:pt x="527" y="340"/>
                  </a:lnTo>
                  <a:lnTo>
                    <a:pt x="530" y="328"/>
                  </a:lnTo>
                  <a:lnTo>
                    <a:pt x="533" y="315"/>
                  </a:lnTo>
                  <a:lnTo>
                    <a:pt x="535" y="302"/>
                  </a:lnTo>
                  <a:lnTo>
                    <a:pt x="536" y="289"/>
                  </a:lnTo>
                  <a:lnTo>
                    <a:pt x="536" y="276"/>
                  </a:lnTo>
                  <a:lnTo>
                    <a:pt x="536" y="262"/>
                  </a:lnTo>
                  <a:lnTo>
                    <a:pt x="536" y="249"/>
                  </a:lnTo>
                  <a:lnTo>
                    <a:pt x="534" y="237"/>
                  </a:lnTo>
                  <a:lnTo>
                    <a:pt x="533" y="222"/>
                  </a:lnTo>
                  <a:lnTo>
                    <a:pt x="530" y="209"/>
                  </a:lnTo>
                  <a:lnTo>
                    <a:pt x="527" y="196"/>
                  </a:lnTo>
                  <a:lnTo>
                    <a:pt x="523" y="183"/>
                  </a:lnTo>
                  <a:lnTo>
                    <a:pt x="519" y="171"/>
                  </a:lnTo>
                  <a:lnTo>
                    <a:pt x="514" y="159"/>
                  </a:lnTo>
                  <a:lnTo>
                    <a:pt x="508" y="146"/>
                  </a:lnTo>
                  <a:lnTo>
                    <a:pt x="502" y="135"/>
                  </a:lnTo>
                  <a:lnTo>
                    <a:pt x="494" y="124"/>
                  </a:lnTo>
                  <a:lnTo>
                    <a:pt x="487" y="114"/>
                  </a:lnTo>
                  <a:lnTo>
                    <a:pt x="480" y="103"/>
                  </a:lnTo>
                  <a:lnTo>
                    <a:pt x="472" y="93"/>
                  </a:lnTo>
                  <a:lnTo>
                    <a:pt x="463" y="84"/>
                  </a:lnTo>
                  <a:lnTo>
                    <a:pt x="453" y="75"/>
                  </a:lnTo>
                  <a:lnTo>
                    <a:pt x="444" y="65"/>
                  </a:lnTo>
                  <a:lnTo>
                    <a:pt x="435" y="57"/>
                  </a:lnTo>
                  <a:lnTo>
                    <a:pt x="424" y="50"/>
                  </a:lnTo>
                  <a:lnTo>
                    <a:pt x="413" y="43"/>
                  </a:lnTo>
                  <a:lnTo>
                    <a:pt x="402" y="36"/>
                  </a:lnTo>
                  <a:lnTo>
                    <a:pt x="391" y="29"/>
                  </a:lnTo>
                  <a:lnTo>
                    <a:pt x="380" y="24"/>
                  </a:lnTo>
                  <a:lnTo>
                    <a:pt x="367" y="19"/>
                  </a:lnTo>
                  <a:lnTo>
                    <a:pt x="355" y="14"/>
                  </a:lnTo>
                  <a:lnTo>
                    <a:pt x="343" y="11"/>
                  </a:lnTo>
                  <a:lnTo>
                    <a:pt x="330" y="7"/>
                  </a:lnTo>
                  <a:lnTo>
                    <a:pt x="317" y="5"/>
                  </a:lnTo>
                  <a:lnTo>
                    <a:pt x="305" y="3"/>
                  </a:lnTo>
                  <a:lnTo>
                    <a:pt x="291" y="1"/>
                  </a:lnTo>
                  <a:lnTo>
                    <a:pt x="278" y="1"/>
                  </a:lnTo>
                  <a:lnTo>
                    <a:pt x="264" y="0"/>
                  </a:lnTo>
                  <a:lnTo>
                    <a:pt x="250" y="1"/>
                  </a:lnTo>
                  <a:lnTo>
                    <a:pt x="237" y="2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20"/>
            <p:cNvSpPr>
              <a:spLocks noEditPoints="1"/>
            </p:cNvSpPr>
            <p:nvPr/>
          </p:nvSpPr>
          <p:spPr bwMode="auto">
            <a:xfrm>
              <a:off x="3524250" y="2024063"/>
              <a:ext cx="373063" cy="374650"/>
            </a:xfrm>
            <a:custGeom>
              <a:avLst/>
              <a:gdLst>
                <a:gd name="T0" fmla="*/ 804 w 1177"/>
                <a:gd name="T1" fmla="*/ 961 h 1178"/>
                <a:gd name="T2" fmla="*/ 742 w 1177"/>
                <a:gd name="T3" fmla="*/ 994 h 1178"/>
                <a:gd name="T4" fmla="*/ 554 w 1177"/>
                <a:gd name="T5" fmla="*/ 1023 h 1178"/>
                <a:gd name="T6" fmla="*/ 539 w 1177"/>
                <a:gd name="T7" fmla="*/ 1013 h 1178"/>
                <a:gd name="T8" fmla="*/ 441 w 1177"/>
                <a:gd name="T9" fmla="*/ 985 h 1178"/>
                <a:gd name="T10" fmla="*/ 413 w 1177"/>
                <a:gd name="T11" fmla="*/ 979 h 1178"/>
                <a:gd name="T12" fmla="*/ 254 w 1177"/>
                <a:gd name="T13" fmla="*/ 858 h 1178"/>
                <a:gd name="T14" fmla="*/ 224 w 1177"/>
                <a:gd name="T15" fmla="*/ 815 h 1178"/>
                <a:gd name="T16" fmla="*/ 186 w 1177"/>
                <a:gd name="T17" fmla="*/ 744 h 1178"/>
                <a:gd name="T18" fmla="*/ 31 w 1177"/>
                <a:gd name="T19" fmla="*/ 604 h 1178"/>
                <a:gd name="T20" fmla="*/ 163 w 1177"/>
                <a:gd name="T21" fmla="*/ 542 h 1178"/>
                <a:gd name="T22" fmla="*/ 187 w 1177"/>
                <a:gd name="T23" fmla="*/ 454 h 1178"/>
                <a:gd name="T24" fmla="*/ 199 w 1177"/>
                <a:gd name="T25" fmla="*/ 416 h 1178"/>
                <a:gd name="T26" fmla="*/ 315 w 1177"/>
                <a:gd name="T27" fmla="*/ 253 h 1178"/>
                <a:gd name="T28" fmla="*/ 352 w 1177"/>
                <a:gd name="T29" fmla="*/ 230 h 1178"/>
                <a:gd name="T30" fmla="*/ 433 w 1177"/>
                <a:gd name="T31" fmla="*/ 186 h 1178"/>
                <a:gd name="T32" fmla="*/ 574 w 1177"/>
                <a:gd name="T33" fmla="*/ 30 h 1178"/>
                <a:gd name="T34" fmla="*/ 647 w 1177"/>
                <a:gd name="T35" fmla="*/ 162 h 1178"/>
                <a:gd name="T36" fmla="*/ 748 w 1177"/>
                <a:gd name="T37" fmla="*/ 190 h 1178"/>
                <a:gd name="T38" fmla="*/ 777 w 1177"/>
                <a:gd name="T39" fmla="*/ 197 h 1178"/>
                <a:gd name="T40" fmla="*/ 924 w 1177"/>
                <a:gd name="T41" fmla="*/ 320 h 1178"/>
                <a:gd name="T42" fmla="*/ 954 w 1177"/>
                <a:gd name="T43" fmla="*/ 363 h 1178"/>
                <a:gd name="T44" fmla="*/ 992 w 1177"/>
                <a:gd name="T45" fmla="*/ 433 h 1178"/>
                <a:gd name="T46" fmla="*/ 1146 w 1177"/>
                <a:gd name="T47" fmla="*/ 574 h 1178"/>
                <a:gd name="T48" fmla="*/ 1014 w 1177"/>
                <a:gd name="T49" fmla="*/ 635 h 1178"/>
                <a:gd name="T50" fmla="*/ 991 w 1177"/>
                <a:gd name="T51" fmla="*/ 723 h 1178"/>
                <a:gd name="T52" fmla="*/ 977 w 1177"/>
                <a:gd name="T53" fmla="*/ 761 h 1178"/>
                <a:gd name="T54" fmla="*/ 861 w 1177"/>
                <a:gd name="T55" fmla="*/ 924 h 1178"/>
                <a:gd name="T56" fmla="*/ 994 w 1177"/>
                <a:gd name="T57" fmla="*/ 1002 h 1178"/>
                <a:gd name="T58" fmla="*/ 1085 w 1177"/>
                <a:gd name="T59" fmla="*/ 893 h 1178"/>
                <a:gd name="T60" fmla="*/ 1015 w 1177"/>
                <a:gd name="T61" fmla="*/ 742 h 1178"/>
                <a:gd name="T62" fmla="*/ 1042 w 1177"/>
                <a:gd name="T63" fmla="*/ 648 h 1178"/>
                <a:gd name="T64" fmla="*/ 1177 w 1177"/>
                <a:gd name="T65" fmla="*/ 581 h 1178"/>
                <a:gd name="T66" fmla="*/ 1151 w 1177"/>
                <a:gd name="T67" fmla="*/ 443 h 1178"/>
                <a:gd name="T68" fmla="*/ 973 w 1177"/>
                <a:gd name="T69" fmla="*/ 337 h 1178"/>
                <a:gd name="T70" fmla="*/ 1001 w 1177"/>
                <a:gd name="T71" fmla="*/ 179 h 1178"/>
                <a:gd name="T72" fmla="*/ 888 w 1177"/>
                <a:gd name="T73" fmla="*/ 90 h 1178"/>
                <a:gd name="T74" fmla="*/ 741 w 1177"/>
                <a:gd name="T75" fmla="*/ 155 h 1178"/>
                <a:gd name="T76" fmla="*/ 597 w 1177"/>
                <a:gd name="T77" fmla="*/ 8 h 1178"/>
                <a:gd name="T78" fmla="*/ 456 w 1177"/>
                <a:gd name="T79" fmla="*/ 15 h 1178"/>
                <a:gd name="T80" fmla="*/ 410 w 1177"/>
                <a:gd name="T81" fmla="*/ 164 h 1178"/>
                <a:gd name="T82" fmla="*/ 325 w 1177"/>
                <a:gd name="T83" fmla="*/ 212 h 1178"/>
                <a:gd name="T84" fmla="*/ 175 w 1177"/>
                <a:gd name="T85" fmla="*/ 178 h 1178"/>
                <a:gd name="T86" fmla="*/ 92 w 1177"/>
                <a:gd name="T87" fmla="*/ 293 h 1178"/>
                <a:gd name="T88" fmla="*/ 152 w 1177"/>
                <a:gd name="T89" fmla="*/ 462 h 1178"/>
                <a:gd name="T90" fmla="*/ 5 w 1177"/>
                <a:gd name="T91" fmla="*/ 583 h 1178"/>
                <a:gd name="T92" fmla="*/ 17 w 1177"/>
                <a:gd name="T93" fmla="*/ 727 h 1178"/>
                <a:gd name="T94" fmla="*/ 176 w 1177"/>
                <a:gd name="T95" fmla="*/ 791 h 1178"/>
                <a:gd name="T96" fmla="*/ 222 w 1177"/>
                <a:gd name="T97" fmla="*/ 863 h 1178"/>
                <a:gd name="T98" fmla="*/ 182 w 1177"/>
                <a:gd name="T99" fmla="*/ 1006 h 1178"/>
                <a:gd name="T100" fmla="*/ 298 w 1177"/>
                <a:gd name="T101" fmla="*/ 1085 h 1178"/>
                <a:gd name="T102" fmla="*/ 476 w 1177"/>
                <a:gd name="T103" fmla="*/ 1030 h 1178"/>
                <a:gd name="T104" fmla="*/ 586 w 1177"/>
                <a:gd name="T105" fmla="*/ 1175 h 1178"/>
                <a:gd name="T106" fmla="*/ 722 w 1177"/>
                <a:gd name="T107" fmla="*/ 1163 h 1178"/>
                <a:gd name="T108" fmla="*/ 767 w 1177"/>
                <a:gd name="T109" fmla="*/ 1013 h 1178"/>
                <a:gd name="T110" fmla="*/ 840 w 1177"/>
                <a:gd name="T111" fmla="*/ 974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7" h="1178">
                  <a:moveTo>
                    <a:pt x="851" y="928"/>
                  </a:moveTo>
                  <a:lnTo>
                    <a:pt x="839" y="937"/>
                  </a:lnTo>
                  <a:lnTo>
                    <a:pt x="828" y="945"/>
                  </a:lnTo>
                  <a:lnTo>
                    <a:pt x="815" y="954"/>
                  </a:lnTo>
                  <a:lnTo>
                    <a:pt x="804" y="961"/>
                  </a:lnTo>
                  <a:lnTo>
                    <a:pt x="779" y="974"/>
                  </a:lnTo>
                  <a:lnTo>
                    <a:pt x="754" y="986"/>
                  </a:lnTo>
                  <a:lnTo>
                    <a:pt x="747" y="990"/>
                  </a:lnTo>
                  <a:lnTo>
                    <a:pt x="745" y="992"/>
                  </a:lnTo>
                  <a:lnTo>
                    <a:pt x="742" y="994"/>
                  </a:lnTo>
                  <a:lnTo>
                    <a:pt x="740" y="997"/>
                  </a:lnTo>
                  <a:lnTo>
                    <a:pt x="738" y="1000"/>
                  </a:lnTo>
                  <a:lnTo>
                    <a:pt x="708" y="1134"/>
                  </a:lnTo>
                  <a:lnTo>
                    <a:pt x="603" y="1147"/>
                  </a:lnTo>
                  <a:lnTo>
                    <a:pt x="554" y="1023"/>
                  </a:lnTo>
                  <a:lnTo>
                    <a:pt x="552" y="1020"/>
                  </a:lnTo>
                  <a:lnTo>
                    <a:pt x="550" y="1017"/>
                  </a:lnTo>
                  <a:lnTo>
                    <a:pt x="547" y="1015"/>
                  </a:lnTo>
                  <a:lnTo>
                    <a:pt x="543" y="1014"/>
                  </a:lnTo>
                  <a:lnTo>
                    <a:pt x="539" y="1013"/>
                  </a:lnTo>
                  <a:lnTo>
                    <a:pt x="510" y="1007"/>
                  </a:lnTo>
                  <a:lnTo>
                    <a:pt x="482" y="1000"/>
                  </a:lnTo>
                  <a:lnTo>
                    <a:pt x="469" y="996"/>
                  </a:lnTo>
                  <a:lnTo>
                    <a:pt x="455" y="992"/>
                  </a:lnTo>
                  <a:lnTo>
                    <a:pt x="441" y="985"/>
                  </a:lnTo>
                  <a:lnTo>
                    <a:pt x="427" y="979"/>
                  </a:lnTo>
                  <a:lnTo>
                    <a:pt x="424" y="978"/>
                  </a:lnTo>
                  <a:lnTo>
                    <a:pt x="421" y="977"/>
                  </a:lnTo>
                  <a:lnTo>
                    <a:pt x="417" y="978"/>
                  </a:lnTo>
                  <a:lnTo>
                    <a:pt x="413" y="979"/>
                  </a:lnTo>
                  <a:lnTo>
                    <a:pt x="291" y="1053"/>
                  </a:lnTo>
                  <a:lnTo>
                    <a:pt x="209" y="990"/>
                  </a:lnTo>
                  <a:lnTo>
                    <a:pt x="253" y="865"/>
                  </a:lnTo>
                  <a:lnTo>
                    <a:pt x="254" y="862"/>
                  </a:lnTo>
                  <a:lnTo>
                    <a:pt x="254" y="858"/>
                  </a:lnTo>
                  <a:lnTo>
                    <a:pt x="253" y="854"/>
                  </a:lnTo>
                  <a:lnTo>
                    <a:pt x="251" y="851"/>
                  </a:lnTo>
                  <a:lnTo>
                    <a:pt x="240" y="839"/>
                  </a:lnTo>
                  <a:lnTo>
                    <a:pt x="231" y="826"/>
                  </a:lnTo>
                  <a:lnTo>
                    <a:pt x="224" y="815"/>
                  </a:lnTo>
                  <a:lnTo>
                    <a:pt x="216" y="803"/>
                  </a:lnTo>
                  <a:lnTo>
                    <a:pt x="202" y="777"/>
                  </a:lnTo>
                  <a:lnTo>
                    <a:pt x="190" y="752"/>
                  </a:lnTo>
                  <a:lnTo>
                    <a:pt x="188" y="747"/>
                  </a:lnTo>
                  <a:lnTo>
                    <a:pt x="186" y="744"/>
                  </a:lnTo>
                  <a:lnTo>
                    <a:pt x="184" y="742"/>
                  </a:lnTo>
                  <a:lnTo>
                    <a:pt x="181" y="740"/>
                  </a:lnTo>
                  <a:lnTo>
                    <a:pt x="178" y="739"/>
                  </a:lnTo>
                  <a:lnTo>
                    <a:pt x="45" y="707"/>
                  </a:lnTo>
                  <a:lnTo>
                    <a:pt x="31" y="604"/>
                  </a:lnTo>
                  <a:lnTo>
                    <a:pt x="154" y="554"/>
                  </a:lnTo>
                  <a:lnTo>
                    <a:pt x="157" y="552"/>
                  </a:lnTo>
                  <a:lnTo>
                    <a:pt x="160" y="548"/>
                  </a:lnTo>
                  <a:lnTo>
                    <a:pt x="162" y="546"/>
                  </a:lnTo>
                  <a:lnTo>
                    <a:pt x="163" y="542"/>
                  </a:lnTo>
                  <a:lnTo>
                    <a:pt x="164" y="536"/>
                  </a:lnTo>
                  <a:lnTo>
                    <a:pt x="171" y="508"/>
                  </a:lnTo>
                  <a:lnTo>
                    <a:pt x="178" y="482"/>
                  </a:lnTo>
                  <a:lnTo>
                    <a:pt x="182" y="467"/>
                  </a:lnTo>
                  <a:lnTo>
                    <a:pt x="187" y="454"/>
                  </a:lnTo>
                  <a:lnTo>
                    <a:pt x="192" y="441"/>
                  </a:lnTo>
                  <a:lnTo>
                    <a:pt x="199" y="426"/>
                  </a:lnTo>
                  <a:lnTo>
                    <a:pt x="200" y="423"/>
                  </a:lnTo>
                  <a:lnTo>
                    <a:pt x="200" y="419"/>
                  </a:lnTo>
                  <a:lnTo>
                    <a:pt x="199" y="416"/>
                  </a:lnTo>
                  <a:lnTo>
                    <a:pt x="198" y="412"/>
                  </a:lnTo>
                  <a:lnTo>
                    <a:pt x="125" y="290"/>
                  </a:lnTo>
                  <a:lnTo>
                    <a:pt x="188" y="208"/>
                  </a:lnTo>
                  <a:lnTo>
                    <a:pt x="312" y="252"/>
                  </a:lnTo>
                  <a:lnTo>
                    <a:pt x="315" y="253"/>
                  </a:lnTo>
                  <a:lnTo>
                    <a:pt x="319" y="253"/>
                  </a:lnTo>
                  <a:lnTo>
                    <a:pt x="323" y="252"/>
                  </a:lnTo>
                  <a:lnTo>
                    <a:pt x="326" y="250"/>
                  </a:lnTo>
                  <a:lnTo>
                    <a:pt x="340" y="240"/>
                  </a:lnTo>
                  <a:lnTo>
                    <a:pt x="352" y="230"/>
                  </a:lnTo>
                  <a:lnTo>
                    <a:pt x="365" y="221"/>
                  </a:lnTo>
                  <a:lnTo>
                    <a:pt x="379" y="214"/>
                  </a:lnTo>
                  <a:lnTo>
                    <a:pt x="404" y="200"/>
                  </a:lnTo>
                  <a:lnTo>
                    <a:pt x="430" y="187"/>
                  </a:lnTo>
                  <a:lnTo>
                    <a:pt x="433" y="186"/>
                  </a:lnTo>
                  <a:lnTo>
                    <a:pt x="435" y="183"/>
                  </a:lnTo>
                  <a:lnTo>
                    <a:pt x="437" y="181"/>
                  </a:lnTo>
                  <a:lnTo>
                    <a:pt x="438" y="177"/>
                  </a:lnTo>
                  <a:lnTo>
                    <a:pt x="470" y="44"/>
                  </a:lnTo>
                  <a:lnTo>
                    <a:pt x="574" y="30"/>
                  </a:lnTo>
                  <a:lnTo>
                    <a:pt x="637" y="154"/>
                  </a:lnTo>
                  <a:lnTo>
                    <a:pt x="639" y="157"/>
                  </a:lnTo>
                  <a:lnTo>
                    <a:pt x="641" y="159"/>
                  </a:lnTo>
                  <a:lnTo>
                    <a:pt x="644" y="161"/>
                  </a:lnTo>
                  <a:lnTo>
                    <a:pt x="647" y="162"/>
                  </a:lnTo>
                  <a:lnTo>
                    <a:pt x="675" y="167"/>
                  </a:lnTo>
                  <a:lnTo>
                    <a:pt x="704" y="174"/>
                  </a:lnTo>
                  <a:lnTo>
                    <a:pt x="718" y="179"/>
                  </a:lnTo>
                  <a:lnTo>
                    <a:pt x="733" y="184"/>
                  </a:lnTo>
                  <a:lnTo>
                    <a:pt x="748" y="190"/>
                  </a:lnTo>
                  <a:lnTo>
                    <a:pt x="762" y="197"/>
                  </a:lnTo>
                  <a:lnTo>
                    <a:pt x="766" y="199"/>
                  </a:lnTo>
                  <a:lnTo>
                    <a:pt x="770" y="199"/>
                  </a:lnTo>
                  <a:lnTo>
                    <a:pt x="774" y="198"/>
                  </a:lnTo>
                  <a:lnTo>
                    <a:pt x="777" y="197"/>
                  </a:lnTo>
                  <a:lnTo>
                    <a:pt x="887" y="124"/>
                  </a:lnTo>
                  <a:lnTo>
                    <a:pt x="968" y="188"/>
                  </a:lnTo>
                  <a:lnTo>
                    <a:pt x="924" y="312"/>
                  </a:lnTo>
                  <a:lnTo>
                    <a:pt x="924" y="316"/>
                  </a:lnTo>
                  <a:lnTo>
                    <a:pt x="924" y="320"/>
                  </a:lnTo>
                  <a:lnTo>
                    <a:pt x="925" y="323"/>
                  </a:lnTo>
                  <a:lnTo>
                    <a:pt x="927" y="327"/>
                  </a:lnTo>
                  <a:lnTo>
                    <a:pt x="937" y="338"/>
                  </a:lnTo>
                  <a:lnTo>
                    <a:pt x="946" y="350"/>
                  </a:lnTo>
                  <a:lnTo>
                    <a:pt x="954" y="363"/>
                  </a:lnTo>
                  <a:lnTo>
                    <a:pt x="961" y="375"/>
                  </a:lnTo>
                  <a:lnTo>
                    <a:pt x="974" y="400"/>
                  </a:lnTo>
                  <a:lnTo>
                    <a:pt x="987" y="425"/>
                  </a:lnTo>
                  <a:lnTo>
                    <a:pt x="990" y="430"/>
                  </a:lnTo>
                  <a:lnTo>
                    <a:pt x="992" y="433"/>
                  </a:lnTo>
                  <a:lnTo>
                    <a:pt x="994" y="436"/>
                  </a:lnTo>
                  <a:lnTo>
                    <a:pt x="997" y="437"/>
                  </a:lnTo>
                  <a:lnTo>
                    <a:pt x="1000" y="438"/>
                  </a:lnTo>
                  <a:lnTo>
                    <a:pt x="1133" y="469"/>
                  </a:lnTo>
                  <a:lnTo>
                    <a:pt x="1146" y="574"/>
                  </a:lnTo>
                  <a:lnTo>
                    <a:pt x="1022" y="623"/>
                  </a:lnTo>
                  <a:lnTo>
                    <a:pt x="1019" y="625"/>
                  </a:lnTo>
                  <a:lnTo>
                    <a:pt x="1017" y="627"/>
                  </a:lnTo>
                  <a:lnTo>
                    <a:pt x="1015" y="631"/>
                  </a:lnTo>
                  <a:lnTo>
                    <a:pt x="1014" y="635"/>
                  </a:lnTo>
                  <a:lnTo>
                    <a:pt x="1012" y="642"/>
                  </a:lnTo>
                  <a:lnTo>
                    <a:pt x="1006" y="670"/>
                  </a:lnTo>
                  <a:lnTo>
                    <a:pt x="1000" y="696"/>
                  </a:lnTo>
                  <a:lnTo>
                    <a:pt x="996" y="710"/>
                  </a:lnTo>
                  <a:lnTo>
                    <a:pt x="991" y="723"/>
                  </a:lnTo>
                  <a:lnTo>
                    <a:pt x="986" y="736"/>
                  </a:lnTo>
                  <a:lnTo>
                    <a:pt x="978" y="750"/>
                  </a:lnTo>
                  <a:lnTo>
                    <a:pt x="977" y="754"/>
                  </a:lnTo>
                  <a:lnTo>
                    <a:pt x="977" y="758"/>
                  </a:lnTo>
                  <a:lnTo>
                    <a:pt x="977" y="761"/>
                  </a:lnTo>
                  <a:lnTo>
                    <a:pt x="978" y="765"/>
                  </a:lnTo>
                  <a:lnTo>
                    <a:pt x="1053" y="887"/>
                  </a:lnTo>
                  <a:lnTo>
                    <a:pt x="990" y="969"/>
                  </a:lnTo>
                  <a:lnTo>
                    <a:pt x="866" y="925"/>
                  </a:lnTo>
                  <a:lnTo>
                    <a:pt x="861" y="924"/>
                  </a:lnTo>
                  <a:lnTo>
                    <a:pt x="857" y="924"/>
                  </a:lnTo>
                  <a:lnTo>
                    <a:pt x="854" y="926"/>
                  </a:lnTo>
                  <a:lnTo>
                    <a:pt x="851" y="928"/>
                  </a:lnTo>
                  <a:close/>
                  <a:moveTo>
                    <a:pt x="990" y="1001"/>
                  </a:moveTo>
                  <a:lnTo>
                    <a:pt x="994" y="1002"/>
                  </a:lnTo>
                  <a:lnTo>
                    <a:pt x="999" y="1001"/>
                  </a:lnTo>
                  <a:lnTo>
                    <a:pt x="1003" y="999"/>
                  </a:lnTo>
                  <a:lnTo>
                    <a:pt x="1006" y="996"/>
                  </a:lnTo>
                  <a:lnTo>
                    <a:pt x="1083" y="897"/>
                  </a:lnTo>
                  <a:lnTo>
                    <a:pt x="1085" y="893"/>
                  </a:lnTo>
                  <a:lnTo>
                    <a:pt x="1086" y="889"/>
                  </a:lnTo>
                  <a:lnTo>
                    <a:pt x="1086" y="885"/>
                  </a:lnTo>
                  <a:lnTo>
                    <a:pt x="1084" y="880"/>
                  </a:lnTo>
                  <a:lnTo>
                    <a:pt x="1009" y="756"/>
                  </a:lnTo>
                  <a:lnTo>
                    <a:pt x="1015" y="742"/>
                  </a:lnTo>
                  <a:lnTo>
                    <a:pt x="1020" y="729"/>
                  </a:lnTo>
                  <a:lnTo>
                    <a:pt x="1025" y="715"/>
                  </a:lnTo>
                  <a:lnTo>
                    <a:pt x="1030" y="701"/>
                  </a:lnTo>
                  <a:lnTo>
                    <a:pt x="1036" y="675"/>
                  </a:lnTo>
                  <a:lnTo>
                    <a:pt x="1042" y="648"/>
                  </a:lnTo>
                  <a:lnTo>
                    <a:pt x="1168" y="598"/>
                  </a:lnTo>
                  <a:lnTo>
                    <a:pt x="1172" y="595"/>
                  </a:lnTo>
                  <a:lnTo>
                    <a:pt x="1175" y="591"/>
                  </a:lnTo>
                  <a:lnTo>
                    <a:pt x="1177" y="586"/>
                  </a:lnTo>
                  <a:lnTo>
                    <a:pt x="1177" y="581"/>
                  </a:lnTo>
                  <a:lnTo>
                    <a:pt x="1162" y="455"/>
                  </a:lnTo>
                  <a:lnTo>
                    <a:pt x="1161" y="451"/>
                  </a:lnTo>
                  <a:lnTo>
                    <a:pt x="1159" y="447"/>
                  </a:lnTo>
                  <a:lnTo>
                    <a:pt x="1155" y="445"/>
                  </a:lnTo>
                  <a:lnTo>
                    <a:pt x="1151" y="443"/>
                  </a:lnTo>
                  <a:lnTo>
                    <a:pt x="1013" y="411"/>
                  </a:lnTo>
                  <a:lnTo>
                    <a:pt x="1001" y="386"/>
                  </a:lnTo>
                  <a:lnTo>
                    <a:pt x="989" y="362"/>
                  </a:lnTo>
                  <a:lnTo>
                    <a:pt x="981" y="349"/>
                  </a:lnTo>
                  <a:lnTo>
                    <a:pt x="973" y="337"/>
                  </a:lnTo>
                  <a:lnTo>
                    <a:pt x="965" y="326"/>
                  </a:lnTo>
                  <a:lnTo>
                    <a:pt x="956" y="314"/>
                  </a:lnTo>
                  <a:lnTo>
                    <a:pt x="1000" y="188"/>
                  </a:lnTo>
                  <a:lnTo>
                    <a:pt x="1001" y="183"/>
                  </a:lnTo>
                  <a:lnTo>
                    <a:pt x="1001" y="179"/>
                  </a:lnTo>
                  <a:lnTo>
                    <a:pt x="999" y="175"/>
                  </a:lnTo>
                  <a:lnTo>
                    <a:pt x="996" y="171"/>
                  </a:lnTo>
                  <a:lnTo>
                    <a:pt x="897" y="93"/>
                  </a:lnTo>
                  <a:lnTo>
                    <a:pt x="893" y="91"/>
                  </a:lnTo>
                  <a:lnTo>
                    <a:pt x="888" y="90"/>
                  </a:lnTo>
                  <a:lnTo>
                    <a:pt x="884" y="91"/>
                  </a:lnTo>
                  <a:lnTo>
                    <a:pt x="879" y="92"/>
                  </a:lnTo>
                  <a:lnTo>
                    <a:pt x="768" y="167"/>
                  </a:lnTo>
                  <a:lnTo>
                    <a:pt x="754" y="160"/>
                  </a:lnTo>
                  <a:lnTo>
                    <a:pt x="741" y="155"/>
                  </a:lnTo>
                  <a:lnTo>
                    <a:pt x="726" y="149"/>
                  </a:lnTo>
                  <a:lnTo>
                    <a:pt x="713" y="145"/>
                  </a:lnTo>
                  <a:lnTo>
                    <a:pt x="686" y="139"/>
                  </a:lnTo>
                  <a:lnTo>
                    <a:pt x="661" y="134"/>
                  </a:lnTo>
                  <a:lnTo>
                    <a:pt x="597" y="8"/>
                  </a:lnTo>
                  <a:lnTo>
                    <a:pt x="594" y="4"/>
                  </a:lnTo>
                  <a:lnTo>
                    <a:pt x="591" y="2"/>
                  </a:lnTo>
                  <a:lnTo>
                    <a:pt x="586" y="0"/>
                  </a:lnTo>
                  <a:lnTo>
                    <a:pt x="582" y="0"/>
                  </a:lnTo>
                  <a:lnTo>
                    <a:pt x="456" y="15"/>
                  </a:lnTo>
                  <a:lnTo>
                    <a:pt x="451" y="16"/>
                  </a:lnTo>
                  <a:lnTo>
                    <a:pt x="447" y="19"/>
                  </a:lnTo>
                  <a:lnTo>
                    <a:pt x="444" y="22"/>
                  </a:lnTo>
                  <a:lnTo>
                    <a:pt x="442" y="26"/>
                  </a:lnTo>
                  <a:lnTo>
                    <a:pt x="410" y="164"/>
                  </a:lnTo>
                  <a:lnTo>
                    <a:pt x="387" y="175"/>
                  </a:lnTo>
                  <a:lnTo>
                    <a:pt x="363" y="188"/>
                  </a:lnTo>
                  <a:lnTo>
                    <a:pt x="351" y="196"/>
                  </a:lnTo>
                  <a:lnTo>
                    <a:pt x="338" y="203"/>
                  </a:lnTo>
                  <a:lnTo>
                    <a:pt x="325" y="212"/>
                  </a:lnTo>
                  <a:lnTo>
                    <a:pt x="313" y="221"/>
                  </a:lnTo>
                  <a:lnTo>
                    <a:pt x="188" y="176"/>
                  </a:lnTo>
                  <a:lnTo>
                    <a:pt x="184" y="175"/>
                  </a:lnTo>
                  <a:lnTo>
                    <a:pt x="179" y="176"/>
                  </a:lnTo>
                  <a:lnTo>
                    <a:pt x="175" y="178"/>
                  </a:lnTo>
                  <a:lnTo>
                    <a:pt x="171" y="181"/>
                  </a:lnTo>
                  <a:lnTo>
                    <a:pt x="95" y="280"/>
                  </a:lnTo>
                  <a:lnTo>
                    <a:pt x="92" y="284"/>
                  </a:lnTo>
                  <a:lnTo>
                    <a:pt x="92" y="289"/>
                  </a:lnTo>
                  <a:lnTo>
                    <a:pt x="92" y="293"/>
                  </a:lnTo>
                  <a:lnTo>
                    <a:pt x="94" y="297"/>
                  </a:lnTo>
                  <a:lnTo>
                    <a:pt x="169" y="421"/>
                  </a:lnTo>
                  <a:lnTo>
                    <a:pt x="162" y="435"/>
                  </a:lnTo>
                  <a:lnTo>
                    <a:pt x="157" y="448"/>
                  </a:lnTo>
                  <a:lnTo>
                    <a:pt x="152" y="462"/>
                  </a:lnTo>
                  <a:lnTo>
                    <a:pt x="148" y="476"/>
                  </a:lnTo>
                  <a:lnTo>
                    <a:pt x="141" y="502"/>
                  </a:lnTo>
                  <a:lnTo>
                    <a:pt x="136" y="529"/>
                  </a:lnTo>
                  <a:lnTo>
                    <a:pt x="10" y="580"/>
                  </a:lnTo>
                  <a:lnTo>
                    <a:pt x="5" y="583"/>
                  </a:lnTo>
                  <a:lnTo>
                    <a:pt x="3" y="586"/>
                  </a:lnTo>
                  <a:lnTo>
                    <a:pt x="0" y="592"/>
                  </a:lnTo>
                  <a:lnTo>
                    <a:pt x="0" y="596"/>
                  </a:lnTo>
                  <a:lnTo>
                    <a:pt x="16" y="722"/>
                  </a:lnTo>
                  <a:lnTo>
                    <a:pt x="17" y="727"/>
                  </a:lnTo>
                  <a:lnTo>
                    <a:pt x="19" y="730"/>
                  </a:lnTo>
                  <a:lnTo>
                    <a:pt x="23" y="733"/>
                  </a:lnTo>
                  <a:lnTo>
                    <a:pt x="27" y="735"/>
                  </a:lnTo>
                  <a:lnTo>
                    <a:pt x="163" y="767"/>
                  </a:lnTo>
                  <a:lnTo>
                    <a:pt x="176" y="791"/>
                  </a:lnTo>
                  <a:lnTo>
                    <a:pt x="189" y="815"/>
                  </a:lnTo>
                  <a:lnTo>
                    <a:pt x="196" y="827"/>
                  </a:lnTo>
                  <a:lnTo>
                    <a:pt x="203" y="840"/>
                  </a:lnTo>
                  <a:lnTo>
                    <a:pt x="213" y="852"/>
                  </a:lnTo>
                  <a:lnTo>
                    <a:pt x="222" y="863"/>
                  </a:lnTo>
                  <a:lnTo>
                    <a:pt x="177" y="990"/>
                  </a:lnTo>
                  <a:lnTo>
                    <a:pt x="176" y="994"/>
                  </a:lnTo>
                  <a:lnTo>
                    <a:pt x="177" y="999"/>
                  </a:lnTo>
                  <a:lnTo>
                    <a:pt x="179" y="1003"/>
                  </a:lnTo>
                  <a:lnTo>
                    <a:pt x="182" y="1006"/>
                  </a:lnTo>
                  <a:lnTo>
                    <a:pt x="280" y="1084"/>
                  </a:lnTo>
                  <a:lnTo>
                    <a:pt x="284" y="1086"/>
                  </a:lnTo>
                  <a:lnTo>
                    <a:pt x="289" y="1087"/>
                  </a:lnTo>
                  <a:lnTo>
                    <a:pt x="294" y="1086"/>
                  </a:lnTo>
                  <a:lnTo>
                    <a:pt x="298" y="1085"/>
                  </a:lnTo>
                  <a:lnTo>
                    <a:pt x="422" y="1009"/>
                  </a:lnTo>
                  <a:lnTo>
                    <a:pt x="435" y="1015"/>
                  </a:lnTo>
                  <a:lnTo>
                    <a:pt x="448" y="1021"/>
                  </a:lnTo>
                  <a:lnTo>
                    <a:pt x="463" y="1025"/>
                  </a:lnTo>
                  <a:lnTo>
                    <a:pt x="476" y="1030"/>
                  </a:lnTo>
                  <a:lnTo>
                    <a:pt x="503" y="1037"/>
                  </a:lnTo>
                  <a:lnTo>
                    <a:pt x="529" y="1042"/>
                  </a:lnTo>
                  <a:lnTo>
                    <a:pt x="581" y="1168"/>
                  </a:lnTo>
                  <a:lnTo>
                    <a:pt x="583" y="1172"/>
                  </a:lnTo>
                  <a:lnTo>
                    <a:pt x="586" y="1175"/>
                  </a:lnTo>
                  <a:lnTo>
                    <a:pt x="590" y="1177"/>
                  </a:lnTo>
                  <a:lnTo>
                    <a:pt x="594" y="1178"/>
                  </a:lnTo>
                  <a:lnTo>
                    <a:pt x="595" y="1178"/>
                  </a:lnTo>
                  <a:lnTo>
                    <a:pt x="596" y="1177"/>
                  </a:lnTo>
                  <a:lnTo>
                    <a:pt x="722" y="1163"/>
                  </a:lnTo>
                  <a:lnTo>
                    <a:pt x="726" y="1161"/>
                  </a:lnTo>
                  <a:lnTo>
                    <a:pt x="730" y="1159"/>
                  </a:lnTo>
                  <a:lnTo>
                    <a:pt x="733" y="1156"/>
                  </a:lnTo>
                  <a:lnTo>
                    <a:pt x="734" y="1151"/>
                  </a:lnTo>
                  <a:lnTo>
                    <a:pt x="767" y="1013"/>
                  </a:lnTo>
                  <a:lnTo>
                    <a:pt x="767" y="1013"/>
                  </a:lnTo>
                  <a:lnTo>
                    <a:pt x="791" y="1002"/>
                  </a:lnTo>
                  <a:lnTo>
                    <a:pt x="815" y="989"/>
                  </a:lnTo>
                  <a:lnTo>
                    <a:pt x="828" y="981"/>
                  </a:lnTo>
                  <a:lnTo>
                    <a:pt x="840" y="974"/>
                  </a:lnTo>
                  <a:lnTo>
                    <a:pt x="851" y="965"/>
                  </a:lnTo>
                  <a:lnTo>
                    <a:pt x="864" y="956"/>
                  </a:lnTo>
                  <a:lnTo>
                    <a:pt x="990" y="100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reeform 21"/>
            <p:cNvSpPr>
              <a:spLocks noEditPoints="1"/>
            </p:cNvSpPr>
            <p:nvPr/>
          </p:nvSpPr>
          <p:spPr bwMode="auto">
            <a:xfrm>
              <a:off x="3660775" y="2162175"/>
              <a:ext cx="100013" cy="98425"/>
            </a:xfrm>
            <a:custGeom>
              <a:avLst/>
              <a:gdLst>
                <a:gd name="T0" fmla="*/ 146 w 312"/>
                <a:gd name="T1" fmla="*/ 280 h 310"/>
                <a:gd name="T2" fmla="*/ 110 w 312"/>
                <a:gd name="T3" fmla="*/ 271 h 310"/>
                <a:gd name="T4" fmla="*/ 79 w 312"/>
                <a:gd name="T5" fmla="*/ 253 h 310"/>
                <a:gd name="T6" fmla="*/ 53 w 312"/>
                <a:gd name="T7" fmla="*/ 227 h 310"/>
                <a:gd name="T8" fmla="*/ 37 w 312"/>
                <a:gd name="T9" fmla="*/ 194 h 310"/>
                <a:gd name="T10" fmla="*/ 31 w 312"/>
                <a:gd name="T11" fmla="*/ 158 h 310"/>
                <a:gd name="T12" fmla="*/ 35 w 312"/>
                <a:gd name="T13" fmla="*/ 121 h 310"/>
                <a:gd name="T14" fmla="*/ 50 w 312"/>
                <a:gd name="T15" fmla="*/ 87 h 310"/>
                <a:gd name="T16" fmla="*/ 74 w 312"/>
                <a:gd name="T17" fmla="*/ 60 h 310"/>
                <a:gd name="T18" fmla="*/ 105 w 312"/>
                <a:gd name="T19" fmla="*/ 41 h 310"/>
                <a:gd name="T20" fmla="*/ 140 w 312"/>
                <a:gd name="T21" fmla="*/ 30 h 310"/>
                <a:gd name="T22" fmla="*/ 167 w 312"/>
                <a:gd name="T23" fmla="*/ 30 h 310"/>
                <a:gd name="T24" fmla="*/ 200 w 312"/>
                <a:gd name="T25" fmla="*/ 38 h 310"/>
                <a:gd name="T26" fmla="*/ 230 w 312"/>
                <a:gd name="T27" fmla="*/ 54 h 310"/>
                <a:gd name="T28" fmla="*/ 253 w 312"/>
                <a:gd name="T29" fmla="*/ 77 h 310"/>
                <a:gd name="T30" fmla="*/ 271 w 312"/>
                <a:gd name="T31" fmla="*/ 106 h 310"/>
                <a:gd name="T32" fmla="*/ 280 w 312"/>
                <a:gd name="T33" fmla="*/ 140 h 310"/>
                <a:gd name="T34" fmla="*/ 279 w 312"/>
                <a:gd name="T35" fmla="*/ 177 h 310"/>
                <a:gd name="T36" fmla="*/ 268 w 312"/>
                <a:gd name="T37" fmla="*/ 212 h 310"/>
                <a:gd name="T38" fmla="*/ 246 w 312"/>
                <a:gd name="T39" fmla="*/ 242 h 310"/>
                <a:gd name="T40" fmla="*/ 218 w 312"/>
                <a:gd name="T41" fmla="*/ 263 h 310"/>
                <a:gd name="T42" fmla="*/ 184 w 312"/>
                <a:gd name="T43" fmla="*/ 278 h 310"/>
                <a:gd name="T44" fmla="*/ 121 w 312"/>
                <a:gd name="T45" fmla="*/ 4 h 310"/>
                <a:gd name="T46" fmla="*/ 79 w 312"/>
                <a:gd name="T47" fmla="*/ 20 h 310"/>
                <a:gd name="T48" fmla="*/ 43 w 312"/>
                <a:gd name="T49" fmla="*/ 48 h 310"/>
                <a:gd name="T50" fmla="*/ 17 w 312"/>
                <a:gd name="T51" fmla="*/ 84 h 310"/>
                <a:gd name="T52" fmla="*/ 3 w 312"/>
                <a:gd name="T53" fmla="*/ 127 h 310"/>
                <a:gd name="T54" fmla="*/ 1 w 312"/>
                <a:gd name="T55" fmla="*/ 173 h 310"/>
                <a:gd name="T56" fmla="*/ 12 w 312"/>
                <a:gd name="T57" fmla="*/ 215 h 310"/>
                <a:gd name="T58" fmla="*/ 34 w 312"/>
                <a:gd name="T59" fmla="*/ 251 h 310"/>
                <a:gd name="T60" fmla="*/ 64 w 312"/>
                <a:gd name="T61" fmla="*/ 280 h 310"/>
                <a:gd name="T62" fmla="*/ 100 w 312"/>
                <a:gd name="T63" fmla="*/ 300 h 310"/>
                <a:gd name="T64" fmla="*/ 141 w 312"/>
                <a:gd name="T65" fmla="*/ 309 h 310"/>
                <a:gd name="T66" fmla="*/ 174 w 312"/>
                <a:gd name="T67" fmla="*/ 309 h 310"/>
                <a:gd name="T68" fmla="*/ 219 w 312"/>
                <a:gd name="T69" fmla="*/ 297 h 310"/>
                <a:gd name="T70" fmla="*/ 257 w 312"/>
                <a:gd name="T71" fmla="*/ 272 h 310"/>
                <a:gd name="T72" fmla="*/ 287 w 312"/>
                <a:gd name="T73" fmla="*/ 239 h 310"/>
                <a:gd name="T74" fmla="*/ 305 w 312"/>
                <a:gd name="T75" fmla="*/ 198 h 310"/>
                <a:gd name="T76" fmla="*/ 312 w 312"/>
                <a:gd name="T77" fmla="*/ 152 h 310"/>
                <a:gd name="T78" fmla="*/ 303 w 312"/>
                <a:gd name="T79" fmla="*/ 105 h 310"/>
                <a:gd name="T80" fmla="*/ 283 w 312"/>
                <a:gd name="T81" fmla="*/ 65 h 310"/>
                <a:gd name="T82" fmla="*/ 251 w 312"/>
                <a:gd name="T83" fmla="*/ 32 h 310"/>
                <a:gd name="T84" fmla="*/ 213 w 312"/>
                <a:gd name="T85" fmla="*/ 10 h 310"/>
                <a:gd name="T86" fmla="*/ 168 w 312"/>
                <a:gd name="T87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12" h="310">
                  <a:moveTo>
                    <a:pt x="171" y="280"/>
                  </a:moveTo>
                  <a:lnTo>
                    <a:pt x="158" y="281"/>
                  </a:lnTo>
                  <a:lnTo>
                    <a:pt x="146" y="280"/>
                  </a:lnTo>
                  <a:lnTo>
                    <a:pt x="133" y="279"/>
                  </a:lnTo>
                  <a:lnTo>
                    <a:pt x="121" y="276"/>
                  </a:lnTo>
                  <a:lnTo>
                    <a:pt x="110" y="271"/>
                  </a:lnTo>
                  <a:lnTo>
                    <a:pt x="98" y="266"/>
                  </a:lnTo>
                  <a:lnTo>
                    <a:pt x="88" y="260"/>
                  </a:lnTo>
                  <a:lnTo>
                    <a:pt x="79" y="253"/>
                  </a:lnTo>
                  <a:lnTo>
                    <a:pt x="70" y="246"/>
                  </a:lnTo>
                  <a:lnTo>
                    <a:pt x="62" y="237"/>
                  </a:lnTo>
                  <a:lnTo>
                    <a:pt x="53" y="227"/>
                  </a:lnTo>
                  <a:lnTo>
                    <a:pt x="47" y="217"/>
                  </a:lnTo>
                  <a:lnTo>
                    <a:pt x="42" y="206"/>
                  </a:lnTo>
                  <a:lnTo>
                    <a:pt x="37" y="194"/>
                  </a:lnTo>
                  <a:lnTo>
                    <a:pt x="34" y="182"/>
                  </a:lnTo>
                  <a:lnTo>
                    <a:pt x="32" y="170"/>
                  </a:lnTo>
                  <a:lnTo>
                    <a:pt x="31" y="158"/>
                  </a:lnTo>
                  <a:lnTo>
                    <a:pt x="31" y="144"/>
                  </a:lnTo>
                  <a:lnTo>
                    <a:pt x="33" y="132"/>
                  </a:lnTo>
                  <a:lnTo>
                    <a:pt x="35" y="121"/>
                  </a:lnTo>
                  <a:lnTo>
                    <a:pt x="39" y="108"/>
                  </a:lnTo>
                  <a:lnTo>
                    <a:pt x="44" y="98"/>
                  </a:lnTo>
                  <a:lnTo>
                    <a:pt x="50" y="87"/>
                  </a:lnTo>
                  <a:lnTo>
                    <a:pt x="57" y="78"/>
                  </a:lnTo>
                  <a:lnTo>
                    <a:pt x="65" y="68"/>
                  </a:lnTo>
                  <a:lnTo>
                    <a:pt x="74" y="60"/>
                  </a:lnTo>
                  <a:lnTo>
                    <a:pt x="83" y="53"/>
                  </a:lnTo>
                  <a:lnTo>
                    <a:pt x="93" y="46"/>
                  </a:lnTo>
                  <a:lnTo>
                    <a:pt x="105" y="41"/>
                  </a:lnTo>
                  <a:lnTo>
                    <a:pt x="116" y="35"/>
                  </a:lnTo>
                  <a:lnTo>
                    <a:pt x="128" y="32"/>
                  </a:lnTo>
                  <a:lnTo>
                    <a:pt x="140" y="30"/>
                  </a:lnTo>
                  <a:lnTo>
                    <a:pt x="149" y="29"/>
                  </a:lnTo>
                  <a:lnTo>
                    <a:pt x="156" y="29"/>
                  </a:lnTo>
                  <a:lnTo>
                    <a:pt x="167" y="30"/>
                  </a:lnTo>
                  <a:lnTo>
                    <a:pt x="178" y="31"/>
                  </a:lnTo>
                  <a:lnTo>
                    <a:pt x="190" y="34"/>
                  </a:lnTo>
                  <a:lnTo>
                    <a:pt x="200" y="38"/>
                  </a:lnTo>
                  <a:lnTo>
                    <a:pt x="210" y="43"/>
                  </a:lnTo>
                  <a:lnTo>
                    <a:pt x="220" y="48"/>
                  </a:lnTo>
                  <a:lnTo>
                    <a:pt x="230" y="54"/>
                  </a:lnTo>
                  <a:lnTo>
                    <a:pt x="238" y="61"/>
                  </a:lnTo>
                  <a:lnTo>
                    <a:pt x="246" y="68"/>
                  </a:lnTo>
                  <a:lnTo>
                    <a:pt x="253" y="77"/>
                  </a:lnTo>
                  <a:lnTo>
                    <a:pt x="260" y="86"/>
                  </a:lnTo>
                  <a:lnTo>
                    <a:pt x="266" y="96"/>
                  </a:lnTo>
                  <a:lnTo>
                    <a:pt x="271" y="106"/>
                  </a:lnTo>
                  <a:lnTo>
                    <a:pt x="275" y="117"/>
                  </a:lnTo>
                  <a:lnTo>
                    <a:pt x="278" y="128"/>
                  </a:lnTo>
                  <a:lnTo>
                    <a:pt x="280" y="140"/>
                  </a:lnTo>
                  <a:lnTo>
                    <a:pt x="281" y="152"/>
                  </a:lnTo>
                  <a:lnTo>
                    <a:pt x="281" y="165"/>
                  </a:lnTo>
                  <a:lnTo>
                    <a:pt x="279" y="177"/>
                  </a:lnTo>
                  <a:lnTo>
                    <a:pt x="276" y="189"/>
                  </a:lnTo>
                  <a:lnTo>
                    <a:pt x="272" y="201"/>
                  </a:lnTo>
                  <a:lnTo>
                    <a:pt x="268" y="212"/>
                  </a:lnTo>
                  <a:lnTo>
                    <a:pt x="261" y="222"/>
                  </a:lnTo>
                  <a:lnTo>
                    <a:pt x="254" y="232"/>
                  </a:lnTo>
                  <a:lnTo>
                    <a:pt x="246" y="242"/>
                  </a:lnTo>
                  <a:lnTo>
                    <a:pt x="238" y="250"/>
                  </a:lnTo>
                  <a:lnTo>
                    <a:pt x="229" y="257"/>
                  </a:lnTo>
                  <a:lnTo>
                    <a:pt x="218" y="263"/>
                  </a:lnTo>
                  <a:lnTo>
                    <a:pt x="207" y="269"/>
                  </a:lnTo>
                  <a:lnTo>
                    <a:pt x="196" y="273"/>
                  </a:lnTo>
                  <a:lnTo>
                    <a:pt x="184" y="278"/>
                  </a:lnTo>
                  <a:lnTo>
                    <a:pt x="171" y="280"/>
                  </a:lnTo>
                  <a:close/>
                  <a:moveTo>
                    <a:pt x="137" y="1"/>
                  </a:moveTo>
                  <a:lnTo>
                    <a:pt x="121" y="4"/>
                  </a:lnTo>
                  <a:lnTo>
                    <a:pt x="107" y="8"/>
                  </a:lnTo>
                  <a:lnTo>
                    <a:pt x="92" y="13"/>
                  </a:lnTo>
                  <a:lnTo>
                    <a:pt x="79" y="20"/>
                  </a:lnTo>
                  <a:lnTo>
                    <a:pt x="66" y="28"/>
                  </a:lnTo>
                  <a:lnTo>
                    <a:pt x="54" y="38"/>
                  </a:lnTo>
                  <a:lnTo>
                    <a:pt x="43" y="48"/>
                  </a:lnTo>
                  <a:lnTo>
                    <a:pt x="34" y="59"/>
                  </a:lnTo>
                  <a:lnTo>
                    <a:pt x="25" y="71"/>
                  </a:lnTo>
                  <a:lnTo>
                    <a:pt x="17" y="84"/>
                  </a:lnTo>
                  <a:lnTo>
                    <a:pt x="11" y="98"/>
                  </a:lnTo>
                  <a:lnTo>
                    <a:pt x="6" y="112"/>
                  </a:lnTo>
                  <a:lnTo>
                    <a:pt x="3" y="127"/>
                  </a:lnTo>
                  <a:lnTo>
                    <a:pt x="1" y="142"/>
                  </a:lnTo>
                  <a:lnTo>
                    <a:pt x="0" y="158"/>
                  </a:lnTo>
                  <a:lnTo>
                    <a:pt x="1" y="173"/>
                  </a:lnTo>
                  <a:lnTo>
                    <a:pt x="4" y="188"/>
                  </a:lnTo>
                  <a:lnTo>
                    <a:pt x="7" y="202"/>
                  </a:lnTo>
                  <a:lnTo>
                    <a:pt x="12" y="215"/>
                  </a:lnTo>
                  <a:lnTo>
                    <a:pt x="18" y="228"/>
                  </a:lnTo>
                  <a:lnTo>
                    <a:pt x="26" y="240"/>
                  </a:lnTo>
                  <a:lnTo>
                    <a:pt x="34" y="251"/>
                  </a:lnTo>
                  <a:lnTo>
                    <a:pt x="43" y="262"/>
                  </a:lnTo>
                  <a:lnTo>
                    <a:pt x="53" y="271"/>
                  </a:lnTo>
                  <a:lnTo>
                    <a:pt x="64" y="280"/>
                  </a:lnTo>
                  <a:lnTo>
                    <a:pt x="76" y="288"/>
                  </a:lnTo>
                  <a:lnTo>
                    <a:pt x="87" y="294"/>
                  </a:lnTo>
                  <a:lnTo>
                    <a:pt x="100" y="300"/>
                  </a:lnTo>
                  <a:lnTo>
                    <a:pt x="114" y="304"/>
                  </a:lnTo>
                  <a:lnTo>
                    <a:pt x="127" y="307"/>
                  </a:lnTo>
                  <a:lnTo>
                    <a:pt x="141" y="309"/>
                  </a:lnTo>
                  <a:lnTo>
                    <a:pt x="156" y="310"/>
                  </a:lnTo>
                  <a:lnTo>
                    <a:pt x="165" y="310"/>
                  </a:lnTo>
                  <a:lnTo>
                    <a:pt x="174" y="309"/>
                  </a:lnTo>
                  <a:lnTo>
                    <a:pt x="190" y="306"/>
                  </a:lnTo>
                  <a:lnTo>
                    <a:pt x="205" y="302"/>
                  </a:lnTo>
                  <a:lnTo>
                    <a:pt x="219" y="297"/>
                  </a:lnTo>
                  <a:lnTo>
                    <a:pt x="233" y="290"/>
                  </a:lnTo>
                  <a:lnTo>
                    <a:pt x="246" y="282"/>
                  </a:lnTo>
                  <a:lnTo>
                    <a:pt x="257" y="272"/>
                  </a:lnTo>
                  <a:lnTo>
                    <a:pt x="269" y="262"/>
                  </a:lnTo>
                  <a:lnTo>
                    <a:pt x="278" y="251"/>
                  </a:lnTo>
                  <a:lnTo>
                    <a:pt x="287" y="239"/>
                  </a:lnTo>
                  <a:lnTo>
                    <a:pt x="294" y="225"/>
                  </a:lnTo>
                  <a:lnTo>
                    <a:pt x="300" y="212"/>
                  </a:lnTo>
                  <a:lnTo>
                    <a:pt x="305" y="198"/>
                  </a:lnTo>
                  <a:lnTo>
                    <a:pt x="309" y="183"/>
                  </a:lnTo>
                  <a:lnTo>
                    <a:pt x="311" y="168"/>
                  </a:lnTo>
                  <a:lnTo>
                    <a:pt x="312" y="152"/>
                  </a:lnTo>
                  <a:lnTo>
                    <a:pt x="311" y="136"/>
                  </a:lnTo>
                  <a:lnTo>
                    <a:pt x="308" y="121"/>
                  </a:lnTo>
                  <a:lnTo>
                    <a:pt x="303" y="105"/>
                  </a:lnTo>
                  <a:lnTo>
                    <a:pt x="297" y="91"/>
                  </a:lnTo>
                  <a:lnTo>
                    <a:pt x="291" y="78"/>
                  </a:lnTo>
                  <a:lnTo>
                    <a:pt x="283" y="65"/>
                  </a:lnTo>
                  <a:lnTo>
                    <a:pt x="274" y="53"/>
                  </a:lnTo>
                  <a:lnTo>
                    <a:pt x="262" y="43"/>
                  </a:lnTo>
                  <a:lnTo>
                    <a:pt x="251" y="32"/>
                  </a:lnTo>
                  <a:lnTo>
                    <a:pt x="240" y="24"/>
                  </a:lnTo>
                  <a:lnTo>
                    <a:pt x="227" y="16"/>
                  </a:lnTo>
                  <a:lnTo>
                    <a:pt x="213" y="10"/>
                  </a:lnTo>
                  <a:lnTo>
                    <a:pt x="199" y="6"/>
                  </a:lnTo>
                  <a:lnTo>
                    <a:pt x="184" y="2"/>
                  </a:lnTo>
                  <a:lnTo>
                    <a:pt x="168" y="0"/>
                  </a:lnTo>
                  <a:lnTo>
                    <a:pt x="153" y="0"/>
                  </a:lnTo>
                  <a:lnTo>
                    <a:pt x="137" y="1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reeform 22"/>
            <p:cNvSpPr>
              <a:spLocks noEditPoints="1"/>
            </p:cNvSpPr>
            <p:nvPr/>
          </p:nvSpPr>
          <p:spPr bwMode="auto">
            <a:xfrm>
              <a:off x="3895725" y="2005013"/>
              <a:ext cx="90488" cy="90488"/>
            </a:xfrm>
            <a:custGeom>
              <a:avLst/>
              <a:gdLst>
                <a:gd name="T0" fmla="*/ 123 w 287"/>
                <a:gd name="T1" fmla="*/ 254 h 286"/>
                <a:gd name="T2" fmla="*/ 91 w 287"/>
                <a:gd name="T3" fmla="*/ 243 h 286"/>
                <a:gd name="T4" fmla="*/ 66 w 287"/>
                <a:gd name="T5" fmla="*/ 224 h 286"/>
                <a:gd name="T6" fmla="*/ 45 w 287"/>
                <a:gd name="T7" fmla="*/ 199 h 286"/>
                <a:gd name="T8" fmla="*/ 33 w 287"/>
                <a:gd name="T9" fmla="*/ 168 h 286"/>
                <a:gd name="T10" fmla="*/ 31 w 287"/>
                <a:gd name="T11" fmla="*/ 134 h 286"/>
                <a:gd name="T12" fmla="*/ 38 w 287"/>
                <a:gd name="T13" fmla="*/ 101 h 286"/>
                <a:gd name="T14" fmla="*/ 54 w 287"/>
                <a:gd name="T15" fmla="*/ 73 h 286"/>
                <a:gd name="T16" fmla="*/ 78 w 287"/>
                <a:gd name="T17" fmla="*/ 50 h 286"/>
                <a:gd name="T18" fmla="*/ 108 w 287"/>
                <a:gd name="T19" fmla="*/ 35 h 286"/>
                <a:gd name="T20" fmla="*/ 140 w 287"/>
                <a:gd name="T21" fmla="*/ 30 h 286"/>
                <a:gd name="T22" fmla="*/ 155 w 287"/>
                <a:gd name="T23" fmla="*/ 30 h 286"/>
                <a:gd name="T24" fmla="*/ 187 w 287"/>
                <a:gd name="T25" fmla="*/ 38 h 286"/>
                <a:gd name="T26" fmla="*/ 214 w 287"/>
                <a:gd name="T27" fmla="*/ 55 h 286"/>
                <a:gd name="T28" fmla="*/ 236 w 287"/>
                <a:gd name="T29" fmla="*/ 78 h 286"/>
                <a:gd name="T30" fmla="*/ 251 w 287"/>
                <a:gd name="T31" fmla="*/ 107 h 286"/>
                <a:gd name="T32" fmla="*/ 257 w 287"/>
                <a:gd name="T33" fmla="*/ 140 h 286"/>
                <a:gd name="T34" fmla="*/ 252 w 287"/>
                <a:gd name="T35" fmla="*/ 174 h 286"/>
                <a:gd name="T36" fmla="*/ 239 w 287"/>
                <a:gd name="T37" fmla="*/ 204 h 286"/>
                <a:gd name="T38" fmla="*/ 217 w 287"/>
                <a:gd name="T39" fmla="*/ 229 h 286"/>
                <a:gd name="T40" fmla="*/ 190 w 287"/>
                <a:gd name="T41" fmla="*/ 246 h 286"/>
                <a:gd name="T42" fmla="*/ 158 w 287"/>
                <a:gd name="T43" fmla="*/ 256 h 286"/>
                <a:gd name="T44" fmla="*/ 126 w 287"/>
                <a:gd name="T45" fmla="*/ 1 h 286"/>
                <a:gd name="T46" fmla="*/ 85 w 287"/>
                <a:gd name="T47" fmla="*/ 12 h 286"/>
                <a:gd name="T48" fmla="*/ 50 w 287"/>
                <a:gd name="T49" fmla="*/ 34 h 286"/>
                <a:gd name="T50" fmla="*/ 23 w 287"/>
                <a:gd name="T51" fmla="*/ 66 h 286"/>
                <a:gd name="T52" fmla="*/ 6 w 287"/>
                <a:gd name="T53" fmla="*/ 104 h 286"/>
                <a:gd name="T54" fmla="*/ 0 w 287"/>
                <a:gd name="T55" fmla="*/ 146 h 286"/>
                <a:gd name="T56" fmla="*/ 7 w 287"/>
                <a:gd name="T57" fmla="*/ 188 h 286"/>
                <a:gd name="T58" fmla="*/ 26 w 287"/>
                <a:gd name="T59" fmla="*/ 225 h 286"/>
                <a:gd name="T60" fmla="*/ 53 w 287"/>
                <a:gd name="T61" fmla="*/ 255 h 286"/>
                <a:gd name="T62" fmla="*/ 88 w 287"/>
                <a:gd name="T63" fmla="*/ 275 h 286"/>
                <a:gd name="T64" fmla="*/ 129 w 287"/>
                <a:gd name="T65" fmla="*/ 285 h 286"/>
                <a:gd name="T66" fmla="*/ 147 w 287"/>
                <a:gd name="T67" fmla="*/ 286 h 286"/>
                <a:gd name="T68" fmla="*/ 189 w 287"/>
                <a:gd name="T69" fmla="*/ 278 h 286"/>
                <a:gd name="T70" fmla="*/ 226 w 287"/>
                <a:gd name="T71" fmla="*/ 260 h 286"/>
                <a:gd name="T72" fmla="*/ 256 w 287"/>
                <a:gd name="T73" fmla="*/ 231 h 286"/>
                <a:gd name="T74" fmla="*/ 277 w 287"/>
                <a:gd name="T75" fmla="*/ 195 h 286"/>
                <a:gd name="T76" fmla="*/ 286 w 287"/>
                <a:gd name="T77" fmla="*/ 154 h 286"/>
                <a:gd name="T78" fmla="*/ 283 w 287"/>
                <a:gd name="T79" fmla="*/ 111 h 286"/>
                <a:gd name="T80" fmla="*/ 268 w 287"/>
                <a:gd name="T81" fmla="*/ 72 h 286"/>
                <a:gd name="T82" fmla="*/ 242 w 287"/>
                <a:gd name="T83" fmla="*/ 39 h 286"/>
                <a:gd name="T84" fmla="*/ 208 w 287"/>
                <a:gd name="T85" fmla="*/ 16 h 286"/>
                <a:gd name="T86" fmla="*/ 169 w 287"/>
                <a:gd name="T87" fmla="*/ 2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7" h="286">
                  <a:moveTo>
                    <a:pt x="147" y="256"/>
                  </a:moveTo>
                  <a:lnTo>
                    <a:pt x="134" y="256"/>
                  </a:lnTo>
                  <a:lnTo>
                    <a:pt x="123" y="254"/>
                  </a:lnTo>
                  <a:lnTo>
                    <a:pt x="112" y="252"/>
                  </a:lnTo>
                  <a:lnTo>
                    <a:pt x="102" y="247"/>
                  </a:lnTo>
                  <a:lnTo>
                    <a:pt x="91" y="243"/>
                  </a:lnTo>
                  <a:lnTo>
                    <a:pt x="82" y="237"/>
                  </a:lnTo>
                  <a:lnTo>
                    <a:pt x="74" y="231"/>
                  </a:lnTo>
                  <a:lnTo>
                    <a:pt x="66" y="224"/>
                  </a:lnTo>
                  <a:lnTo>
                    <a:pt x="57" y="217"/>
                  </a:lnTo>
                  <a:lnTo>
                    <a:pt x="51" y="207"/>
                  </a:lnTo>
                  <a:lnTo>
                    <a:pt x="45" y="199"/>
                  </a:lnTo>
                  <a:lnTo>
                    <a:pt x="40" y="189"/>
                  </a:lnTo>
                  <a:lnTo>
                    <a:pt x="36" y="179"/>
                  </a:lnTo>
                  <a:lnTo>
                    <a:pt x="33" y="168"/>
                  </a:lnTo>
                  <a:lnTo>
                    <a:pt x="31" y="157"/>
                  </a:lnTo>
                  <a:lnTo>
                    <a:pt x="30" y="145"/>
                  </a:lnTo>
                  <a:lnTo>
                    <a:pt x="31" y="134"/>
                  </a:lnTo>
                  <a:lnTo>
                    <a:pt x="32" y="122"/>
                  </a:lnTo>
                  <a:lnTo>
                    <a:pt x="35" y="112"/>
                  </a:lnTo>
                  <a:lnTo>
                    <a:pt x="38" y="101"/>
                  </a:lnTo>
                  <a:lnTo>
                    <a:pt x="43" y="91"/>
                  </a:lnTo>
                  <a:lnTo>
                    <a:pt x="48" y="81"/>
                  </a:lnTo>
                  <a:lnTo>
                    <a:pt x="54" y="73"/>
                  </a:lnTo>
                  <a:lnTo>
                    <a:pt x="62" y="65"/>
                  </a:lnTo>
                  <a:lnTo>
                    <a:pt x="70" y="58"/>
                  </a:lnTo>
                  <a:lnTo>
                    <a:pt x="78" y="50"/>
                  </a:lnTo>
                  <a:lnTo>
                    <a:pt x="87" y="44"/>
                  </a:lnTo>
                  <a:lnTo>
                    <a:pt x="97" y="39"/>
                  </a:lnTo>
                  <a:lnTo>
                    <a:pt x="108" y="35"/>
                  </a:lnTo>
                  <a:lnTo>
                    <a:pt x="118" y="33"/>
                  </a:lnTo>
                  <a:lnTo>
                    <a:pt x="129" y="31"/>
                  </a:lnTo>
                  <a:lnTo>
                    <a:pt x="140" y="30"/>
                  </a:lnTo>
                  <a:lnTo>
                    <a:pt x="143" y="30"/>
                  </a:lnTo>
                  <a:lnTo>
                    <a:pt x="144" y="30"/>
                  </a:lnTo>
                  <a:lnTo>
                    <a:pt x="155" y="30"/>
                  </a:lnTo>
                  <a:lnTo>
                    <a:pt x="166" y="32"/>
                  </a:lnTo>
                  <a:lnTo>
                    <a:pt x="176" y="35"/>
                  </a:lnTo>
                  <a:lnTo>
                    <a:pt x="187" y="38"/>
                  </a:lnTo>
                  <a:lnTo>
                    <a:pt x="197" y="43"/>
                  </a:lnTo>
                  <a:lnTo>
                    <a:pt x="206" y="48"/>
                  </a:lnTo>
                  <a:lnTo>
                    <a:pt x="214" y="55"/>
                  </a:lnTo>
                  <a:lnTo>
                    <a:pt x="222" y="62"/>
                  </a:lnTo>
                  <a:lnTo>
                    <a:pt x="230" y="70"/>
                  </a:lnTo>
                  <a:lnTo>
                    <a:pt x="236" y="78"/>
                  </a:lnTo>
                  <a:lnTo>
                    <a:pt x="242" y="87"/>
                  </a:lnTo>
                  <a:lnTo>
                    <a:pt x="247" y="97"/>
                  </a:lnTo>
                  <a:lnTo>
                    <a:pt x="251" y="107"/>
                  </a:lnTo>
                  <a:lnTo>
                    <a:pt x="254" y="118"/>
                  </a:lnTo>
                  <a:lnTo>
                    <a:pt x="256" y="128"/>
                  </a:lnTo>
                  <a:lnTo>
                    <a:pt x="257" y="140"/>
                  </a:lnTo>
                  <a:lnTo>
                    <a:pt x="256" y="152"/>
                  </a:lnTo>
                  <a:lnTo>
                    <a:pt x="255" y="163"/>
                  </a:lnTo>
                  <a:lnTo>
                    <a:pt x="252" y="174"/>
                  </a:lnTo>
                  <a:lnTo>
                    <a:pt x="249" y="185"/>
                  </a:lnTo>
                  <a:lnTo>
                    <a:pt x="244" y="194"/>
                  </a:lnTo>
                  <a:lnTo>
                    <a:pt x="239" y="204"/>
                  </a:lnTo>
                  <a:lnTo>
                    <a:pt x="233" y="213"/>
                  </a:lnTo>
                  <a:lnTo>
                    <a:pt x="226" y="221"/>
                  </a:lnTo>
                  <a:lnTo>
                    <a:pt x="217" y="229"/>
                  </a:lnTo>
                  <a:lnTo>
                    <a:pt x="209" y="235"/>
                  </a:lnTo>
                  <a:lnTo>
                    <a:pt x="200" y="241"/>
                  </a:lnTo>
                  <a:lnTo>
                    <a:pt x="190" y="246"/>
                  </a:lnTo>
                  <a:lnTo>
                    <a:pt x="179" y="250"/>
                  </a:lnTo>
                  <a:lnTo>
                    <a:pt x="169" y="254"/>
                  </a:lnTo>
                  <a:lnTo>
                    <a:pt x="158" y="256"/>
                  </a:lnTo>
                  <a:lnTo>
                    <a:pt x="147" y="256"/>
                  </a:lnTo>
                  <a:close/>
                  <a:moveTo>
                    <a:pt x="140" y="0"/>
                  </a:moveTo>
                  <a:lnTo>
                    <a:pt x="126" y="1"/>
                  </a:lnTo>
                  <a:lnTo>
                    <a:pt x="112" y="3"/>
                  </a:lnTo>
                  <a:lnTo>
                    <a:pt x="97" y="7"/>
                  </a:lnTo>
                  <a:lnTo>
                    <a:pt x="85" y="12"/>
                  </a:lnTo>
                  <a:lnTo>
                    <a:pt x="73" y="19"/>
                  </a:lnTo>
                  <a:lnTo>
                    <a:pt x="61" y="26"/>
                  </a:lnTo>
                  <a:lnTo>
                    <a:pt x="50" y="34"/>
                  </a:lnTo>
                  <a:lnTo>
                    <a:pt x="40" y="44"/>
                  </a:lnTo>
                  <a:lnTo>
                    <a:pt x="31" y="55"/>
                  </a:lnTo>
                  <a:lnTo>
                    <a:pt x="23" y="66"/>
                  </a:lnTo>
                  <a:lnTo>
                    <a:pt x="16" y="77"/>
                  </a:lnTo>
                  <a:lnTo>
                    <a:pt x="10" y="90"/>
                  </a:lnTo>
                  <a:lnTo>
                    <a:pt x="6" y="104"/>
                  </a:lnTo>
                  <a:lnTo>
                    <a:pt x="2" y="117"/>
                  </a:lnTo>
                  <a:lnTo>
                    <a:pt x="1" y="131"/>
                  </a:lnTo>
                  <a:lnTo>
                    <a:pt x="0" y="146"/>
                  </a:lnTo>
                  <a:lnTo>
                    <a:pt x="1" y="160"/>
                  </a:lnTo>
                  <a:lnTo>
                    <a:pt x="4" y="175"/>
                  </a:lnTo>
                  <a:lnTo>
                    <a:pt x="7" y="188"/>
                  </a:lnTo>
                  <a:lnTo>
                    <a:pt x="12" y="201"/>
                  </a:lnTo>
                  <a:lnTo>
                    <a:pt x="18" y="214"/>
                  </a:lnTo>
                  <a:lnTo>
                    <a:pt x="26" y="225"/>
                  </a:lnTo>
                  <a:lnTo>
                    <a:pt x="34" y="235"/>
                  </a:lnTo>
                  <a:lnTo>
                    <a:pt x="43" y="245"/>
                  </a:lnTo>
                  <a:lnTo>
                    <a:pt x="53" y="255"/>
                  </a:lnTo>
                  <a:lnTo>
                    <a:pt x="65" y="263"/>
                  </a:lnTo>
                  <a:lnTo>
                    <a:pt x="76" y="269"/>
                  </a:lnTo>
                  <a:lnTo>
                    <a:pt x="88" y="275"/>
                  </a:lnTo>
                  <a:lnTo>
                    <a:pt x="102" y="280"/>
                  </a:lnTo>
                  <a:lnTo>
                    <a:pt x="115" y="283"/>
                  </a:lnTo>
                  <a:lnTo>
                    <a:pt x="129" y="285"/>
                  </a:lnTo>
                  <a:lnTo>
                    <a:pt x="144" y="286"/>
                  </a:lnTo>
                  <a:lnTo>
                    <a:pt x="146" y="286"/>
                  </a:lnTo>
                  <a:lnTo>
                    <a:pt x="147" y="286"/>
                  </a:lnTo>
                  <a:lnTo>
                    <a:pt x="161" y="285"/>
                  </a:lnTo>
                  <a:lnTo>
                    <a:pt x="175" y="282"/>
                  </a:lnTo>
                  <a:lnTo>
                    <a:pt x="189" y="278"/>
                  </a:lnTo>
                  <a:lnTo>
                    <a:pt x="202" y="273"/>
                  </a:lnTo>
                  <a:lnTo>
                    <a:pt x="214" y="267"/>
                  </a:lnTo>
                  <a:lnTo>
                    <a:pt x="226" y="260"/>
                  </a:lnTo>
                  <a:lnTo>
                    <a:pt x="237" y="252"/>
                  </a:lnTo>
                  <a:lnTo>
                    <a:pt x="247" y="241"/>
                  </a:lnTo>
                  <a:lnTo>
                    <a:pt x="256" y="231"/>
                  </a:lnTo>
                  <a:lnTo>
                    <a:pt x="263" y="220"/>
                  </a:lnTo>
                  <a:lnTo>
                    <a:pt x="271" y="208"/>
                  </a:lnTo>
                  <a:lnTo>
                    <a:pt x="277" y="195"/>
                  </a:lnTo>
                  <a:lnTo>
                    <a:pt x="281" y="182"/>
                  </a:lnTo>
                  <a:lnTo>
                    <a:pt x="284" y="168"/>
                  </a:lnTo>
                  <a:lnTo>
                    <a:pt x="286" y="154"/>
                  </a:lnTo>
                  <a:lnTo>
                    <a:pt x="287" y="140"/>
                  </a:lnTo>
                  <a:lnTo>
                    <a:pt x="286" y="124"/>
                  </a:lnTo>
                  <a:lnTo>
                    <a:pt x="283" y="111"/>
                  </a:lnTo>
                  <a:lnTo>
                    <a:pt x="279" y="97"/>
                  </a:lnTo>
                  <a:lnTo>
                    <a:pt x="274" y="84"/>
                  </a:lnTo>
                  <a:lnTo>
                    <a:pt x="268" y="72"/>
                  </a:lnTo>
                  <a:lnTo>
                    <a:pt x="260" y="60"/>
                  </a:lnTo>
                  <a:lnTo>
                    <a:pt x="251" y="49"/>
                  </a:lnTo>
                  <a:lnTo>
                    <a:pt x="242" y="39"/>
                  </a:lnTo>
                  <a:lnTo>
                    <a:pt x="232" y="30"/>
                  </a:lnTo>
                  <a:lnTo>
                    <a:pt x="220" y="22"/>
                  </a:lnTo>
                  <a:lnTo>
                    <a:pt x="208" y="16"/>
                  </a:lnTo>
                  <a:lnTo>
                    <a:pt x="196" y="9"/>
                  </a:lnTo>
                  <a:lnTo>
                    <a:pt x="182" y="5"/>
                  </a:lnTo>
                  <a:lnTo>
                    <a:pt x="169" y="2"/>
                  </a:lnTo>
                  <a:lnTo>
                    <a:pt x="155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reeform 23"/>
            <p:cNvSpPr>
              <a:spLocks noEditPoints="1"/>
            </p:cNvSpPr>
            <p:nvPr/>
          </p:nvSpPr>
          <p:spPr bwMode="auto">
            <a:xfrm>
              <a:off x="3844925" y="1954213"/>
              <a:ext cx="192088" cy="193675"/>
            </a:xfrm>
            <a:custGeom>
              <a:avLst/>
              <a:gdLst>
                <a:gd name="T0" fmla="*/ 511 w 609"/>
                <a:gd name="T1" fmla="*/ 342 h 608"/>
                <a:gd name="T2" fmla="*/ 499 w 609"/>
                <a:gd name="T3" fmla="*/ 376 h 608"/>
                <a:gd name="T4" fmla="*/ 484 w 609"/>
                <a:gd name="T5" fmla="*/ 407 h 608"/>
                <a:gd name="T6" fmla="*/ 486 w 609"/>
                <a:gd name="T7" fmla="*/ 506 h 608"/>
                <a:gd name="T8" fmla="*/ 419 w 609"/>
                <a:gd name="T9" fmla="*/ 479 h 608"/>
                <a:gd name="T10" fmla="*/ 377 w 609"/>
                <a:gd name="T11" fmla="*/ 501 h 608"/>
                <a:gd name="T12" fmla="*/ 355 w 609"/>
                <a:gd name="T13" fmla="*/ 513 h 608"/>
                <a:gd name="T14" fmla="*/ 273 w 609"/>
                <a:gd name="T15" fmla="*/ 519 h 608"/>
                <a:gd name="T16" fmla="*/ 260 w 609"/>
                <a:gd name="T17" fmla="*/ 508 h 608"/>
                <a:gd name="T18" fmla="*/ 208 w 609"/>
                <a:gd name="T19" fmla="*/ 486 h 608"/>
                <a:gd name="T20" fmla="*/ 194 w 609"/>
                <a:gd name="T21" fmla="*/ 485 h 608"/>
                <a:gd name="T22" fmla="*/ 129 w 609"/>
                <a:gd name="T23" fmla="*/ 426 h 608"/>
                <a:gd name="T24" fmla="*/ 119 w 609"/>
                <a:gd name="T25" fmla="*/ 402 h 608"/>
                <a:gd name="T26" fmla="*/ 101 w 609"/>
                <a:gd name="T27" fmla="*/ 358 h 608"/>
                <a:gd name="T28" fmla="*/ 31 w 609"/>
                <a:gd name="T29" fmla="*/ 331 h 608"/>
                <a:gd name="T30" fmla="*/ 96 w 609"/>
                <a:gd name="T31" fmla="*/ 267 h 608"/>
                <a:gd name="T32" fmla="*/ 110 w 609"/>
                <a:gd name="T33" fmla="*/ 233 h 608"/>
                <a:gd name="T34" fmla="*/ 124 w 609"/>
                <a:gd name="T35" fmla="*/ 200 h 608"/>
                <a:gd name="T36" fmla="*/ 123 w 609"/>
                <a:gd name="T37" fmla="*/ 102 h 608"/>
                <a:gd name="T38" fmla="*/ 190 w 609"/>
                <a:gd name="T39" fmla="*/ 128 h 608"/>
                <a:gd name="T40" fmla="*/ 234 w 609"/>
                <a:gd name="T41" fmla="*/ 106 h 608"/>
                <a:gd name="T42" fmla="*/ 254 w 609"/>
                <a:gd name="T43" fmla="*/ 95 h 608"/>
                <a:gd name="T44" fmla="*/ 343 w 609"/>
                <a:gd name="T45" fmla="*/ 90 h 608"/>
                <a:gd name="T46" fmla="*/ 353 w 609"/>
                <a:gd name="T47" fmla="*/ 99 h 608"/>
                <a:gd name="T48" fmla="*/ 407 w 609"/>
                <a:gd name="T49" fmla="*/ 121 h 608"/>
                <a:gd name="T50" fmla="*/ 422 w 609"/>
                <a:gd name="T51" fmla="*/ 122 h 608"/>
                <a:gd name="T52" fmla="*/ 479 w 609"/>
                <a:gd name="T53" fmla="*/ 182 h 608"/>
                <a:gd name="T54" fmla="*/ 489 w 609"/>
                <a:gd name="T55" fmla="*/ 205 h 608"/>
                <a:gd name="T56" fmla="*/ 509 w 609"/>
                <a:gd name="T57" fmla="*/ 249 h 608"/>
                <a:gd name="T58" fmla="*/ 577 w 609"/>
                <a:gd name="T59" fmla="*/ 276 h 608"/>
                <a:gd name="T60" fmla="*/ 606 w 609"/>
                <a:gd name="T61" fmla="*/ 261 h 608"/>
                <a:gd name="T62" fmla="*/ 532 w 609"/>
                <a:gd name="T63" fmla="*/ 229 h 608"/>
                <a:gd name="T64" fmla="*/ 511 w 609"/>
                <a:gd name="T65" fmla="*/ 183 h 608"/>
                <a:gd name="T66" fmla="*/ 537 w 609"/>
                <a:gd name="T67" fmla="*/ 112 h 608"/>
                <a:gd name="T68" fmla="*/ 481 w 609"/>
                <a:gd name="T69" fmla="*/ 61 h 608"/>
                <a:gd name="T70" fmla="*/ 403 w 609"/>
                <a:gd name="T71" fmla="*/ 85 h 608"/>
                <a:gd name="T72" fmla="*/ 343 w 609"/>
                <a:gd name="T73" fmla="*/ 9 h 608"/>
                <a:gd name="T74" fmla="*/ 329 w 609"/>
                <a:gd name="T75" fmla="*/ 0 h 608"/>
                <a:gd name="T76" fmla="*/ 253 w 609"/>
                <a:gd name="T77" fmla="*/ 7 h 608"/>
                <a:gd name="T78" fmla="*/ 207 w 609"/>
                <a:gd name="T79" fmla="*/ 84 h 608"/>
                <a:gd name="T80" fmla="*/ 122 w 609"/>
                <a:gd name="T81" fmla="*/ 69 h 608"/>
                <a:gd name="T82" fmla="*/ 66 w 609"/>
                <a:gd name="T83" fmla="*/ 119 h 608"/>
                <a:gd name="T84" fmla="*/ 63 w 609"/>
                <a:gd name="T85" fmla="*/ 136 h 608"/>
                <a:gd name="T86" fmla="*/ 77 w 609"/>
                <a:gd name="T87" fmla="*/ 233 h 608"/>
                <a:gd name="T88" fmla="*/ 3 w 609"/>
                <a:gd name="T89" fmla="*/ 270 h 608"/>
                <a:gd name="T90" fmla="*/ 2 w 609"/>
                <a:gd name="T91" fmla="*/ 348 h 608"/>
                <a:gd name="T92" fmla="*/ 76 w 609"/>
                <a:gd name="T93" fmla="*/ 379 h 608"/>
                <a:gd name="T94" fmla="*/ 97 w 609"/>
                <a:gd name="T95" fmla="*/ 425 h 608"/>
                <a:gd name="T96" fmla="*/ 72 w 609"/>
                <a:gd name="T97" fmla="*/ 496 h 608"/>
                <a:gd name="T98" fmla="*/ 128 w 609"/>
                <a:gd name="T99" fmla="*/ 547 h 608"/>
                <a:gd name="T100" fmla="*/ 210 w 609"/>
                <a:gd name="T101" fmla="*/ 522 h 608"/>
                <a:gd name="T102" fmla="*/ 265 w 609"/>
                <a:gd name="T103" fmla="*/ 597 h 608"/>
                <a:gd name="T104" fmla="*/ 279 w 609"/>
                <a:gd name="T105" fmla="*/ 608 h 608"/>
                <a:gd name="T106" fmla="*/ 352 w 609"/>
                <a:gd name="T107" fmla="*/ 603 h 608"/>
                <a:gd name="T108" fmla="*/ 391 w 609"/>
                <a:gd name="T109" fmla="*/ 527 h 608"/>
                <a:gd name="T110" fmla="*/ 482 w 609"/>
                <a:gd name="T111" fmla="*/ 538 h 608"/>
                <a:gd name="T112" fmla="*/ 499 w 609"/>
                <a:gd name="T113" fmla="*/ 535 h 608"/>
                <a:gd name="T114" fmla="*/ 547 w 609"/>
                <a:gd name="T115" fmla="*/ 476 h 608"/>
                <a:gd name="T116" fmla="*/ 527 w 609"/>
                <a:gd name="T117" fmla="*/ 386 h 608"/>
                <a:gd name="T118" fmla="*/ 602 w 609"/>
                <a:gd name="T119" fmla="*/ 342 h 608"/>
                <a:gd name="T120" fmla="*/ 607 w 609"/>
                <a:gd name="T121" fmla="*/ 265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09" h="608">
                  <a:moveTo>
                    <a:pt x="519" y="336"/>
                  </a:moveTo>
                  <a:lnTo>
                    <a:pt x="516" y="338"/>
                  </a:lnTo>
                  <a:lnTo>
                    <a:pt x="513" y="340"/>
                  </a:lnTo>
                  <a:lnTo>
                    <a:pt x="511" y="342"/>
                  </a:lnTo>
                  <a:lnTo>
                    <a:pt x="510" y="346"/>
                  </a:lnTo>
                  <a:lnTo>
                    <a:pt x="509" y="349"/>
                  </a:lnTo>
                  <a:lnTo>
                    <a:pt x="503" y="362"/>
                  </a:lnTo>
                  <a:lnTo>
                    <a:pt x="499" y="376"/>
                  </a:lnTo>
                  <a:lnTo>
                    <a:pt x="493" y="388"/>
                  </a:lnTo>
                  <a:lnTo>
                    <a:pt x="486" y="400"/>
                  </a:lnTo>
                  <a:lnTo>
                    <a:pt x="485" y="403"/>
                  </a:lnTo>
                  <a:lnTo>
                    <a:pt x="484" y="407"/>
                  </a:lnTo>
                  <a:lnTo>
                    <a:pt x="484" y="411"/>
                  </a:lnTo>
                  <a:lnTo>
                    <a:pt x="486" y="415"/>
                  </a:lnTo>
                  <a:lnTo>
                    <a:pt x="515" y="475"/>
                  </a:lnTo>
                  <a:lnTo>
                    <a:pt x="486" y="506"/>
                  </a:lnTo>
                  <a:lnTo>
                    <a:pt x="431" y="480"/>
                  </a:lnTo>
                  <a:lnTo>
                    <a:pt x="427" y="479"/>
                  </a:lnTo>
                  <a:lnTo>
                    <a:pt x="422" y="479"/>
                  </a:lnTo>
                  <a:lnTo>
                    <a:pt x="419" y="479"/>
                  </a:lnTo>
                  <a:lnTo>
                    <a:pt x="415" y="481"/>
                  </a:lnTo>
                  <a:lnTo>
                    <a:pt x="403" y="489"/>
                  </a:lnTo>
                  <a:lnTo>
                    <a:pt x="391" y="496"/>
                  </a:lnTo>
                  <a:lnTo>
                    <a:pt x="377" y="501"/>
                  </a:lnTo>
                  <a:lnTo>
                    <a:pt x="362" y="507"/>
                  </a:lnTo>
                  <a:lnTo>
                    <a:pt x="359" y="508"/>
                  </a:lnTo>
                  <a:lnTo>
                    <a:pt x="357" y="510"/>
                  </a:lnTo>
                  <a:lnTo>
                    <a:pt x="355" y="513"/>
                  </a:lnTo>
                  <a:lnTo>
                    <a:pt x="353" y="516"/>
                  </a:lnTo>
                  <a:lnTo>
                    <a:pt x="332" y="577"/>
                  </a:lnTo>
                  <a:lnTo>
                    <a:pt x="290" y="578"/>
                  </a:lnTo>
                  <a:lnTo>
                    <a:pt x="273" y="519"/>
                  </a:lnTo>
                  <a:lnTo>
                    <a:pt x="271" y="515"/>
                  </a:lnTo>
                  <a:lnTo>
                    <a:pt x="268" y="512"/>
                  </a:lnTo>
                  <a:lnTo>
                    <a:pt x="264" y="510"/>
                  </a:lnTo>
                  <a:lnTo>
                    <a:pt x="260" y="508"/>
                  </a:lnTo>
                  <a:lnTo>
                    <a:pt x="247" y="504"/>
                  </a:lnTo>
                  <a:lnTo>
                    <a:pt x="234" y="499"/>
                  </a:lnTo>
                  <a:lnTo>
                    <a:pt x="220" y="494"/>
                  </a:lnTo>
                  <a:lnTo>
                    <a:pt x="208" y="486"/>
                  </a:lnTo>
                  <a:lnTo>
                    <a:pt x="204" y="484"/>
                  </a:lnTo>
                  <a:lnTo>
                    <a:pt x="200" y="484"/>
                  </a:lnTo>
                  <a:lnTo>
                    <a:pt x="197" y="484"/>
                  </a:lnTo>
                  <a:lnTo>
                    <a:pt x="194" y="485"/>
                  </a:lnTo>
                  <a:lnTo>
                    <a:pt x="133" y="514"/>
                  </a:lnTo>
                  <a:lnTo>
                    <a:pt x="103" y="485"/>
                  </a:lnTo>
                  <a:lnTo>
                    <a:pt x="128" y="430"/>
                  </a:lnTo>
                  <a:lnTo>
                    <a:pt x="129" y="426"/>
                  </a:lnTo>
                  <a:lnTo>
                    <a:pt x="129" y="423"/>
                  </a:lnTo>
                  <a:lnTo>
                    <a:pt x="129" y="419"/>
                  </a:lnTo>
                  <a:lnTo>
                    <a:pt x="127" y="416"/>
                  </a:lnTo>
                  <a:lnTo>
                    <a:pt x="119" y="402"/>
                  </a:lnTo>
                  <a:lnTo>
                    <a:pt x="113" y="390"/>
                  </a:lnTo>
                  <a:lnTo>
                    <a:pt x="108" y="376"/>
                  </a:lnTo>
                  <a:lnTo>
                    <a:pt x="102" y="361"/>
                  </a:lnTo>
                  <a:lnTo>
                    <a:pt x="101" y="358"/>
                  </a:lnTo>
                  <a:lnTo>
                    <a:pt x="99" y="356"/>
                  </a:lnTo>
                  <a:lnTo>
                    <a:pt x="95" y="354"/>
                  </a:lnTo>
                  <a:lnTo>
                    <a:pt x="92" y="352"/>
                  </a:lnTo>
                  <a:lnTo>
                    <a:pt x="31" y="331"/>
                  </a:lnTo>
                  <a:lnTo>
                    <a:pt x="31" y="289"/>
                  </a:lnTo>
                  <a:lnTo>
                    <a:pt x="90" y="272"/>
                  </a:lnTo>
                  <a:lnTo>
                    <a:pt x="93" y="270"/>
                  </a:lnTo>
                  <a:lnTo>
                    <a:pt x="96" y="267"/>
                  </a:lnTo>
                  <a:lnTo>
                    <a:pt x="99" y="263"/>
                  </a:lnTo>
                  <a:lnTo>
                    <a:pt x="101" y="259"/>
                  </a:lnTo>
                  <a:lnTo>
                    <a:pt x="105" y="245"/>
                  </a:lnTo>
                  <a:lnTo>
                    <a:pt x="110" y="233"/>
                  </a:lnTo>
                  <a:lnTo>
                    <a:pt x="115" y="220"/>
                  </a:lnTo>
                  <a:lnTo>
                    <a:pt x="122" y="207"/>
                  </a:lnTo>
                  <a:lnTo>
                    <a:pt x="124" y="204"/>
                  </a:lnTo>
                  <a:lnTo>
                    <a:pt x="124" y="200"/>
                  </a:lnTo>
                  <a:lnTo>
                    <a:pt x="124" y="196"/>
                  </a:lnTo>
                  <a:lnTo>
                    <a:pt x="123" y="193"/>
                  </a:lnTo>
                  <a:lnTo>
                    <a:pt x="94" y="132"/>
                  </a:lnTo>
                  <a:lnTo>
                    <a:pt x="123" y="102"/>
                  </a:lnTo>
                  <a:lnTo>
                    <a:pt x="177" y="127"/>
                  </a:lnTo>
                  <a:lnTo>
                    <a:pt x="182" y="129"/>
                  </a:lnTo>
                  <a:lnTo>
                    <a:pt x="186" y="129"/>
                  </a:lnTo>
                  <a:lnTo>
                    <a:pt x="190" y="128"/>
                  </a:lnTo>
                  <a:lnTo>
                    <a:pt x="194" y="126"/>
                  </a:lnTo>
                  <a:lnTo>
                    <a:pt x="207" y="118"/>
                  </a:lnTo>
                  <a:lnTo>
                    <a:pt x="220" y="112"/>
                  </a:lnTo>
                  <a:lnTo>
                    <a:pt x="234" y="106"/>
                  </a:lnTo>
                  <a:lnTo>
                    <a:pt x="246" y="102"/>
                  </a:lnTo>
                  <a:lnTo>
                    <a:pt x="249" y="100"/>
                  </a:lnTo>
                  <a:lnTo>
                    <a:pt x="252" y="98"/>
                  </a:lnTo>
                  <a:lnTo>
                    <a:pt x="254" y="95"/>
                  </a:lnTo>
                  <a:lnTo>
                    <a:pt x="255" y="91"/>
                  </a:lnTo>
                  <a:lnTo>
                    <a:pt x="277" y="31"/>
                  </a:lnTo>
                  <a:lnTo>
                    <a:pt x="320" y="30"/>
                  </a:lnTo>
                  <a:lnTo>
                    <a:pt x="343" y="90"/>
                  </a:lnTo>
                  <a:lnTo>
                    <a:pt x="345" y="92"/>
                  </a:lnTo>
                  <a:lnTo>
                    <a:pt x="347" y="96"/>
                  </a:lnTo>
                  <a:lnTo>
                    <a:pt x="350" y="98"/>
                  </a:lnTo>
                  <a:lnTo>
                    <a:pt x="353" y="99"/>
                  </a:lnTo>
                  <a:lnTo>
                    <a:pt x="366" y="103"/>
                  </a:lnTo>
                  <a:lnTo>
                    <a:pt x="379" y="108"/>
                  </a:lnTo>
                  <a:lnTo>
                    <a:pt x="394" y="114"/>
                  </a:lnTo>
                  <a:lnTo>
                    <a:pt x="407" y="121"/>
                  </a:lnTo>
                  <a:lnTo>
                    <a:pt x="411" y="123"/>
                  </a:lnTo>
                  <a:lnTo>
                    <a:pt x="415" y="124"/>
                  </a:lnTo>
                  <a:lnTo>
                    <a:pt x="418" y="123"/>
                  </a:lnTo>
                  <a:lnTo>
                    <a:pt x="422" y="122"/>
                  </a:lnTo>
                  <a:lnTo>
                    <a:pt x="476" y="93"/>
                  </a:lnTo>
                  <a:lnTo>
                    <a:pt x="505" y="122"/>
                  </a:lnTo>
                  <a:lnTo>
                    <a:pt x="480" y="178"/>
                  </a:lnTo>
                  <a:lnTo>
                    <a:pt x="479" y="182"/>
                  </a:lnTo>
                  <a:lnTo>
                    <a:pt x="479" y="186"/>
                  </a:lnTo>
                  <a:lnTo>
                    <a:pt x="480" y="189"/>
                  </a:lnTo>
                  <a:lnTo>
                    <a:pt x="482" y="193"/>
                  </a:lnTo>
                  <a:lnTo>
                    <a:pt x="489" y="205"/>
                  </a:lnTo>
                  <a:lnTo>
                    <a:pt x="495" y="218"/>
                  </a:lnTo>
                  <a:lnTo>
                    <a:pt x="501" y="232"/>
                  </a:lnTo>
                  <a:lnTo>
                    <a:pt x="506" y="246"/>
                  </a:lnTo>
                  <a:lnTo>
                    <a:pt x="509" y="249"/>
                  </a:lnTo>
                  <a:lnTo>
                    <a:pt x="511" y="251"/>
                  </a:lnTo>
                  <a:lnTo>
                    <a:pt x="513" y="254"/>
                  </a:lnTo>
                  <a:lnTo>
                    <a:pt x="516" y="256"/>
                  </a:lnTo>
                  <a:lnTo>
                    <a:pt x="577" y="276"/>
                  </a:lnTo>
                  <a:lnTo>
                    <a:pt x="578" y="318"/>
                  </a:lnTo>
                  <a:lnTo>
                    <a:pt x="519" y="336"/>
                  </a:lnTo>
                  <a:close/>
                  <a:moveTo>
                    <a:pt x="607" y="265"/>
                  </a:moveTo>
                  <a:lnTo>
                    <a:pt x="606" y="261"/>
                  </a:lnTo>
                  <a:lnTo>
                    <a:pt x="604" y="257"/>
                  </a:lnTo>
                  <a:lnTo>
                    <a:pt x="601" y="254"/>
                  </a:lnTo>
                  <a:lnTo>
                    <a:pt x="597" y="251"/>
                  </a:lnTo>
                  <a:lnTo>
                    <a:pt x="532" y="229"/>
                  </a:lnTo>
                  <a:lnTo>
                    <a:pt x="528" y="218"/>
                  </a:lnTo>
                  <a:lnTo>
                    <a:pt x="523" y="206"/>
                  </a:lnTo>
                  <a:lnTo>
                    <a:pt x="518" y="194"/>
                  </a:lnTo>
                  <a:lnTo>
                    <a:pt x="511" y="183"/>
                  </a:lnTo>
                  <a:lnTo>
                    <a:pt x="538" y="125"/>
                  </a:lnTo>
                  <a:lnTo>
                    <a:pt x="539" y="121"/>
                  </a:lnTo>
                  <a:lnTo>
                    <a:pt x="539" y="116"/>
                  </a:lnTo>
                  <a:lnTo>
                    <a:pt x="537" y="112"/>
                  </a:lnTo>
                  <a:lnTo>
                    <a:pt x="535" y="109"/>
                  </a:lnTo>
                  <a:lnTo>
                    <a:pt x="489" y="64"/>
                  </a:lnTo>
                  <a:lnTo>
                    <a:pt x="485" y="62"/>
                  </a:lnTo>
                  <a:lnTo>
                    <a:pt x="481" y="61"/>
                  </a:lnTo>
                  <a:lnTo>
                    <a:pt x="476" y="61"/>
                  </a:lnTo>
                  <a:lnTo>
                    <a:pt x="472" y="62"/>
                  </a:lnTo>
                  <a:lnTo>
                    <a:pt x="415" y="91"/>
                  </a:lnTo>
                  <a:lnTo>
                    <a:pt x="403" y="85"/>
                  </a:lnTo>
                  <a:lnTo>
                    <a:pt x="392" y="80"/>
                  </a:lnTo>
                  <a:lnTo>
                    <a:pt x="379" y="76"/>
                  </a:lnTo>
                  <a:lnTo>
                    <a:pt x="369" y="72"/>
                  </a:lnTo>
                  <a:lnTo>
                    <a:pt x="343" y="9"/>
                  </a:lnTo>
                  <a:lnTo>
                    <a:pt x="341" y="5"/>
                  </a:lnTo>
                  <a:lnTo>
                    <a:pt x="338" y="2"/>
                  </a:lnTo>
                  <a:lnTo>
                    <a:pt x="334" y="0"/>
                  </a:lnTo>
                  <a:lnTo>
                    <a:pt x="329" y="0"/>
                  </a:lnTo>
                  <a:lnTo>
                    <a:pt x="266" y="1"/>
                  </a:lnTo>
                  <a:lnTo>
                    <a:pt x="260" y="2"/>
                  </a:lnTo>
                  <a:lnTo>
                    <a:pt x="256" y="4"/>
                  </a:lnTo>
                  <a:lnTo>
                    <a:pt x="253" y="7"/>
                  </a:lnTo>
                  <a:lnTo>
                    <a:pt x="251" y="11"/>
                  </a:lnTo>
                  <a:lnTo>
                    <a:pt x="230" y="75"/>
                  </a:lnTo>
                  <a:lnTo>
                    <a:pt x="218" y="79"/>
                  </a:lnTo>
                  <a:lnTo>
                    <a:pt x="207" y="84"/>
                  </a:lnTo>
                  <a:lnTo>
                    <a:pt x="195" y="90"/>
                  </a:lnTo>
                  <a:lnTo>
                    <a:pt x="184" y="97"/>
                  </a:lnTo>
                  <a:lnTo>
                    <a:pt x="126" y="70"/>
                  </a:lnTo>
                  <a:lnTo>
                    <a:pt x="122" y="69"/>
                  </a:lnTo>
                  <a:lnTo>
                    <a:pt x="117" y="69"/>
                  </a:lnTo>
                  <a:lnTo>
                    <a:pt x="113" y="70"/>
                  </a:lnTo>
                  <a:lnTo>
                    <a:pt x="109" y="73"/>
                  </a:lnTo>
                  <a:lnTo>
                    <a:pt x="66" y="119"/>
                  </a:lnTo>
                  <a:lnTo>
                    <a:pt x="63" y="123"/>
                  </a:lnTo>
                  <a:lnTo>
                    <a:pt x="62" y="127"/>
                  </a:lnTo>
                  <a:lnTo>
                    <a:pt x="62" y="131"/>
                  </a:lnTo>
                  <a:lnTo>
                    <a:pt x="63" y="136"/>
                  </a:lnTo>
                  <a:lnTo>
                    <a:pt x="92" y="198"/>
                  </a:lnTo>
                  <a:lnTo>
                    <a:pt x="87" y="209"/>
                  </a:lnTo>
                  <a:lnTo>
                    <a:pt x="82" y="222"/>
                  </a:lnTo>
                  <a:lnTo>
                    <a:pt x="77" y="233"/>
                  </a:lnTo>
                  <a:lnTo>
                    <a:pt x="73" y="245"/>
                  </a:lnTo>
                  <a:lnTo>
                    <a:pt x="11" y="264"/>
                  </a:lnTo>
                  <a:lnTo>
                    <a:pt x="6" y="266"/>
                  </a:lnTo>
                  <a:lnTo>
                    <a:pt x="3" y="270"/>
                  </a:lnTo>
                  <a:lnTo>
                    <a:pt x="1" y="274"/>
                  </a:lnTo>
                  <a:lnTo>
                    <a:pt x="0" y="279"/>
                  </a:lnTo>
                  <a:lnTo>
                    <a:pt x="2" y="343"/>
                  </a:lnTo>
                  <a:lnTo>
                    <a:pt x="2" y="348"/>
                  </a:lnTo>
                  <a:lnTo>
                    <a:pt x="5" y="352"/>
                  </a:lnTo>
                  <a:lnTo>
                    <a:pt x="8" y="355"/>
                  </a:lnTo>
                  <a:lnTo>
                    <a:pt x="12" y="357"/>
                  </a:lnTo>
                  <a:lnTo>
                    <a:pt x="76" y="379"/>
                  </a:lnTo>
                  <a:lnTo>
                    <a:pt x="80" y="390"/>
                  </a:lnTo>
                  <a:lnTo>
                    <a:pt x="85" y="401"/>
                  </a:lnTo>
                  <a:lnTo>
                    <a:pt x="91" y="414"/>
                  </a:lnTo>
                  <a:lnTo>
                    <a:pt x="97" y="425"/>
                  </a:lnTo>
                  <a:lnTo>
                    <a:pt x="71" y="482"/>
                  </a:lnTo>
                  <a:lnTo>
                    <a:pt x="70" y="486"/>
                  </a:lnTo>
                  <a:lnTo>
                    <a:pt x="70" y="491"/>
                  </a:lnTo>
                  <a:lnTo>
                    <a:pt x="72" y="496"/>
                  </a:lnTo>
                  <a:lnTo>
                    <a:pt x="74" y="500"/>
                  </a:lnTo>
                  <a:lnTo>
                    <a:pt x="120" y="543"/>
                  </a:lnTo>
                  <a:lnTo>
                    <a:pt x="123" y="546"/>
                  </a:lnTo>
                  <a:lnTo>
                    <a:pt x="128" y="547"/>
                  </a:lnTo>
                  <a:lnTo>
                    <a:pt x="132" y="547"/>
                  </a:lnTo>
                  <a:lnTo>
                    <a:pt x="136" y="546"/>
                  </a:lnTo>
                  <a:lnTo>
                    <a:pt x="199" y="516"/>
                  </a:lnTo>
                  <a:lnTo>
                    <a:pt x="210" y="522"/>
                  </a:lnTo>
                  <a:lnTo>
                    <a:pt x="223" y="526"/>
                  </a:lnTo>
                  <a:lnTo>
                    <a:pt x="234" y="532"/>
                  </a:lnTo>
                  <a:lnTo>
                    <a:pt x="246" y="535"/>
                  </a:lnTo>
                  <a:lnTo>
                    <a:pt x="265" y="597"/>
                  </a:lnTo>
                  <a:lnTo>
                    <a:pt x="267" y="601"/>
                  </a:lnTo>
                  <a:lnTo>
                    <a:pt x="270" y="605"/>
                  </a:lnTo>
                  <a:lnTo>
                    <a:pt x="274" y="607"/>
                  </a:lnTo>
                  <a:lnTo>
                    <a:pt x="279" y="608"/>
                  </a:lnTo>
                  <a:lnTo>
                    <a:pt x="279" y="608"/>
                  </a:lnTo>
                  <a:lnTo>
                    <a:pt x="343" y="606"/>
                  </a:lnTo>
                  <a:lnTo>
                    <a:pt x="348" y="606"/>
                  </a:lnTo>
                  <a:lnTo>
                    <a:pt x="352" y="603"/>
                  </a:lnTo>
                  <a:lnTo>
                    <a:pt x="355" y="600"/>
                  </a:lnTo>
                  <a:lnTo>
                    <a:pt x="357" y="596"/>
                  </a:lnTo>
                  <a:lnTo>
                    <a:pt x="379" y="533"/>
                  </a:lnTo>
                  <a:lnTo>
                    <a:pt x="391" y="527"/>
                  </a:lnTo>
                  <a:lnTo>
                    <a:pt x="402" y="523"/>
                  </a:lnTo>
                  <a:lnTo>
                    <a:pt x="414" y="517"/>
                  </a:lnTo>
                  <a:lnTo>
                    <a:pt x="425" y="511"/>
                  </a:lnTo>
                  <a:lnTo>
                    <a:pt x="482" y="538"/>
                  </a:lnTo>
                  <a:lnTo>
                    <a:pt x="487" y="539"/>
                  </a:lnTo>
                  <a:lnTo>
                    <a:pt x="492" y="539"/>
                  </a:lnTo>
                  <a:lnTo>
                    <a:pt x="496" y="538"/>
                  </a:lnTo>
                  <a:lnTo>
                    <a:pt x="499" y="535"/>
                  </a:lnTo>
                  <a:lnTo>
                    <a:pt x="543" y="488"/>
                  </a:lnTo>
                  <a:lnTo>
                    <a:pt x="546" y="485"/>
                  </a:lnTo>
                  <a:lnTo>
                    <a:pt x="547" y="480"/>
                  </a:lnTo>
                  <a:lnTo>
                    <a:pt x="547" y="476"/>
                  </a:lnTo>
                  <a:lnTo>
                    <a:pt x="546" y="472"/>
                  </a:lnTo>
                  <a:lnTo>
                    <a:pt x="516" y="409"/>
                  </a:lnTo>
                  <a:lnTo>
                    <a:pt x="522" y="397"/>
                  </a:lnTo>
                  <a:lnTo>
                    <a:pt x="527" y="386"/>
                  </a:lnTo>
                  <a:lnTo>
                    <a:pt x="531" y="374"/>
                  </a:lnTo>
                  <a:lnTo>
                    <a:pt x="535" y="362"/>
                  </a:lnTo>
                  <a:lnTo>
                    <a:pt x="598" y="344"/>
                  </a:lnTo>
                  <a:lnTo>
                    <a:pt x="602" y="342"/>
                  </a:lnTo>
                  <a:lnTo>
                    <a:pt x="606" y="339"/>
                  </a:lnTo>
                  <a:lnTo>
                    <a:pt x="608" y="334"/>
                  </a:lnTo>
                  <a:lnTo>
                    <a:pt x="609" y="329"/>
                  </a:lnTo>
                  <a:lnTo>
                    <a:pt x="607" y="265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5" name="target_z"/>
          <p:cNvGrpSpPr>
            <a:grpSpLocks noChangeAspect="1"/>
          </p:cNvGrpSpPr>
          <p:nvPr/>
        </p:nvGrpSpPr>
        <p:grpSpPr>
          <a:xfrm>
            <a:off x="1948121" y="1611820"/>
            <a:ext cx="286195" cy="286195"/>
            <a:chOff x="717551" y="5033007"/>
            <a:chExt cx="746125" cy="746125"/>
          </a:xfrm>
        </p:grpSpPr>
        <p:sp>
          <p:nvSpPr>
            <p:cNvPr id="36" name="Freeform 32"/>
            <p:cNvSpPr>
              <a:spLocks/>
            </p:cNvSpPr>
            <p:nvPr/>
          </p:nvSpPr>
          <p:spPr bwMode="auto">
            <a:xfrm>
              <a:off x="1303339" y="5037770"/>
              <a:ext cx="155575" cy="153988"/>
            </a:xfrm>
            <a:custGeom>
              <a:avLst/>
              <a:gdLst>
                <a:gd name="T0" fmla="*/ 684 w 684"/>
                <a:gd name="T1" fmla="*/ 337 h 675"/>
                <a:gd name="T2" fmla="*/ 374 w 684"/>
                <a:gd name="T3" fmla="*/ 310 h 675"/>
                <a:gd name="T4" fmla="*/ 347 w 684"/>
                <a:gd name="T5" fmla="*/ 0 h 675"/>
                <a:gd name="T6" fmla="*/ 0 w 684"/>
                <a:gd name="T7" fmla="*/ 337 h 675"/>
                <a:gd name="T8" fmla="*/ 27 w 684"/>
                <a:gd name="T9" fmla="*/ 648 h 675"/>
                <a:gd name="T10" fmla="*/ 338 w 684"/>
                <a:gd name="T11" fmla="*/ 675 h 675"/>
                <a:gd name="T12" fmla="*/ 684 w 684"/>
                <a:gd name="T13" fmla="*/ 337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4" h="675">
                  <a:moveTo>
                    <a:pt x="684" y="337"/>
                  </a:moveTo>
                  <a:lnTo>
                    <a:pt x="374" y="310"/>
                  </a:lnTo>
                  <a:lnTo>
                    <a:pt x="347" y="0"/>
                  </a:lnTo>
                  <a:lnTo>
                    <a:pt x="0" y="337"/>
                  </a:lnTo>
                  <a:lnTo>
                    <a:pt x="27" y="648"/>
                  </a:lnTo>
                  <a:lnTo>
                    <a:pt x="338" y="675"/>
                  </a:lnTo>
                  <a:lnTo>
                    <a:pt x="684" y="337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 33"/>
            <p:cNvSpPr>
              <a:spLocks noEditPoints="1"/>
            </p:cNvSpPr>
            <p:nvPr/>
          </p:nvSpPr>
          <p:spPr bwMode="auto">
            <a:xfrm>
              <a:off x="722314" y="5156832"/>
              <a:ext cx="617538" cy="617538"/>
            </a:xfrm>
            <a:custGeom>
              <a:avLst/>
              <a:gdLst>
                <a:gd name="T0" fmla="*/ 1918 w 2725"/>
                <a:gd name="T1" fmla="*/ 2205 h 2724"/>
                <a:gd name="T2" fmla="*/ 1697 w 2725"/>
                <a:gd name="T3" fmla="*/ 2314 h 2724"/>
                <a:gd name="T4" fmla="*/ 1460 w 2725"/>
                <a:gd name="T5" fmla="*/ 2365 h 2724"/>
                <a:gd name="T6" fmla="*/ 1217 w 2725"/>
                <a:gd name="T7" fmla="*/ 2359 h 2724"/>
                <a:gd name="T8" fmla="*/ 982 w 2725"/>
                <a:gd name="T9" fmla="*/ 2295 h 2724"/>
                <a:gd name="T10" fmla="*/ 765 w 2725"/>
                <a:gd name="T11" fmla="*/ 2175 h 2724"/>
                <a:gd name="T12" fmla="*/ 579 w 2725"/>
                <a:gd name="T13" fmla="*/ 1998 h 2724"/>
                <a:gd name="T14" fmla="*/ 447 w 2725"/>
                <a:gd name="T15" fmla="*/ 1786 h 2724"/>
                <a:gd name="T16" fmla="*/ 372 w 2725"/>
                <a:gd name="T17" fmla="*/ 1554 h 2724"/>
                <a:gd name="T18" fmla="*/ 355 w 2725"/>
                <a:gd name="T19" fmla="*/ 1313 h 2724"/>
                <a:gd name="T20" fmla="*/ 396 w 2725"/>
                <a:gd name="T21" fmla="*/ 1075 h 2724"/>
                <a:gd name="T22" fmla="*/ 493 w 2725"/>
                <a:gd name="T23" fmla="*/ 849 h 2724"/>
                <a:gd name="T24" fmla="*/ 649 w 2725"/>
                <a:gd name="T25" fmla="*/ 648 h 2724"/>
                <a:gd name="T26" fmla="*/ 850 w 2725"/>
                <a:gd name="T27" fmla="*/ 492 h 2724"/>
                <a:gd name="T28" fmla="*/ 1075 w 2725"/>
                <a:gd name="T29" fmla="*/ 395 h 2724"/>
                <a:gd name="T30" fmla="*/ 1313 w 2725"/>
                <a:gd name="T31" fmla="*/ 355 h 2724"/>
                <a:gd name="T32" fmla="*/ 1555 w 2725"/>
                <a:gd name="T33" fmla="*/ 372 h 2724"/>
                <a:gd name="T34" fmla="*/ 1788 w 2725"/>
                <a:gd name="T35" fmla="*/ 447 h 2724"/>
                <a:gd name="T36" fmla="*/ 1999 w 2725"/>
                <a:gd name="T37" fmla="*/ 579 h 2724"/>
                <a:gd name="T38" fmla="*/ 2177 w 2725"/>
                <a:gd name="T39" fmla="*/ 765 h 2724"/>
                <a:gd name="T40" fmla="*/ 2297 w 2725"/>
                <a:gd name="T41" fmla="*/ 982 h 2724"/>
                <a:gd name="T42" fmla="*/ 2360 w 2725"/>
                <a:gd name="T43" fmla="*/ 1217 h 2724"/>
                <a:gd name="T44" fmla="*/ 2367 w 2725"/>
                <a:gd name="T45" fmla="*/ 1458 h 2724"/>
                <a:gd name="T46" fmla="*/ 2314 w 2725"/>
                <a:gd name="T47" fmla="*/ 1696 h 2724"/>
                <a:gd name="T48" fmla="*/ 2205 w 2725"/>
                <a:gd name="T49" fmla="*/ 1917 h 2724"/>
                <a:gd name="T50" fmla="*/ 2326 w 2725"/>
                <a:gd name="T51" fmla="*/ 397 h 2724"/>
                <a:gd name="T52" fmla="*/ 2196 w 2725"/>
                <a:gd name="T53" fmla="*/ 283 h 2724"/>
                <a:gd name="T54" fmla="*/ 2055 w 2725"/>
                <a:gd name="T55" fmla="*/ 188 h 2724"/>
                <a:gd name="T56" fmla="*/ 1906 w 2725"/>
                <a:gd name="T57" fmla="*/ 112 h 2724"/>
                <a:gd name="T58" fmla="*/ 1750 w 2725"/>
                <a:gd name="T59" fmla="*/ 56 h 2724"/>
                <a:gd name="T60" fmla="*/ 1590 w 2725"/>
                <a:gd name="T61" fmla="*/ 18 h 2724"/>
                <a:gd name="T62" fmla="*/ 1428 w 2725"/>
                <a:gd name="T63" fmla="*/ 1 h 2724"/>
                <a:gd name="T64" fmla="*/ 1264 w 2725"/>
                <a:gd name="T65" fmla="*/ 3 h 2724"/>
                <a:gd name="T66" fmla="*/ 1102 w 2725"/>
                <a:gd name="T67" fmla="*/ 25 h 2724"/>
                <a:gd name="T68" fmla="*/ 943 w 2725"/>
                <a:gd name="T69" fmla="*/ 65 h 2724"/>
                <a:gd name="T70" fmla="*/ 789 w 2725"/>
                <a:gd name="T71" fmla="*/ 126 h 2724"/>
                <a:gd name="T72" fmla="*/ 640 w 2725"/>
                <a:gd name="T73" fmla="*/ 205 h 2724"/>
                <a:gd name="T74" fmla="*/ 503 w 2725"/>
                <a:gd name="T75" fmla="*/ 305 h 2724"/>
                <a:gd name="T76" fmla="*/ 351 w 2725"/>
                <a:gd name="T77" fmla="*/ 449 h 2724"/>
                <a:gd name="T78" fmla="*/ 155 w 2725"/>
                <a:gd name="T79" fmla="*/ 727 h 2724"/>
                <a:gd name="T80" fmla="*/ 39 w 2725"/>
                <a:gd name="T81" fmla="*/ 1037 h 2724"/>
                <a:gd name="T82" fmla="*/ 0 w 2725"/>
                <a:gd name="T83" fmla="*/ 1362 h 2724"/>
                <a:gd name="T84" fmla="*/ 39 w 2725"/>
                <a:gd name="T85" fmla="*/ 1687 h 2724"/>
                <a:gd name="T86" fmla="*/ 155 w 2725"/>
                <a:gd name="T87" fmla="*/ 1995 h 2724"/>
                <a:gd name="T88" fmla="*/ 351 w 2725"/>
                <a:gd name="T89" fmla="*/ 2274 h 2724"/>
                <a:gd name="T90" fmla="*/ 613 w 2725"/>
                <a:gd name="T91" fmla="*/ 2499 h 2724"/>
                <a:gd name="T92" fmla="*/ 912 w 2725"/>
                <a:gd name="T93" fmla="*/ 2648 h 2724"/>
                <a:gd name="T94" fmla="*/ 1232 w 2725"/>
                <a:gd name="T95" fmla="*/ 2717 h 2724"/>
                <a:gd name="T96" fmla="*/ 1558 w 2725"/>
                <a:gd name="T97" fmla="*/ 2710 h 2724"/>
                <a:gd name="T98" fmla="*/ 1875 w 2725"/>
                <a:gd name="T99" fmla="*/ 2624 h 2724"/>
                <a:gd name="T100" fmla="*/ 2169 w 2725"/>
                <a:gd name="T101" fmla="*/ 2461 h 2724"/>
                <a:gd name="T102" fmla="*/ 2420 w 2725"/>
                <a:gd name="T103" fmla="*/ 2223 h 2724"/>
                <a:gd name="T104" fmla="*/ 2599 w 2725"/>
                <a:gd name="T105" fmla="*/ 1936 h 2724"/>
                <a:gd name="T106" fmla="*/ 2700 w 2725"/>
                <a:gd name="T107" fmla="*/ 1622 h 2724"/>
                <a:gd name="T108" fmla="*/ 2724 w 2725"/>
                <a:gd name="T109" fmla="*/ 1297 h 2724"/>
                <a:gd name="T110" fmla="*/ 2669 w 2725"/>
                <a:gd name="T111" fmla="*/ 973 h 2724"/>
                <a:gd name="T112" fmla="*/ 2537 w 2725"/>
                <a:gd name="T113" fmla="*/ 669 h 2724"/>
                <a:gd name="T114" fmla="*/ 2326 w 2725"/>
                <a:gd name="T115" fmla="*/ 397 h 2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25" h="2724">
                  <a:moveTo>
                    <a:pt x="2076" y="2075"/>
                  </a:moveTo>
                  <a:lnTo>
                    <a:pt x="2039" y="2111"/>
                  </a:lnTo>
                  <a:lnTo>
                    <a:pt x="1999" y="2145"/>
                  </a:lnTo>
                  <a:lnTo>
                    <a:pt x="1960" y="2176"/>
                  </a:lnTo>
                  <a:lnTo>
                    <a:pt x="1918" y="2205"/>
                  </a:lnTo>
                  <a:lnTo>
                    <a:pt x="1875" y="2230"/>
                  </a:lnTo>
                  <a:lnTo>
                    <a:pt x="1832" y="2255"/>
                  </a:lnTo>
                  <a:lnTo>
                    <a:pt x="1788" y="2277"/>
                  </a:lnTo>
                  <a:lnTo>
                    <a:pt x="1743" y="2296"/>
                  </a:lnTo>
                  <a:lnTo>
                    <a:pt x="1697" y="2314"/>
                  </a:lnTo>
                  <a:lnTo>
                    <a:pt x="1650" y="2328"/>
                  </a:lnTo>
                  <a:lnTo>
                    <a:pt x="1603" y="2341"/>
                  </a:lnTo>
                  <a:lnTo>
                    <a:pt x="1556" y="2351"/>
                  </a:lnTo>
                  <a:lnTo>
                    <a:pt x="1508" y="2359"/>
                  </a:lnTo>
                  <a:lnTo>
                    <a:pt x="1460" y="2365"/>
                  </a:lnTo>
                  <a:lnTo>
                    <a:pt x="1411" y="2369"/>
                  </a:lnTo>
                  <a:lnTo>
                    <a:pt x="1363" y="2370"/>
                  </a:lnTo>
                  <a:lnTo>
                    <a:pt x="1314" y="2368"/>
                  </a:lnTo>
                  <a:lnTo>
                    <a:pt x="1265" y="2365"/>
                  </a:lnTo>
                  <a:lnTo>
                    <a:pt x="1217" y="2359"/>
                  </a:lnTo>
                  <a:lnTo>
                    <a:pt x="1170" y="2351"/>
                  </a:lnTo>
                  <a:lnTo>
                    <a:pt x="1122" y="2340"/>
                  </a:lnTo>
                  <a:lnTo>
                    <a:pt x="1075" y="2328"/>
                  </a:lnTo>
                  <a:lnTo>
                    <a:pt x="1028" y="2314"/>
                  </a:lnTo>
                  <a:lnTo>
                    <a:pt x="982" y="2295"/>
                  </a:lnTo>
                  <a:lnTo>
                    <a:pt x="937" y="2276"/>
                  </a:lnTo>
                  <a:lnTo>
                    <a:pt x="894" y="2255"/>
                  </a:lnTo>
                  <a:lnTo>
                    <a:pt x="850" y="2230"/>
                  </a:lnTo>
                  <a:lnTo>
                    <a:pt x="807" y="2203"/>
                  </a:lnTo>
                  <a:lnTo>
                    <a:pt x="765" y="2175"/>
                  </a:lnTo>
                  <a:lnTo>
                    <a:pt x="726" y="2144"/>
                  </a:lnTo>
                  <a:lnTo>
                    <a:pt x="686" y="2111"/>
                  </a:lnTo>
                  <a:lnTo>
                    <a:pt x="649" y="2074"/>
                  </a:lnTo>
                  <a:lnTo>
                    <a:pt x="614" y="2037"/>
                  </a:lnTo>
                  <a:lnTo>
                    <a:pt x="579" y="1998"/>
                  </a:lnTo>
                  <a:lnTo>
                    <a:pt x="548" y="1958"/>
                  </a:lnTo>
                  <a:lnTo>
                    <a:pt x="520" y="1916"/>
                  </a:lnTo>
                  <a:lnTo>
                    <a:pt x="493" y="1875"/>
                  </a:lnTo>
                  <a:lnTo>
                    <a:pt x="469" y="1831"/>
                  </a:lnTo>
                  <a:lnTo>
                    <a:pt x="447" y="1786"/>
                  </a:lnTo>
                  <a:lnTo>
                    <a:pt x="428" y="1741"/>
                  </a:lnTo>
                  <a:lnTo>
                    <a:pt x="411" y="1695"/>
                  </a:lnTo>
                  <a:lnTo>
                    <a:pt x="396" y="1649"/>
                  </a:lnTo>
                  <a:lnTo>
                    <a:pt x="383" y="1602"/>
                  </a:lnTo>
                  <a:lnTo>
                    <a:pt x="372" y="1554"/>
                  </a:lnTo>
                  <a:lnTo>
                    <a:pt x="365" y="1506"/>
                  </a:lnTo>
                  <a:lnTo>
                    <a:pt x="358" y="1458"/>
                  </a:lnTo>
                  <a:lnTo>
                    <a:pt x="355" y="1410"/>
                  </a:lnTo>
                  <a:lnTo>
                    <a:pt x="354" y="1362"/>
                  </a:lnTo>
                  <a:lnTo>
                    <a:pt x="355" y="1313"/>
                  </a:lnTo>
                  <a:lnTo>
                    <a:pt x="358" y="1265"/>
                  </a:lnTo>
                  <a:lnTo>
                    <a:pt x="365" y="1217"/>
                  </a:lnTo>
                  <a:lnTo>
                    <a:pt x="372" y="1169"/>
                  </a:lnTo>
                  <a:lnTo>
                    <a:pt x="383" y="1122"/>
                  </a:lnTo>
                  <a:lnTo>
                    <a:pt x="396" y="1075"/>
                  </a:lnTo>
                  <a:lnTo>
                    <a:pt x="411" y="1028"/>
                  </a:lnTo>
                  <a:lnTo>
                    <a:pt x="428" y="982"/>
                  </a:lnTo>
                  <a:lnTo>
                    <a:pt x="447" y="937"/>
                  </a:lnTo>
                  <a:lnTo>
                    <a:pt x="469" y="892"/>
                  </a:lnTo>
                  <a:lnTo>
                    <a:pt x="493" y="849"/>
                  </a:lnTo>
                  <a:lnTo>
                    <a:pt x="520" y="806"/>
                  </a:lnTo>
                  <a:lnTo>
                    <a:pt x="548" y="765"/>
                  </a:lnTo>
                  <a:lnTo>
                    <a:pt x="579" y="725"/>
                  </a:lnTo>
                  <a:lnTo>
                    <a:pt x="614" y="686"/>
                  </a:lnTo>
                  <a:lnTo>
                    <a:pt x="649" y="648"/>
                  </a:lnTo>
                  <a:lnTo>
                    <a:pt x="686" y="613"/>
                  </a:lnTo>
                  <a:lnTo>
                    <a:pt x="726" y="579"/>
                  </a:lnTo>
                  <a:lnTo>
                    <a:pt x="765" y="548"/>
                  </a:lnTo>
                  <a:lnTo>
                    <a:pt x="807" y="519"/>
                  </a:lnTo>
                  <a:lnTo>
                    <a:pt x="850" y="492"/>
                  </a:lnTo>
                  <a:lnTo>
                    <a:pt x="892" y="469"/>
                  </a:lnTo>
                  <a:lnTo>
                    <a:pt x="937" y="447"/>
                  </a:lnTo>
                  <a:lnTo>
                    <a:pt x="982" y="427"/>
                  </a:lnTo>
                  <a:lnTo>
                    <a:pt x="1028" y="410"/>
                  </a:lnTo>
                  <a:lnTo>
                    <a:pt x="1075" y="395"/>
                  </a:lnTo>
                  <a:lnTo>
                    <a:pt x="1122" y="382"/>
                  </a:lnTo>
                  <a:lnTo>
                    <a:pt x="1169" y="372"/>
                  </a:lnTo>
                  <a:lnTo>
                    <a:pt x="1217" y="364"/>
                  </a:lnTo>
                  <a:lnTo>
                    <a:pt x="1265" y="358"/>
                  </a:lnTo>
                  <a:lnTo>
                    <a:pt x="1313" y="355"/>
                  </a:lnTo>
                  <a:lnTo>
                    <a:pt x="1363" y="354"/>
                  </a:lnTo>
                  <a:lnTo>
                    <a:pt x="1411" y="355"/>
                  </a:lnTo>
                  <a:lnTo>
                    <a:pt x="1459" y="358"/>
                  </a:lnTo>
                  <a:lnTo>
                    <a:pt x="1508" y="364"/>
                  </a:lnTo>
                  <a:lnTo>
                    <a:pt x="1555" y="372"/>
                  </a:lnTo>
                  <a:lnTo>
                    <a:pt x="1603" y="382"/>
                  </a:lnTo>
                  <a:lnTo>
                    <a:pt x="1650" y="395"/>
                  </a:lnTo>
                  <a:lnTo>
                    <a:pt x="1697" y="410"/>
                  </a:lnTo>
                  <a:lnTo>
                    <a:pt x="1742" y="427"/>
                  </a:lnTo>
                  <a:lnTo>
                    <a:pt x="1788" y="447"/>
                  </a:lnTo>
                  <a:lnTo>
                    <a:pt x="1832" y="469"/>
                  </a:lnTo>
                  <a:lnTo>
                    <a:pt x="1875" y="492"/>
                  </a:lnTo>
                  <a:lnTo>
                    <a:pt x="1918" y="519"/>
                  </a:lnTo>
                  <a:lnTo>
                    <a:pt x="1960" y="548"/>
                  </a:lnTo>
                  <a:lnTo>
                    <a:pt x="1999" y="579"/>
                  </a:lnTo>
                  <a:lnTo>
                    <a:pt x="2039" y="613"/>
                  </a:lnTo>
                  <a:lnTo>
                    <a:pt x="2076" y="648"/>
                  </a:lnTo>
                  <a:lnTo>
                    <a:pt x="2111" y="686"/>
                  </a:lnTo>
                  <a:lnTo>
                    <a:pt x="2146" y="725"/>
                  </a:lnTo>
                  <a:lnTo>
                    <a:pt x="2177" y="765"/>
                  </a:lnTo>
                  <a:lnTo>
                    <a:pt x="2205" y="806"/>
                  </a:lnTo>
                  <a:lnTo>
                    <a:pt x="2231" y="849"/>
                  </a:lnTo>
                  <a:lnTo>
                    <a:pt x="2256" y="893"/>
                  </a:lnTo>
                  <a:lnTo>
                    <a:pt x="2278" y="937"/>
                  </a:lnTo>
                  <a:lnTo>
                    <a:pt x="2297" y="982"/>
                  </a:lnTo>
                  <a:lnTo>
                    <a:pt x="2314" y="1028"/>
                  </a:lnTo>
                  <a:lnTo>
                    <a:pt x="2329" y="1075"/>
                  </a:lnTo>
                  <a:lnTo>
                    <a:pt x="2342" y="1122"/>
                  </a:lnTo>
                  <a:lnTo>
                    <a:pt x="2353" y="1169"/>
                  </a:lnTo>
                  <a:lnTo>
                    <a:pt x="2360" y="1217"/>
                  </a:lnTo>
                  <a:lnTo>
                    <a:pt x="2367" y="1265"/>
                  </a:lnTo>
                  <a:lnTo>
                    <a:pt x="2370" y="1314"/>
                  </a:lnTo>
                  <a:lnTo>
                    <a:pt x="2371" y="1362"/>
                  </a:lnTo>
                  <a:lnTo>
                    <a:pt x="2370" y="1410"/>
                  </a:lnTo>
                  <a:lnTo>
                    <a:pt x="2367" y="1458"/>
                  </a:lnTo>
                  <a:lnTo>
                    <a:pt x="2360" y="1507"/>
                  </a:lnTo>
                  <a:lnTo>
                    <a:pt x="2353" y="1554"/>
                  </a:lnTo>
                  <a:lnTo>
                    <a:pt x="2342" y="1602"/>
                  </a:lnTo>
                  <a:lnTo>
                    <a:pt x="2329" y="1649"/>
                  </a:lnTo>
                  <a:lnTo>
                    <a:pt x="2314" y="1696"/>
                  </a:lnTo>
                  <a:lnTo>
                    <a:pt x="2297" y="1742"/>
                  </a:lnTo>
                  <a:lnTo>
                    <a:pt x="2278" y="1787"/>
                  </a:lnTo>
                  <a:lnTo>
                    <a:pt x="2256" y="1831"/>
                  </a:lnTo>
                  <a:lnTo>
                    <a:pt x="2231" y="1875"/>
                  </a:lnTo>
                  <a:lnTo>
                    <a:pt x="2205" y="1917"/>
                  </a:lnTo>
                  <a:lnTo>
                    <a:pt x="2177" y="1959"/>
                  </a:lnTo>
                  <a:lnTo>
                    <a:pt x="2146" y="1998"/>
                  </a:lnTo>
                  <a:lnTo>
                    <a:pt x="2111" y="2038"/>
                  </a:lnTo>
                  <a:lnTo>
                    <a:pt x="2076" y="2075"/>
                  </a:lnTo>
                  <a:close/>
                  <a:moveTo>
                    <a:pt x="2326" y="397"/>
                  </a:moveTo>
                  <a:lnTo>
                    <a:pt x="2301" y="373"/>
                  </a:lnTo>
                  <a:lnTo>
                    <a:pt x="2275" y="349"/>
                  </a:lnTo>
                  <a:lnTo>
                    <a:pt x="2249" y="327"/>
                  </a:lnTo>
                  <a:lnTo>
                    <a:pt x="2223" y="305"/>
                  </a:lnTo>
                  <a:lnTo>
                    <a:pt x="2196" y="283"/>
                  </a:lnTo>
                  <a:lnTo>
                    <a:pt x="2168" y="263"/>
                  </a:lnTo>
                  <a:lnTo>
                    <a:pt x="2140" y="243"/>
                  </a:lnTo>
                  <a:lnTo>
                    <a:pt x="2113" y="223"/>
                  </a:lnTo>
                  <a:lnTo>
                    <a:pt x="2084" y="205"/>
                  </a:lnTo>
                  <a:lnTo>
                    <a:pt x="2055" y="188"/>
                  </a:lnTo>
                  <a:lnTo>
                    <a:pt x="2026" y="171"/>
                  </a:lnTo>
                  <a:lnTo>
                    <a:pt x="1996" y="155"/>
                  </a:lnTo>
                  <a:lnTo>
                    <a:pt x="1966" y="140"/>
                  </a:lnTo>
                  <a:lnTo>
                    <a:pt x="1936" y="126"/>
                  </a:lnTo>
                  <a:lnTo>
                    <a:pt x="1906" y="112"/>
                  </a:lnTo>
                  <a:lnTo>
                    <a:pt x="1875" y="99"/>
                  </a:lnTo>
                  <a:lnTo>
                    <a:pt x="1844" y="87"/>
                  </a:lnTo>
                  <a:lnTo>
                    <a:pt x="1813" y="76"/>
                  </a:lnTo>
                  <a:lnTo>
                    <a:pt x="1782" y="65"/>
                  </a:lnTo>
                  <a:lnTo>
                    <a:pt x="1750" y="56"/>
                  </a:lnTo>
                  <a:lnTo>
                    <a:pt x="1719" y="47"/>
                  </a:lnTo>
                  <a:lnTo>
                    <a:pt x="1687" y="39"/>
                  </a:lnTo>
                  <a:lnTo>
                    <a:pt x="1655" y="31"/>
                  </a:lnTo>
                  <a:lnTo>
                    <a:pt x="1623" y="25"/>
                  </a:lnTo>
                  <a:lnTo>
                    <a:pt x="1590" y="18"/>
                  </a:lnTo>
                  <a:lnTo>
                    <a:pt x="1558" y="14"/>
                  </a:lnTo>
                  <a:lnTo>
                    <a:pt x="1526" y="10"/>
                  </a:lnTo>
                  <a:lnTo>
                    <a:pt x="1493" y="5"/>
                  </a:lnTo>
                  <a:lnTo>
                    <a:pt x="1461" y="3"/>
                  </a:lnTo>
                  <a:lnTo>
                    <a:pt x="1428" y="1"/>
                  </a:lnTo>
                  <a:lnTo>
                    <a:pt x="1395" y="0"/>
                  </a:lnTo>
                  <a:lnTo>
                    <a:pt x="1363" y="0"/>
                  </a:lnTo>
                  <a:lnTo>
                    <a:pt x="1329" y="0"/>
                  </a:lnTo>
                  <a:lnTo>
                    <a:pt x="1297" y="1"/>
                  </a:lnTo>
                  <a:lnTo>
                    <a:pt x="1264" y="3"/>
                  </a:lnTo>
                  <a:lnTo>
                    <a:pt x="1232" y="5"/>
                  </a:lnTo>
                  <a:lnTo>
                    <a:pt x="1199" y="10"/>
                  </a:lnTo>
                  <a:lnTo>
                    <a:pt x="1167" y="14"/>
                  </a:lnTo>
                  <a:lnTo>
                    <a:pt x="1134" y="18"/>
                  </a:lnTo>
                  <a:lnTo>
                    <a:pt x="1102" y="25"/>
                  </a:lnTo>
                  <a:lnTo>
                    <a:pt x="1070" y="31"/>
                  </a:lnTo>
                  <a:lnTo>
                    <a:pt x="1038" y="39"/>
                  </a:lnTo>
                  <a:lnTo>
                    <a:pt x="1006" y="47"/>
                  </a:lnTo>
                  <a:lnTo>
                    <a:pt x="975" y="56"/>
                  </a:lnTo>
                  <a:lnTo>
                    <a:pt x="943" y="65"/>
                  </a:lnTo>
                  <a:lnTo>
                    <a:pt x="912" y="76"/>
                  </a:lnTo>
                  <a:lnTo>
                    <a:pt x="881" y="87"/>
                  </a:lnTo>
                  <a:lnTo>
                    <a:pt x="850" y="99"/>
                  </a:lnTo>
                  <a:lnTo>
                    <a:pt x="819" y="112"/>
                  </a:lnTo>
                  <a:lnTo>
                    <a:pt x="789" y="126"/>
                  </a:lnTo>
                  <a:lnTo>
                    <a:pt x="758" y="140"/>
                  </a:lnTo>
                  <a:lnTo>
                    <a:pt x="728" y="155"/>
                  </a:lnTo>
                  <a:lnTo>
                    <a:pt x="699" y="171"/>
                  </a:lnTo>
                  <a:lnTo>
                    <a:pt x="670" y="188"/>
                  </a:lnTo>
                  <a:lnTo>
                    <a:pt x="640" y="205"/>
                  </a:lnTo>
                  <a:lnTo>
                    <a:pt x="613" y="223"/>
                  </a:lnTo>
                  <a:lnTo>
                    <a:pt x="584" y="243"/>
                  </a:lnTo>
                  <a:lnTo>
                    <a:pt x="556" y="263"/>
                  </a:lnTo>
                  <a:lnTo>
                    <a:pt x="529" y="283"/>
                  </a:lnTo>
                  <a:lnTo>
                    <a:pt x="503" y="305"/>
                  </a:lnTo>
                  <a:lnTo>
                    <a:pt x="476" y="327"/>
                  </a:lnTo>
                  <a:lnTo>
                    <a:pt x="449" y="349"/>
                  </a:lnTo>
                  <a:lnTo>
                    <a:pt x="423" y="373"/>
                  </a:lnTo>
                  <a:lnTo>
                    <a:pt x="399" y="397"/>
                  </a:lnTo>
                  <a:lnTo>
                    <a:pt x="351" y="449"/>
                  </a:lnTo>
                  <a:lnTo>
                    <a:pt x="305" y="501"/>
                  </a:lnTo>
                  <a:lnTo>
                    <a:pt x="263" y="556"/>
                  </a:lnTo>
                  <a:lnTo>
                    <a:pt x="224" y="611"/>
                  </a:lnTo>
                  <a:lnTo>
                    <a:pt x="188" y="669"/>
                  </a:lnTo>
                  <a:lnTo>
                    <a:pt x="155" y="727"/>
                  </a:lnTo>
                  <a:lnTo>
                    <a:pt x="126" y="787"/>
                  </a:lnTo>
                  <a:lnTo>
                    <a:pt x="100" y="848"/>
                  </a:lnTo>
                  <a:lnTo>
                    <a:pt x="76" y="910"/>
                  </a:lnTo>
                  <a:lnTo>
                    <a:pt x="56" y="973"/>
                  </a:lnTo>
                  <a:lnTo>
                    <a:pt x="39" y="1037"/>
                  </a:lnTo>
                  <a:lnTo>
                    <a:pt x="25" y="1101"/>
                  </a:lnTo>
                  <a:lnTo>
                    <a:pt x="14" y="1165"/>
                  </a:lnTo>
                  <a:lnTo>
                    <a:pt x="6" y="1231"/>
                  </a:lnTo>
                  <a:lnTo>
                    <a:pt x="1" y="1296"/>
                  </a:lnTo>
                  <a:lnTo>
                    <a:pt x="0" y="1362"/>
                  </a:lnTo>
                  <a:lnTo>
                    <a:pt x="1" y="1427"/>
                  </a:lnTo>
                  <a:lnTo>
                    <a:pt x="6" y="1492"/>
                  </a:lnTo>
                  <a:lnTo>
                    <a:pt x="14" y="1557"/>
                  </a:lnTo>
                  <a:lnTo>
                    <a:pt x="25" y="1622"/>
                  </a:lnTo>
                  <a:lnTo>
                    <a:pt x="39" y="1687"/>
                  </a:lnTo>
                  <a:lnTo>
                    <a:pt x="56" y="1750"/>
                  </a:lnTo>
                  <a:lnTo>
                    <a:pt x="76" y="1813"/>
                  </a:lnTo>
                  <a:lnTo>
                    <a:pt x="100" y="1875"/>
                  </a:lnTo>
                  <a:lnTo>
                    <a:pt x="126" y="1935"/>
                  </a:lnTo>
                  <a:lnTo>
                    <a:pt x="155" y="1995"/>
                  </a:lnTo>
                  <a:lnTo>
                    <a:pt x="188" y="2054"/>
                  </a:lnTo>
                  <a:lnTo>
                    <a:pt x="224" y="2112"/>
                  </a:lnTo>
                  <a:lnTo>
                    <a:pt x="263" y="2167"/>
                  </a:lnTo>
                  <a:lnTo>
                    <a:pt x="305" y="2222"/>
                  </a:lnTo>
                  <a:lnTo>
                    <a:pt x="351" y="2274"/>
                  </a:lnTo>
                  <a:lnTo>
                    <a:pt x="399" y="2325"/>
                  </a:lnTo>
                  <a:lnTo>
                    <a:pt x="449" y="2373"/>
                  </a:lnTo>
                  <a:lnTo>
                    <a:pt x="501" y="2418"/>
                  </a:lnTo>
                  <a:lnTo>
                    <a:pt x="556" y="2461"/>
                  </a:lnTo>
                  <a:lnTo>
                    <a:pt x="613" y="2499"/>
                  </a:lnTo>
                  <a:lnTo>
                    <a:pt x="669" y="2536"/>
                  </a:lnTo>
                  <a:lnTo>
                    <a:pt x="728" y="2568"/>
                  </a:lnTo>
                  <a:lnTo>
                    <a:pt x="789" y="2598"/>
                  </a:lnTo>
                  <a:lnTo>
                    <a:pt x="850" y="2624"/>
                  </a:lnTo>
                  <a:lnTo>
                    <a:pt x="912" y="2648"/>
                  </a:lnTo>
                  <a:lnTo>
                    <a:pt x="975" y="2667"/>
                  </a:lnTo>
                  <a:lnTo>
                    <a:pt x="1038" y="2685"/>
                  </a:lnTo>
                  <a:lnTo>
                    <a:pt x="1102" y="2699"/>
                  </a:lnTo>
                  <a:lnTo>
                    <a:pt x="1167" y="2710"/>
                  </a:lnTo>
                  <a:lnTo>
                    <a:pt x="1232" y="2717"/>
                  </a:lnTo>
                  <a:lnTo>
                    <a:pt x="1297" y="2723"/>
                  </a:lnTo>
                  <a:lnTo>
                    <a:pt x="1363" y="2724"/>
                  </a:lnTo>
                  <a:lnTo>
                    <a:pt x="1428" y="2723"/>
                  </a:lnTo>
                  <a:lnTo>
                    <a:pt x="1493" y="2717"/>
                  </a:lnTo>
                  <a:lnTo>
                    <a:pt x="1558" y="2710"/>
                  </a:lnTo>
                  <a:lnTo>
                    <a:pt x="1623" y="2699"/>
                  </a:lnTo>
                  <a:lnTo>
                    <a:pt x="1687" y="2685"/>
                  </a:lnTo>
                  <a:lnTo>
                    <a:pt x="1751" y="2668"/>
                  </a:lnTo>
                  <a:lnTo>
                    <a:pt x="1813" y="2648"/>
                  </a:lnTo>
                  <a:lnTo>
                    <a:pt x="1875" y="2624"/>
                  </a:lnTo>
                  <a:lnTo>
                    <a:pt x="1937" y="2598"/>
                  </a:lnTo>
                  <a:lnTo>
                    <a:pt x="1997" y="2568"/>
                  </a:lnTo>
                  <a:lnTo>
                    <a:pt x="2056" y="2536"/>
                  </a:lnTo>
                  <a:lnTo>
                    <a:pt x="2113" y="2499"/>
                  </a:lnTo>
                  <a:lnTo>
                    <a:pt x="2169" y="2461"/>
                  </a:lnTo>
                  <a:lnTo>
                    <a:pt x="2224" y="2419"/>
                  </a:lnTo>
                  <a:lnTo>
                    <a:pt x="2276" y="2373"/>
                  </a:lnTo>
                  <a:lnTo>
                    <a:pt x="2326" y="2325"/>
                  </a:lnTo>
                  <a:lnTo>
                    <a:pt x="2375" y="2275"/>
                  </a:lnTo>
                  <a:lnTo>
                    <a:pt x="2420" y="2223"/>
                  </a:lnTo>
                  <a:lnTo>
                    <a:pt x="2462" y="2168"/>
                  </a:lnTo>
                  <a:lnTo>
                    <a:pt x="2501" y="2112"/>
                  </a:lnTo>
                  <a:lnTo>
                    <a:pt x="2537" y="2055"/>
                  </a:lnTo>
                  <a:lnTo>
                    <a:pt x="2570" y="1996"/>
                  </a:lnTo>
                  <a:lnTo>
                    <a:pt x="2599" y="1936"/>
                  </a:lnTo>
                  <a:lnTo>
                    <a:pt x="2625" y="1875"/>
                  </a:lnTo>
                  <a:lnTo>
                    <a:pt x="2649" y="1813"/>
                  </a:lnTo>
                  <a:lnTo>
                    <a:pt x="2669" y="1750"/>
                  </a:lnTo>
                  <a:lnTo>
                    <a:pt x="2686" y="1687"/>
                  </a:lnTo>
                  <a:lnTo>
                    <a:pt x="2700" y="1622"/>
                  </a:lnTo>
                  <a:lnTo>
                    <a:pt x="2711" y="1557"/>
                  </a:lnTo>
                  <a:lnTo>
                    <a:pt x="2718" y="1492"/>
                  </a:lnTo>
                  <a:lnTo>
                    <a:pt x="2724" y="1427"/>
                  </a:lnTo>
                  <a:lnTo>
                    <a:pt x="2725" y="1362"/>
                  </a:lnTo>
                  <a:lnTo>
                    <a:pt x="2724" y="1297"/>
                  </a:lnTo>
                  <a:lnTo>
                    <a:pt x="2718" y="1231"/>
                  </a:lnTo>
                  <a:lnTo>
                    <a:pt x="2711" y="1165"/>
                  </a:lnTo>
                  <a:lnTo>
                    <a:pt x="2700" y="1101"/>
                  </a:lnTo>
                  <a:lnTo>
                    <a:pt x="2686" y="1037"/>
                  </a:lnTo>
                  <a:lnTo>
                    <a:pt x="2669" y="973"/>
                  </a:lnTo>
                  <a:lnTo>
                    <a:pt x="2649" y="910"/>
                  </a:lnTo>
                  <a:lnTo>
                    <a:pt x="2625" y="848"/>
                  </a:lnTo>
                  <a:lnTo>
                    <a:pt x="2599" y="787"/>
                  </a:lnTo>
                  <a:lnTo>
                    <a:pt x="2569" y="727"/>
                  </a:lnTo>
                  <a:lnTo>
                    <a:pt x="2537" y="669"/>
                  </a:lnTo>
                  <a:lnTo>
                    <a:pt x="2500" y="611"/>
                  </a:lnTo>
                  <a:lnTo>
                    <a:pt x="2462" y="556"/>
                  </a:lnTo>
                  <a:lnTo>
                    <a:pt x="2419" y="501"/>
                  </a:lnTo>
                  <a:lnTo>
                    <a:pt x="2374" y="449"/>
                  </a:lnTo>
                  <a:lnTo>
                    <a:pt x="2326" y="397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 34"/>
            <p:cNvSpPr>
              <a:spLocks noEditPoints="1"/>
            </p:cNvSpPr>
            <p:nvPr/>
          </p:nvSpPr>
          <p:spPr bwMode="auto">
            <a:xfrm>
              <a:off x="803276" y="5236207"/>
              <a:ext cx="457200" cy="457200"/>
            </a:xfrm>
            <a:custGeom>
              <a:avLst/>
              <a:gdLst>
                <a:gd name="T0" fmla="*/ 1378 w 2017"/>
                <a:gd name="T1" fmla="*/ 1570 h 2016"/>
                <a:gd name="T2" fmla="*/ 1231 w 2017"/>
                <a:gd name="T3" fmla="*/ 1643 h 2016"/>
                <a:gd name="T4" fmla="*/ 1073 w 2017"/>
                <a:gd name="T5" fmla="*/ 1678 h 2016"/>
                <a:gd name="T6" fmla="*/ 911 w 2017"/>
                <a:gd name="T7" fmla="*/ 1673 h 2016"/>
                <a:gd name="T8" fmla="*/ 755 w 2017"/>
                <a:gd name="T9" fmla="*/ 1632 h 2016"/>
                <a:gd name="T10" fmla="*/ 610 w 2017"/>
                <a:gd name="T11" fmla="*/ 1550 h 2016"/>
                <a:gd name="T12" fmla="*/ 486 w 2017"/>
                <a:gd name="T13" fmla="*/ 1433 h 2016"/>
                <a:gd name="T14" fmla="*/ 397 w 2017"/>
                <a:gd name="T15" fmla="*/ 1291 h 2016"/>
                <a:gd name="T16" fmla="*/ 348 w 2017"/>
                <a:gd name="T17" fmla="*/ 1136 h 2016"/>
                <a:gd name="T18" fmla="*/ 337 w 2017"/>
                <a:gd name="T19" fmla="*/ 975 h 2016"/>
                <a:gd name="T20" fmla="*/ 363 w 2017"/>
                <a:gd name="T21" fmla="*/ 816 h 2016"/>
                <a:gd name="T22" fmla="*/ 428 w 2017"/>
                <a:gd name="T23" fmla="*/ 665 h 2016"/>
                <a:gd name="T24" fmla="*/ 532 w 2017"/>
                <a:gd name="T25" fmla="*/ 532 h 2016"/>
                <a:gd name="T26" fmla="*/ 666 w 2017"/>
                <a:gd name="T27" fmla="*/ 428 h 2016"/>
                <a:gd name="T28" fmla="*/ 816 w 2017"/>
                <a:gd name="T29" fmla="*/ 363 h 2016"/>
                <a:gd name="T30" fmla="*/ 975 w 2017"/>
                <a:gd name="T31" fmla="*/ 336 h 2016"/>
                <a:gd name="T32" fmla="*/ 1137 w 2017"/>
                <a:gd name="T33" fmla="*/ 348 h 2016"/>
                <a:gd name="T34" fmla="*/ 1292 w 2017"/>
                <a:gd name="T35" fmla="*/ 397 h 2016"/>
                <a:gd name="T36" fmla="*/ 1433 w 2017"/>
                <a:gd name="T37" fmla="*/ 486 h 2016"/>
                <a:gd name="T38" fmla="*/ 1551 w 2017"/>
                <a:gd name="T39" fmla="*/ 609 h 2016"/>
                <a:gd name="T40" fmla="*/ 1631 w 2017"/>
                <a:gd name="T41" fmla="*/ 755 h 2016"/>
                <a:gd name="T42" fmla="*/ 1674 w 2017"/>
                <a:gd name="T43" fmla="*/ 911 h 2016"/>
                <a:gd name="T44" fmla="*/ 1678 w 2017"/>
                <a:gd name="T45" fmla="*/ 1072 h 2016"/>
                <a:gd name="T46" fmla="*/ 1643 w 2017"/>
                <a:gd name="T47" fmla="*/ 1231 h 2016"/>
                <a:gd name="T48" fmla="*/ 1571 w 2017"/>
                <a:gd name="T49" fmla="*/ 1378 h 2016"/>
                <a:gd name="T50" fmla="*/ 1722 w 2017"/>
                <a:gd name="T51" fmla="*/ 294 h 2016"/>
                <a:gd name="T52" fmla="*/ 1521 w 2017"/>
                <a:gd name="T53" fmla="*/ 138 h 2016"/>
                <a:gd name="T54" fmla="*/ 1296 w 2017"/>
                <a:gd name="T55" fmla="*/ 41 h 2016"/>
                <a:gd name="T56" fmla="*/ 1057 w 2017"/>
                <a:gd name="T57" fmla="*/ 1 h 2016"/>
                <a:gd name="T58" fmla="*/ 815 w 2017"/>
                <a:gd name="T59" fmla="*/ 18 h 2016"/>
                <a:gd name="T60" fmla="*/ 583 w 2017"/>
                <a:gd name="T61" fmla="*/ 93 h 2016"/>
                <a:gd name="T62" fmla="*/ 372 w 2017"/>
                <a:gd name="T63" fmla="*/ 225 h 2016"/>
                <a:gd name="T64" fmla="*/ 194 w 2017"/>
                <a:gd name="T65" fmla="*/ 411 h 2016"/>
                <a:gd name="T66" fmla="*/ 74 w 2017"/>
                <a:gd name="T67" fmla="*/ 628 h 2016"/>
                <a:gd name="T68" fmla="*/ 11 w 2017"/>
                <a:gd name="T69" fmla="*/ 863 h 2016"/>
                <a:gd name="T70" fmla="*/ 4 w 2017"/>
                <a:gd name="T71" fmla="*/ 1104 h 2016"/>
                <a:gd name="T72" fmla="*/ 57 w 2017"/>
                <a:gd name="T73" fmla="*/ 1341 h 2016"/>
                <a:gd name="T74" fmla="*/ 166 w 2017"/>
                <a:gd name="T75" fmla="*/ 1562 h 2016"/>
                <a:gd name="T76" fmla="*/ 332 w 2017"/>
                <a:gd name="T77" fmla="*/ 1757 h 2016"/>
                <a:gd name="T78" fmla="*/ 540 w 2017"/>
                <a:gd name="T79" fmla="*/ 1901 h 2016"/>
                <a:gd name="T80" fmla="*/ 768 w 2017"/>
                <a:gd name="T81" fmla="*/ 1986 h 2016"/>
                <a:gd name="T82" fmla="*/ 1009 w 2017"/>
                <a:gd name="T83" fmla="*/ 2016 h 2016"/>
                <a:gd name="T84" fmla="*/ 1249 w 2017"/>
                <a:gd name="T85" fmla="*/ 1987 h 2016"/>
                <a:gd name="T86" fmla="*/ 1478 w 2017"/>
                <a:gd name="T87" fmla="*/ 1901 h 2016"/>
                <a:gd name="T88" fmla="*/ 1685 w 2017"/>
                <a:gd name="T89" fmla="*/ 1757 h 2016"/>
                <a:gd name="T90" fmla="*/ 1851 w 2017"/>
                <a:gd name="T91" fmla="*/ 1563 h 2016"/>
                <a:gd name="T92" fmla="*/ 1960 w 2017"/>
                <a:gd name="T93" fmla="*/ 1342 h 2016"/>
                <a:gd name="T94" fmla="*/ 2013 w 2017"/>
                <a:gd name="T95" fmla="*/ 1104 h 2016"/>
                <a:gd name="T96" fmla="*/ 2006 w 2017"/>
                <a:gd name="T97" fmla="*/ 863 h 2016"/>
                <a:gd name="T98" fmla="*/ 1943 w 2017"/>
                <a:gd name="T99" fmla="*/ 628 h 2016"/>
                <a:gd name="T100" fmla="*/ 1823 w 2017"/>
                <a:gd name="T101" fmla="*/ 411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17" h="2016">
                  <a:moveTo>
                    <a:pt x="1484" y="1484"/>
                  </a:moveTo>
                  <a:lnTo>
                    <a:pt x="1459" y="1508"/>
                  </a:lnTo>
                  <a:lnTo>
                    <a:pt x="1433" y="1530"/>
                  </a:lnTo>
                  <a:lnTo>
                    <a:pt x="1406" y="1550"/>
                  </a:lnTo>
                  <a:lnTo>
                    <a:pt x="1378" y="1570"/>
                  </a:lnTo>
                  <a:lnTo>
                    <a:pt x="1350" y="1588"/>
                  </a:lnTo>
                  <a:lnTo>
                    <a:pt x="1322" y="1604"/>
                  </a:lnTo>
                  <a:lnTo>
                    <a:pt x="1292" y="1619"/>
                  </a:lnTo>
                  <a:lnTo>
                    <a:pt x="1262" y="1632"/>
                  </a:lnTo>
                  <a:lnTo>
                    <a:pt x="1231" y="1643"/>
                  </a:lnTo>
                  <a:lnTo>
                    <a:pt x="1200" y="1653"/>
                  </a:lnTo>
                  <a:lnTo>
                    <a:pt x="1169" y="1662"/>
                  </a:lnTo>
                  <a:lnTo>
                    <a:pt x="1137" y="1668"/>
                  </a:lnTo>
                  <a:lnTo>
                    <a:pt x="1105" y="1673"/>
                  </a:lnTo>
                  <a:lnTo>
                    <a:pt x="1073" y="1678"/>
                  </a:lnTo>
                  <a:lnTo>
                    <a:pt x="1041" y="1680"/>
                  </a:lnTo>
                  <a:lnTo>
                    <a:pt x="1009" y="1681"/>
                  </a:lnTo>
                  <a:lnTo>
                    <a:pt x="976" y="1680"/>
                  </a:lnTo>
                  <a:lnTo>
                    <a:pt x="943" y="1678"/>
                  </a:lnTo>
                  <a:lnTo>
                    <a:pt x="911" y="1673"/>
                  </a:lnTo>
                  <a:lnTo>
                    <a:pt x="879" y="1668"/>
                  </a:lnTo>
                  <a:lnTo>
                    <a:pt x="848" y="1662"/>
                  </a:lnTo>
                  <a:lnTo>
                    <a:pt x="816" y="1653"/>
                  </a:lnTo>
                  <a:lnTo>
                    <a:pt x="785" y="1642"/>
                  </a:lnTo>
                  <a:lnTo>
                    <a:pt x="755" y="1632"/>
                  </a:lnTo>
                  <a:lnTo>
                    <a:pt x="724" y="1618"/>
                  </a:lnTo>
                  <a:lnTo>
                    <a:pt x="696" y="1604"/>
                  </a:lnTo>
                  <a:lnTo>
                    <a:pt x="667" y="1588"/>
                  </a:lnTo>
                  <a:lnTo>
                    <a:pt x="638" y="1570"/>
                  </a:lnTo>
                  <a:lnTo>
                    <a:pt x="610" y="1550"/>
                  </a:lnTo>
                  <a:lnTo>
                    <a:pt x="583" y="1530"/>
                  </a:lnTo>
                  <a:lnTo>
                    <a:pt x="558" y="1508"/>
                  </a:lnTo>
                  <a:lnTo>
                    <a:pt x="532" y="1484"/>
                  </a:lnTo>
                  <a:lnTo>
                    <a:pt x="509" y="1459"/>
                  </a:lnTo>
                  <a:lnTo>
                    <a:pt x="486" y="1433"/>
                  </a:lnTo>
                  <a:lnTo>
                    <a:pt x="466" y="1406"/>
                  </a:lnTo>
                  <a:lnTo>
                    <a:pt x="447" y="1378"/>
                  </a:lnTo>
                  <a:lnTo>
                    <a:pt x="428" y="1350"/>
                  </a:lnTo>
                  <a:lnTo>
                    <a:pt x="412" y="1321"/>
                  </a:lnTo>
                  <a:lnTo>
                    <a:pt x="397" y="1291"/>
                  </a:lnTo>
                  <a:lnTo>
                    <a:pt x="385" y="1261"/>
                  </a:lnTo>
                  <a:lnTo>
                    <a:pt x="373" y="1230"/>
                  </a:lnTo>
                  <a:lnTo>
                    <a:pt x="363" y="1199"/>
                  </a:lnTo>
                  <a:lnTo>
                    <a:pt x="355" y="1168"/>
                  </a:lnTo>
                  <a:lnTo>
                    <a:pt x="348" y="1136"/>
                  </a:lnTo>
                  <a:lnTo>
                    <a:pt x="343" y="1104"/>
                  </a:lnTo>
                  <a:lnTo>
                    <a:pt x="339" y="1072"/>
                  </a:lnTo>
                  <a:lnTo>
                    <a:pt x="337" y="1040"/>
                  </a:lnTo>
                  <a:lnTo>
                    <a:pt x="335" y="1008"/>
                  </a:lnTo>
                  <a:lnTo>
                    <a:pt x="337" y="975"/>
                  </a:lnTo>
                  <a:lnTo>
                    <a:pt x="339" y="943"/>
                  </a:lnTo>
                  <a:lnTo>
                    <a:pt x="343" y="911"/>
                  </a:lnTo>
                  <a:lnTo>
                    <a:pt x="348" y="879"/>
                  </a:lnTo>
                  <a:lnTo>
                    <a:pt x="355" y="848"/>
                  </a:lnTo>
                  <a:lnTo>
                    <a:pt x="363" y="816"/>
                  </a:lnTo>
                  <a:lnTo>
                    <a:pt x="373" y="785"/>
                  </a:lnTo>
                  <a:lnTo>
                    <a:pt x="385" y="754"/>
                  </a:lnTo>
                  <a:lnTo>
                    <a:pt x="397" y="724"/>
                  </a:lnTo>
                  <a:lnTo>
                    <a:pt x="412" y="694"/>
                  </a:lnTo>
                  <a:lnTo>
                    <a:pt x="428" y="665"/>
                  </a:lnTo>
                  <a:lnTo>
                    <a:pt x="447" y="637"/>
                  </a:lnTo>
                  <a:lnTo>
                    <a:pt x="466" y="609"/>
                  </a:lnTo>
                  <a:lnTo>
                    <a:pt x="486" y="583"/>
                  </a:lnTo>
                  <a:lnTo>
                    <a:pt x="509" y="556"/>
                  </a:lnTo>
                  <a:lnTo>
                    <a:pt x="532" y="532"/>
                  </a:lnTo>
                  <a:lnTo>
                    <a:pt x="558" y="508"/>
                  </a:lnTo>
                  <a:lnTo>
                    <a:pt x="583" y="486"/>
                  </a:lnTo>
                  <a:lnTo>
                    <a:pt x="610" y="464"/>
                  </a:lnTo>
                  <a:lnTo>
                    <a:pt x="638" y="445"/>
                  </a:lnTo>
                  <a:lnTo>
                    <a:pt x="666" y="428"/>
                  </a:lnTo>
                  <a:lnTo>
                    <a:pt x="694" y="412"/>
                  </a:lnTo>
                  <a:lnTo>
                    <a:pt x="724" y="397"/>
                  </a:lnTo>
                  <a:lnTo>
                    <a:pt x="754" y="384"/>
                  </a:lnTo>
                  <a:lnTo>
                    <a:pt x="785" y="372"/>
                  </a:lnTo>
                  <a:lnTo>
                    <a:pt x="816" y="363"/>
                  </a:lnTo>
                  <a:lnTo>
                    <a:pt x="847" y="354"/>
                  </a:lnTo>
                  <a:lnTo>
                    <a:pt x="879" y="347"/>
                  </a:lnTo>
                  <a:lnTo>
                    <a:pt x="911" y="341"/>
                  </a:lnTo>
                  <a:lnTo>
                    <a:pt x="943" y="338"/>
                  </a:lnTo>
                  <a:lnTo>
                    <a:pt x="975" y="336"/>
                  </a:lnTo>
                  <a:lnTo>
                    <a:pt x="1009" y="335"/>
                  </a:lnTo>
                  <a:lnTo>
                    <a:pt x="1041" y="336"/>
                  </a:lnTo>
                  <a:lnTo>
                    <a:pt x="1073" y="338"/>
                  </a:lnTo>
                  <a:lnTo>
                    <a:pt x="1105" y="342"/>
                  </a:lnTo>
                  <a:lnTo>
                    <a:pt x="1137" y="348"/>
                  </a:lnTo>
                  <a:lnTo>
                    <a:pt x="1169" y="354"/>
                  </a:lnTo>
                  <a:lnTo>
                    <a:pt x="1200" y="363"/>
                  </a:lnTo>
                  <a:lnTo>
                    <a:pt x="1231" y="372"/>
                  </a:lnTo>
                  <a:lnTo>
                    <a:pt x="1262" y="384"/>
                  </a:lnTo>
                  <a:lnTo>
                    <a:pt x="1292" y="397"/>
                  </a:lnTo>
                  <a:lnTo>
                    <a:pt x="1322" y="412"/>
                  </a:lnTo>
                  <a:lnTo>
                    <a:pt x="1350" y="428"/>
                  </a:lnTo>
                  <a:lnTo>
                    <a:pt x="1378" y="446"/>
                  </a:lnTo>
                  <a:lnTo>
                    <a:pt x="1406" y="465"/>
                  </a:lnTo>
                  <a:lnTo>
                    <a:pt x="1433" y="486"/>
                  </a:lnTo>
                  <a:lnTo>
                    <a:pt x="1459" y="508"/>
                  </a:lnTo>
                  <a:lnTo>
                    <a:pt x="1484" y="532"/>
                  </a:lnTo>
                  <a:lnTo>
                    <a:pt x="1509" y="557"/>
                  </a:lnTo>
                  <a:lnTo>
                    <a:pt x="1530" y="583"/>
                  </a:lnTo>
                  <a:lnTo>
                    <a:pt x="1551" y="609"/>
                  </a:lnTo>
                  <a:lnTo>
                    <a:pt x="1571" y="637"/>
                  </a:lnTo>
                  <a:lnTo>
                    <a:pt x="1588" y="666"/>
                  </a:lnTo>
                  <a:lnTo>
                    <a:pt x="1605" y="695"/>
                  </a:lnTo>
                  <a:lnTo>
                    <a:pt x="1619" y="724"/>
                  </a:lnTo>
                  <a:lnTo>
                    <a:pt x="1631" y="755"/>
                  </a:lnTo>
                  <a:lnTo>
                    <a:pt x="1643" y="785"/>
                  </a:lnTo>
                  <a:lnTo>
                    <a:pt x="1654" y="816"/>
                  </a:lnTo>
                  <a:lnTo>
                    <a:pt x="1662" y="848"/>
                  </a:lnTo>
                  <a:lnTo>
                    <a:pt x="1669" y="879"/>
                  </a:lnTo>
                  <a:lnTo>
                    <a:pt x="1674" y="911"/>
                  </a:lnTo>
                  <a:lnTo>
                    <a:pt x="1678" y="943"/>
                  </a:lnTo>
                  <a:lnTo>
                    <a:pt x="1681" y="976"/>
                  </a:lnTo>
                  <a:lnTo>
                    <a:pt x="1682" y="1008"/>
                  </a:lnTo>
                  <a:lnTo>
                    <a:pt x="1681" y="1040"/>
                  </a:lnTo>
                  <a:lnTo>
                    <a:pt x="1678" y="1072"/>
                  </a:lnTo>
                  <a:lnTo>
                    <a:pt x="1674" y="1104"/>
                  </a:lnTo>
                  <a:lnTo>
                    <a:pt x="1669" y="1136"/>
                  </a:lnTo>
                  <a:lnTo>
                    <a:pt x="1662" y="1168"/>
                  </a:lnTo>
                  <a:lnTo>
                    <a:pt x="1654" y="1199"/>
                  </a:lnTo>
                  <a:lnTo>
                    <a:pt x="1643" y="1231"/>
                  </a:lnTo>
                  <a:lnTo>
                    <a:pt x="1632" y="1261"/>
                  </a:lnTo>
                  <a:lnTo>
                    <a:pt x="1619" y="1291"/>
                  </a:lnTo>
                  <a:lnTo>
                    <a:pt x="1605" y="1321"/>
                  </a:lnTo>
                  <a:lnTo>
                    <a:pt x="1589" y="1350"/>
                  </a:lnTo>
                  <a:lnTo>
                    <a:pt x="1571" y="1378"/>
                  </a:lnTo>
                  <a:lnTo>
                    <a:pt x="1551" y="1406"/>
                  </a:lnTo>
                  <a:lnTo>
                    <a:pt x="1530" y="1433"/>
                  </a:lnTo>
                  <a:lnTo>
                    <a:pt x="1509" y="1459"/>
                  </a:lnTo>
                  <a:lnTo>
                    <a:pt x="1484" y="1484"/>
                  </a:lnTo>
                  <a:close/>
                  <a:moveTo>
                    <a:pt x="1722" y="294"/>
                  </a:moveTo>
                  <a:lnTo>
                    <a:pt x="1685" y="259"/>
                  </a:lnTo>
                  <a:lnTo>
                    <a:pt x="1645" y="225"/>
                  </a:lnTo>
                  <a:lnTo>
                    <a:pt x="1606" y="194"/>
                  </a:lnTo>
                  <a:lnTo>
                    <a:pt x="1564" y="165"/>
                  </a:lnTo>
                  <a:lnTo>
                    <a:pt x="1521" y="138"/>
                  </a:lnTo>
                  <a:lnTo>
                    <a:pt x="1478" y="115"/>
                  </a:lnTo>
                  <a:lnTo>
                    <a:pt x="1434" y="93"/>
                  </a:lnTo>
                  <a:lnTo>
                    <a:pt x="1388" y="73"/>
                  </a:lnTo>
                  <a:lnTo>
                    <a:pt x="1343" y="56"/>
                  </a:lnTo>
                  <a:lnTo>
                    <a:pt x="1296" y="41"/>
                  </a:lnTo>
                  <a:lnTo>
                    <a:pt x="1249" y="28"/>
                  </a:lnTo>
                  <a:lnTo>
                    <a:pt x="1201" y="18"/>
                  </a:lnTo>
                  <a:lnTo>
                    <a:pt x="1154" y="10"/>
                  </a:lnTo>
                  <a:lnTo>
                    <a:pt x="1105" y="4"/>
                  </a:lnTo>
                  <a:lnTo>
                    <a:pt x="1057" y="1"/>
                  </a:lnTo>
                  <a:lnTo>
                    <a:pt x="1009" y="0"/>
                  </a:lnTo>
                  <a:lnTo>
                    <a:pt x="959" y="1"/>
                  </a:lnTo>
                  <a:lnTo>
                    <a:pt x="911" y="4"/>
                  </a:lnTo>
                  <a:lnTo>
                    <a:pt x="863" y="10"/>
                  </a:lnTo>
                  <a:lnTo>
                    <a:pt x="815" y="18"/>
                  </a:lnTo>
                  <a:lnTo>
                    <a:pt x="768" y="28"/>
                  </a:lnTo>
                  <a:lnTo>
                    <a:pt x="721" y="41"/>
                  </a:lnTo>
                  <a:lnTo>
                    <a:pt x="674" y="56"/>
                  </a:lnTo>
                  <a:lnTo>
                    <a:pt x="628" y="73"/>
                  </a:lnTo>
                  <a:lnTo>
                    <a:pt x="583" y="93"/>
                  </a:lnTo>
                  <a:lnTo>
                    <a:pt x="538" y="115"/>
                  </a:lnTo>
                  <a:lnTo>
                    <a:pt x="496" y="138"/>
                  </a:lnTo>
                  <a:lnTo>
                    <a:pt x="453" y="165"/>
                  </a:lnTo>
                  <a:lnTo>
                    <a:pt x="411" y="194"/>
                  </a:lnTo>
                  <a:lnTo>
                    <a:pt x="372" y="225"/>
                  </a:lnTo>
                  <a:lnTo>
                    <a:pt x="332" y="259"/>
                  </a:lnTo>
                  <a:lnTo>
                    <a:pt x="295" y="294"/>
                  </a:lnTo>
                  <a:lnTo>
                    <a:pt x="260" y="332"/>
                  </a:lnTo>
                  <a:lnTo>
                    <a:pt x="225" y="371"/>
                  </a:lnTo>
                  <a:lnTo>
                    <a:pt x="194" y="411"/>
                  </a:lnTo>
                  <a:lnTo>
                    <a:pt x="166" y="452"/>
                  </a:lnTo>
                  <a:lnTo>
                    <a:pt x="139" y="495"/>
                  </a:lnTo>
                  <a:lnTo>
                    <a:pt x="115" y="538"/>
                  </a:lnTo>
                  <a:lnTo>
                    <a:pt x="93" y="583"/>
                  </a:lnTo>
                  <a:lnTo>
                    <a:pt x="74" y="628"/>
                  </a:lnTo>
                  <a:lnTo>
                    <a:pt x="57" y="674"/>
                  </a:lnTo>
                  <a:lnTo>
                    <a:pt x="42" y="721"/>
                  </a:lnTo>
                  <a:lnTo>
                    <a:pt x="29" y="768"/>
                  </a:lnTo>
                  <a:lnTo>
                    <a:pt x="18" y="815"/>
                  </a:lnTo>
                  <a:lnTo>
                    <a:pt x="11" y="863"/>
                  </a:lnTo>
                  <a:lnTo>
                    <a:pt x="4" y="911"/>
                  </a:lnTo>
                  <a:lnTo>
                    <a:pt x="1" y="959"/>
                  </a:lnTo>
                  <a:lnTo>
                    <a:pt x="0" y="1008"/>
                  </a:lnTo>
                  <a:lnTo>
                    <a:pt x="1" y="1056"/>
                  </a:lnTo>
                  <a:lnTo>
                    <a:pt x="4" y="1104"/>
                  </a:lnTo>
                  <a:lnTo>
                    <a:pt x="11" y="1152"/>
                  </a:lnTo>
                  <a:lnTo>
                    <a:pt x="18" y="1200"/>
                  </a:lnTo>
                  <a:lnTo>
                    <a:pt x="29" y="1248"/>
                  </a:lnTo>
                  <a:lnTo>
                    <a:pt x="42" y="1295"/>
                  </a:lnTo>
                  <a:lnTo>
                    <a:pt x="57" y="1341"/>
                  </a:lnTo>
                  <a:lnTo>
                    <a:pt x="74" y="1387"/>
                  </a:lnTo>
                  <a:lnTo>
                    <a:pt x="93" y="1432"/>
                  </a:lnTo>
                  <a:lnTo>
                    <a:pt x="115" y="1477"/>
                  </a:lnTo>
                  <a:lnTo>
                    <a:pt x="139" y="1521"/>
                  </a:lnTo>
                  <a:lnTo>
                    <a:pt x="166" y="1562"/>
                  </a:lnTo>
                  <a:lnTo>
                    <a:pt x="194" y="1604"/>
                  </a:lnTo>
                  <a:lnTo>
                    <a:pt x="225" y="1644"/>
                  </a:lnTo>
                  <a:lnTo>
                    <a:pt x="260" y="1683"/>
                  </a:lnTo>
                  <a:lnTo>
                    <a:pt x="295" y="1720"/>
                  </a:lnTo>
                  <a:lnTo>
                    <a:pt x="332" y="1757"/>
                  </a:lnTo>
                  <a:lnTo>
                    <a:pt x="372" y="1790"/>
                  </a:lnTo>
                  <a:lnTo>
                    <a:pt x="411" y="1821"/>
                  </a:lnTo>
                  <a:lnTo>
                    <a:pt x="453" y="1849"/>
                  </a:lnTo>
                  <a:lnTo>
                    <a:pt x="496" y="1876"/>
                  </a:lnTo>
                  <a:lnTo>
                    <a:pt x="540" y="1901"/>
                  </a:lnTo>
                  <a:lnTo>
                    <a:pt x="583" y="1922"/>
                  </a:lnTo>
                  <a:lnTo>
                    <a:pt x="628" y="1941"/>
                  </a:lnTo>
                  <a:lnTo>
                    <a:pt x="674" y="1960"/>
                  </a:lnTo>
                  <a:lnTo>
                    <a:pt x="721" y="1974"/>
                  </a:lnTo>
                  <a:lnTo>
                    <a:pt x="768" y="1986"/>
                  </a:lnTo>
                  <a:lnTo>
                    <a:pt x="816" y="1997"/>
                  </a:lnTo>
                  <a:lnTo>
                    <a:pt x="863" y="2005"/>
                  </a:lnTo>
                  <a:lnTo>
                    <a:pt x="911" y="2011"/>
                  </a:lnTo>
                  <a:lnTo>
                    <a:pt x="960" y="2014"/>
                  </a:lnTo>
                  <a:lnTo>
                    <a:pt x="1009" y="2016"/>
                  </a:lnTo>
                  <a:lnTo>
                    <a:pt x="1057" y="2015"/>
                  </a:lnTo>
                  <a:lnTo>
                    <a:pt x="1106" y="2011"/>
                  </a:lnTo>
                  <a:lnTo>
                    <a:pt x="1154" y="2005"/>
                  </a:lnTo>
                  <a:lnTo>
                    <a:pt x="1202" y="1997"/>
                  </a:lnTo>
                  <a:lnTo>
                    <a:pt x="1249" y="1987"/>
                  </a:lnTo>
                  <a:lnTo>
                    <a:pt x="1296" y="1974"/>
                  </a:lnTo>
                  <a:lnTo>
                    <a:pt x="1343" y="1960"/>
                  </a:lnTo>
                  <a:lnTo>
                    <a:pt x="1389" y="1942"/>
                  </a:lnTo>
                  <a:lnTo>
                    <a:pt x="1434" y="1923"/>
                  </a:lnTo>
                  <a:lnTo>
                    <a:pt x="1478" y="1901"/>
                  </a:lnTo>
                  <a:lnTo>
                    <a:pt x="1521" y="1876"/>
                  </a:lnTo>
                  <a:lnTo>
                    <a:pt x="1564" y="1851"/>
                  </a:lnTo>
                  <a:lnTo>
                    <a:pt x="1606" y="1822"/>
                  </a:lnTo>
                  <a:lnTo>
                    <a:pt x="1645" y="1791"/>
                  </a:lnTo>
                  <a:lnTo>
                    <a:pt x="1685" y="1757"/>
                  </a:lnTo>
                  <a:lnTo>
                    <a:pt x="1722" y="1721"/>
                  </a:lnTo>
                  <a:lnTo>
                    <a:pt x="1757" y="1684"/>
                  </a:lnTo>
                  <a:lnTo>
                    <a:pt x="1792" y="1644"/>
                  </a:lnTo>
                  <a:lnTo>
                    <a:pt x="1823" y="1605"/>
                  </a:lnTo>
                  <a:lnTo>
                    <a:pt x="1851" y="1563"/>
                  </a:lnTo>
                  <a:lnTo>
                    <a:pt x="1877" y="1521"/>
                  </a:lnTo>
                  <a:lnTo>
                    <a:pt x="1902" y="1477"/>
                  </a:lnTo>
                  <a:lnTo>
                    <a:pt x="1924" y="1433"/>
                  </a:lnTo>
                  <a:lnTo>
                    <a:pt x="1943" y="1388"/>
                  </a:lnTo>
                  <a:lnTo>
                    <a:pt x="1960" y="1342"/>
                  </a:lnTo>
                  <a:lnTo>
                    <a:pt x="1975" y="1295"/>
                  </a:lnTo>
                  <a:lnTo>
                    <a:pt x="1988" y="1248"/>
                  </a:lnTo>
                  <a:lnTo>
                    <a:pt x="1999" y="1200"/>
                  </a:lnTo>
                  <a:lnTo>
                    <a:pt x="2006" y="1153"/>
                  </a:lnTo>
                  <a:lnTo>
                    <a:pt x="2013" y="1104"/>
                  </a:lnTo>
                  <a:lnTo>
                    <a:pt x="2016" y="1056"/>
                  </a:lnTo>
                  <a:lnTo>
                    <a:pt x="2017" y="1008"/>
                  </a:lnTo>
                  <a:lnTo>
                    <a:pt x="2016" y="960"/>
                  </a:lnTo>
                  <a:lnTo>
                    <a:pt x="2013" y="911"/>
                  </a:lnTo>
                  <a:lnTo>
                    <a:pt x="2006" y="863"/>
                  </a:lnTo>
                  <a:lnTo>
                    <a:pt x="1999" y="815"/>
                  </a:lnTo>
                  <a:lnTo>
                    <a:pt x="1988" y="768"/>
                  </a:lnTo>
                  <a:lnTo>
                    <a:pt x="1975" y="721"/>
                  </a:lnTo>
                  <a:lnTo>
                    <a:pt x="1960" y="674"/>
                  </a:lnTo>
                  <a:lnTo>
                    <a:pt x="1943" y="628"/>
                  </a:lnTo>
                  <a:lnTo>
                    <a:pt x="1924" y="583"/>
                  </a:lnTo>
                  <a:lnTo>
                    <a:pt x="1902" y="539"/>
                  </a:lnTo>
                  <a:lnTo>
                    <a:pt x="1877" y="495"/>
                  </a:lnTo>
                  <a:lnTo>
                    <a:pt x="1851" y="452"/>
                  </a:lnTo>
                  <a:lnTo>
                    <a:pt x="1823" y="411"/>
                  </a:lnTo>
                  <a:lnTo>
                    <a:pt x="1792" y="371"/>
                  </a:lnTo>
                  <a:lnTo>
                    <a:pt x="1757" y="332"/>
                  </a:lnTo>
                  <a:lnTo>
                    <a:pt x="1722" y="2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 35"/>
            <p:cNvSpPr>
              <a:spLocks noEditPoints="1"/>
            </p:cNvSpPr>
            <p:nvPr/>
          </p:nvSpPr>
          <p:spPr bwMode="auto">
            <a:xfrm>
              <a:off x="877889" y="5312407"/>
              <a:ext cx="306388" cy="306388"/>
            </a:xfrm>
            <a:custGeom>
              <a:avLst/>
              <a:gdLst>
                <a:gd name="T0" fmla="*/ 862 w 1347"/>
                <a:gd name="T1" fmla="*/ 959 h 1346"/>
                <a:gd name="T2" fmla="*/ 787 w 1347"/>
                <a:gd name="T3" fmla="*/ 996 h 1346"/>
                <a:gd name="T4" fmla="*/ 707 w 1347"/>
                <a:gd name="T5" fmla="*/ 1014 h 1346"/>
                <a:gd name="T6" fmla="*/ 624 w 1347"/>
                <a:gd name="T7" fmla="*/ 1013 h 1346"/>
                <a:gd name="T8" fmla="*/ 544 w 1347"/>
                <a:gd name="T9" fmla="*/ 990 h 1346"/>
                <a:gd name="T10" fmla="*/ 469 w 1347"/>
                <a:gd name="T11" fmla="*/ 950 h 1346"/>
                <a:gd name="T12" fmla="*/ 406 w 1347"/>
                <a:gd name="T13" fmla="*/ 890 h 1346"/>
                <a:gd name="T14" fmla="*/ 362 w 1347"/>
                <a:gd name="T15" fmla="*/ 817 h 1346"/>
                <a:gd name="T16" fmla="*/ 336 w 1347"/>
                <a:gd name="T17" fmla="*/ 738 h 1346"/>
                <a:gd name="T18" fmla="*/ 331 w 1347"/>
                <a:gd name="T19" fmla="*/ 656 h 1346"/>
                <a:gd name="T20" fmla="*/ 344 w 1347"/>
                <a:gd name="T21" fmla="*/ 575 h 1346"/>
                <a:gd name="T22" fmla="*/ 378 w 1347"/>
                <a:gd name="T23" fmla="*/ 498 h 1346"/>
                <a:gd name="T24" fmla="*/ 430 w 1347"/>
                <a:gd name="T25" fmla="*/ 430 h 1346"/>
                <a:gd name="T26" fmla="*/ 498 w 1347"/>
                <a:gd name="T27" fmla="*/ 377 h 1346"/>
                <a:gd name="T28" fmla="*/ 575 w 1347"/>
                <a:gd name="T29" fmla="*/ 344 h 1346"/>
                <a:gd name="T30" fmla="*/ 656 w 1347"/>
                <a:gd name="T31" fmla="*/ 330 h 1346"/>
                <a:gd name="T32" fmla="*/ 739 w 1347"/>
                <a:gd name="T33" fmla="*/ 335 h 1346"/>
                <a:gd name="T34" fmla="*/ 818 w 1347"/>
                <a:gd name="T35" fmla="*/ 361 h 1346"/>
                <a:gd name="T36" fmla="*/ 889 w 1347"/>
                <a:gd name="T37" fmla="*/ 407 h 1346"/>
                <a:gd name="T38" fmla="*/ 950 w 1347"/>
                <a:gd name="T39" fmla="*/ 470 h 1346"/>
                <a:gd name="T40" fmla="*/ 991 w 1347"/>
                <a:gd name="T41" fmla="*/ 544 h 1346"/>
                <a:gd name="T42" fmla="*/ 1013 w 1347"/>
                <a:gd name="T43" fmla="*/ 624 h 1346"/>
                <a:gd name="T44" fmla="*/ 1015 w 1347"/>
                <a:gd name="T45" fmla="*/ 706 h 1346"/>
                <a:gd name="T46" fmla="*/ 997 w 1347"/>
                <a:gd name="T47" fmla="*/ 786 h 1346"/>
                <a:gd name="T48" fmla="*/ 960 w 1347"/>
                <a:gd name="T49" fmla="*/ 862 h 1346"/>
                <a:gd name="T50" fmla="*/ 1149 w 1347"/>
                <a:gd name="T51" fmla="*/ 197 h 1346"/>
                <a:gd name="T52" fmla="*/ 1015 w 1347"/>
                <a:gd name="T53" fmla="*/ 93 h 1346"/>
                <a:gd name="T54" fmla="*/ 865 w 1347"/>
                <a:gd name="T55" fmla="*/ 28 h 1346"/>
                <a:gd name="T56" fmla="*/ 706 w 1347"/>
                <a:gd name="T57" fmla="*/ 1 h 1346"/>
                <a:gd name="T58" fmla="*/ 544 w 1347"/>
                <a:gd name="T59" fmla="*/ 12 h 1346"/>
                <a:gd name="T60" fmla="*/ 389 w 1347"/>
                <a:gd name="T61" fmla="*/ 62 h 1346"/>
                <a:gd name="T62" fmla="*/ 248 w 1347"/>
                <a:gd name="T63" fmla="*/ 151 h 1346"/>
                <a:gd name="T64" fmla="*/ 131 w 1347"/>
                <a:gd name="T65" fmla="*/ 274 h 1346"/>
                <a:gd name="T66" fmla="*/ 50 w 1347"/>
                <a:gd name="T67" fmla="*/ 419 h 1346"/>
                <a:gd name="T68" fmla="*/ 8 w 1347"/>
                <a:gd name="T69" fmla="*/ 576 h 1346"/>
                <a:gd name="T70" fmla="*/ 4 w 1347"/>
                <a:gd name="T71" fmla="*/ 737 h 1346"/>
                <a:gd name="T72" fmla="*/ 38 w 1347"/>
                <a:gd name="T73" fmla="*/ 895 h 1346"/>
                <a:gd name="T74" fmla="*/ 112 w 1347"/>
                <a:gd name="T75" fmla="*/ 1043 h 1346"/>
                <a:gd name="T76" fmla="*/ 223 w 1347"/>
                <a:gd name="T77" fmla="*/ 1173 h 1346"/>
                <a:gd name="T78" fmla="*/ 361 w 1347"/>
                <a:gd name="T79" fmla="*/ 1269 h 1346"/>
                <a:gd name="T80" fmla="*/ 513 w 1347"/>
                <a:gd name="T81" fmla="*/ 1327 h 1346"/>
                <a:gd name="T82" fmla="*/ 674 w 1347"/>
                <a:gd name="T83" fmla="*/ 1346 h 1346"/>
                <a:gd name="T84" fmla="*/ 834 w 1347"/>
                <a:gd name="T85" fmla="*/ 1327 h 1346"/>
                <a:gd name="T86" fmla="*/ 987 w 1347"/>
                <a:gd name="T87" fmla="*/ 1269 h 1346"/>
                <a:gd name="T88" fmla="*/ 1124 w 1347"/>
                <a:gd name="T89" fmla="*/ 1173 h 1346"/>
                <a:gd name="T90" fmla="*/ 1236 w 1347"/>
                <a:gd name="T91" fmla="*/ 1043 h 1346"/>
                <a:gd name="T92" fmla="*/ 1309 w 1347"/>
                <a:gd name="T93" fmla="*/ 896 h 1346"/>
                <a:gd name="T94" fmla="*/ 1343 w 1347"/>
                <a:gd name="T95" fmla="*/ 737 h 1346"/>
                <a:gd name="T96" fmla="*/ 1339 w 1347"/>
                <a:gd name="T97" fmla="*/ 576 h 1346"/>
                <a:gd name="T98" fmla="*/ 1297 w 1347"/>
                <a:gd name="T99" fmla="*/ 420 h 1346"/>
                <a:gd name="T100" fmla="*/ 1216 w 1347"/>
                <a:gd name="T101" fmla="*/ 274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47" h="1346">
                  <a:moveTo>
                    <a:pt x="916" y="915"/>
                  </a:moveTo>
                  <a:lnTo>
                    <a:pt x="903" y="927"/>
                  </a:lnTo>
                  <a:lnTo>
                    <a:pt x="889" y="939"/>
                  </a:lnTo>
                  <a:lnTo>
                    <a:pt x="877" y="950"/>
                  </a:lnTo>
                  <a:lnTo>
                    <a:pt x="862" y="959"/>
                  </a:lnTo>
                  <a:lnTo>
                    <a:pt x="848" y="969"/>
                  </a:lnTo>
                  <a:lnTo>
                    <a:pt x="833" y="976"/>
                  </a:lnTo>
                  <a:lnTo>
                    <a:pt x="818" y="984"/>
                  </a:lnTo>
                  <a:lnTo>
                    <a:pt x="803" y="990"/>
                  </a:lnTo>
                  <a:lnTo>
                    <a:pt x="787" y="996"/>
                  </a:lnTo>
                  <a:lnTo>
                    <a:pt x="771" y="1002"/>
                  </a:lnTo>
                  <a:lnTo>
                    <a:pt x="755" y="1006"/>
                  </a:lnTo>
                  <a:lnTo>
                    <a:pt x="739" y="1009"/>
                  </a:lnTo>
                  <a:lnTo>
                    <a:pt x="723" y="1013"/>
                  </a:lnTo>
                  <a:lnTo>
                    <a:pt x="707" y="1014"/>
                  </a:lnTo>
                  <a:lnTo>
                    <a:pt x="690" y="1016"/>
                  </a:lnTo>
                  <a:lnTo>
                    <a:pt x="674" y="1016"/>
                  </a:lnTo>
                  <a:lnTo>
                    <a:pt x="656" y="1015"/>
                  </a:lnTo>
                  <a:lnTo>
                    <a:pt x="640" y="1014"/>
                  </a:lnTo>
                  <a:lnTo>
                    <a:pt x="624" y="1013"/>
                  </a:lnTo>
                  <a:lnTo>
                    <a:pt x="607" y="1009"/>
                  </a:lnTo>
                  <a:lnTo>
                    <a:pt x="591" y="1006"/>
                  </a:lnTo>
                  <a:lnTo>
                    <a:pt x="575" y="1002"/>
                  </a:lnTo>
                  <a:lnTo>
                    <a:pt x="559" y="996"/>
                  </a:lnTo>
                  <a:lnTo>
                    <a:pt x="544" y="990"/>
                  </a:lnTo>
                  <a:lnTo>
                    <a:pt x="528" y="984"/>
                  </a:lnTo>
                  <a:lnTo>
                    <a:pt x="513" y="976"/>
                  </a:lnTo>
                  <a:lnTo>
                    <a:pt x="498" y="968"/>
                  </a:lnTo>
                  <a:lnTo>
                    <a:pt x="484" y="959"/>
                  </a:lnTo>
                  <a:lnTo>
                    <a:pt x="469" y="950"/>
                  </a:lnTo>
                  <a:lnTo>
                    <a:pt x="457" y="939"/>
                  </a:lnTo>
                  <a:lnTo>
                    <a:pt x="443" y="927"/>
                  </a:lnTo>
                  <a:lnTo>
                    <a:pt x="430" y="915"/>
                  </a:lnTo>
                  <a:lnTo>
                    <a:pt x="418" y="903"/>
                  </a:lnTo>
                  <a:lnTo>
                    <a:pt x="406" y="890"/>
                  </a:lnTo>
                  <a:lnTo>
                    <a:pt x="396" y="876"/>
                  </a:lnTo>
                  <a:lnTo>
                    <a:pt x="386" y="862"/>
                  </a:lnTo>
                  <a:lnTo>
                    <a:pt x="378" y="847"/>
                  </a:lnTo>
                  <a:lnTo>
                    <a:pt x="369" y="832"/>
                  </a:lnTo>
                  <a:lnTo>
                    <a:pt x="362" y="817"/>
                  </a:lnTo>
                  <a:lnTo>
                    <a:pt x="355" y="802"/>
                  </a:lnTo>
                  <a:lnTo>
                    <a:pt x="349" y="786"/>
                  </a:lnTo>
                  <a:lnTo>
                    <a:pt x="344" y="770"/>
                  </a:lnTo>
                  <a:lnTo>
                    <a:pt x="340" y="754"/>
                  </a:lnTo>
                  <a:lnTo>
                    <a:pt x="336" y="738"/>
                  </a:lnTo>
                  <a:lnTo>
                    <a:pt x="334" y="722"/>
                  </a:lnTo>
                  <a:lnTo>
                    <a:pt x="332" y="706"/>
                  </a:lnTo>
                  <a:lnTo>
                    <a:pt x="331" y="689"/>
                  </a:lnTo>
                  <a:lnTo>
                    <a:pt x="331" y="673"/>
                  </a:lnTo>
                  <a:lnTo>
                    <a:pt x="331" y="656"/>
                  </a:lnTo>
                  <a:lnTo>
                    <a:pt x="332" y="640"/>
                  </a:lnTo>
                  <a:lnTo>
                    <a:pt x="334" y="624"/>
                  </a:lnTo>
                  <a:lnTo>
                    <a:pt x="336" y="607"/>
                  </a:lnTo>
                  <a:lnTo>
                    <a:pt x="340" y="591"/>
                  </a:lnTo>
                  <a:lnTo>
                    <a:pt x="344" y="575"/>
                  </a:lnTo>
                  <a:lnTo>
                    <a:pt x="349" y="559"/>
                  </a:lnTo>
                  <a:lnTo>
                    <a:pt x="355" y="544"/>
                  </a:lnTo>
                  <a:lnTo>
                    <a:pt x="362" y="528"/>
                  </a:lnTo>
                  <a:lnTo>
                    <a:pt x="369" y="513"/>
                  </a:lnTo>
                  <a:lnTo>
                    <a:pt x="378" y="498"/>
                  </a:lnTo>
                  <a:lnTo>
                    <a:pt x="386" y="484"/>
                  </a:lnTo>
                  <a:lnTo>
                    <a:pt x="396" y="470"/>
                  </a:lnTo>
                  <a:lnTo>
                    <a:pt x="406" y="456"/>
                  </a:lnTo>
                  <a:lnTo>
                    <a:pt x="418" y="443"/>
                  </a:lnTo>
                  <a:lnTo>
                    <a:pt x="430" y="430"/>
                  </a:lnTo>
                  <a:lnTo>
                    <a:pt x="443" y="418"/>
                  </a:lnTo>
                  <a:lnTo>
                    <a:pt x="456" y="407"/>
                  </a:lnTo>
                  <a:lnTo>
                    <a:pt x="469" y="396"/>
                  </a:lnTo>
                  <a:lnTo>
                    <a:pt x="483" y="386"/>
                  </a:lnTo>
                  <a:lnTo>
                    <a:pt x="498" y="377"/>
                  </a:lnTo>
                  <a:lnTo>
                    <a:pt x="513" y="368"/>
                  </a:lnTo>
                  <a:lnTo>
                    <a:pt x="528" y="361"/>
                  </a:lnTo>
                  <a:lnTo>
                    <a:pt x="543" y="355"/>
                  </a:lnTo>
                  <a:lnTo>
                    <a:pt x="559" y="349"/>
                  </a:lnTo>
                  <a:lnTo>
                    <a:pt x="575" y="344"/>
                  </a:lnTo>
                  <a:lnTo>
                    <a:pt x="591" y="340"/>
                  </a:lnTo>
                  <a:lnTo>
                    <a:pt x="607" y="335"/>
                  </a:lnTo>
                  <a:lnTo>
                    <a:pt x="623" y="333"/>
                  </a:lnTo>
                  <a:lnTo>
                    <a:pt x="640" y="331"/>
                  </a:lnTo>
                  <a:lnTo>
                    <a:pt x="656" y="330"/>
                  </a:lnTo>
                  <a:lnTo>
                    <a:pt x="672" y="330"/>
                  </a:lnTo>
                  <a:lnTo>
                    <a:pt x="690" y="330"/>
                  </a:lnTo>
                  <a:lnTo>
                    <a:pt x="706" y="331"/>
                  </a:lnTo>
                  <a:lnTo>
                    <a:pt x="723" y="333"/>
                  </a:lnTo>
                  <a:lnTo>
                    <a:pt x="739" y="335"/>
                  </a:lnTo>
                  <a:lnTo>
                    <a:pt x="755" y="340"/>
                  </a:lnTo>
                  <a:lnTo>
                    <a:pt x="771" y="344"/>
                  </a:lnTo>
                  <a:lnTo>
                    <a:pt x="787" y="349"/>
                  </a:lnTo>
                  <a:lnTo>
                    <a:pt x="803" y="355"/>
                  </a:lnTo>
                  <a:lnTo>
                    <a:pt x="818" y="361"/>
                  </a:lnTo>
                  <a:lnTo>
                    <a:pt x="833" y="368"/>
                  </a:lnTo>
                  <a:lnTo>
                    <a:pt x="848" y="377"/>
                  </a:lnTo>
                  <a:lnTo>
                    <a:pt x="862" y="386"/>
                  </a:lnTo>
                  <a:lnTo>
                    <a:pt x="877" y="396"/>
                  </a:lnTo>
                  <a:lnTo>
                    <a:pt x="889" y="407"/>
                  </a:lnTo>
                  <a:lnTo>
                    <a:pt x="903" y="418"/>
                  </a:lnTo>
                  <a:lnTo>
                    <a:pt x="916" y="430"/>
                  </a:lnTo>
                  <a:lnTo>
                    <a:pt x="928" y="443"/>
                  </a:lnTo>
                  <a:lnTo>
                    <a:pt x="940" y="456"/>
                  </a:lnTo>
                  <a:lnTo>
                    <a:pt x="950" y="470"/>
                  </a:lnTo>
                  <a:lnTo>
                    <a:pt x="960" y="484"/>
                  </a:lnTo>
                  <a:lnTo>
                    <a:pt x="968" y="498"/>
                  </a:lnTo>
                  <a:lnTo>
                    <a:pt x="977" y="513"/>
                  </a:lnTo>
                  <a:lnTo>
                    <a:pt x="984" y="528"/>
                  </a:lnTo>
                  <a:lnTo>
                    <a:pt x="991" y="544"/>
                  </a:lnTo>
                  <a:lnTo>
                    <a:pt x="997" y="559"/>
                  </a:lnTo>
                  <a:lnTo>
                    <a:pt x="1003" y="575"/>
                  </a:lnTo>
                  <a:lnTo>
                    <a:pt x="1007" y="591"/>
                  </a:lnTo>
                  <a:lnTo>
                    <a:pt x="1010" y="607"/>
                  </a:lnTo>
                  <a:lnTo>
                    <a:pt x="1013" y="624"/>
                  </a:lnTo>
                  <a:lnTo>
                    <a:pt x="1015" y="640"/>
                  </a:lnTo>
                  <a:lnTo>
                    <a:pt x="1016" y="656"/>
                  </a:lnTo>
                  <a:lnTo>
                    <a:pt x="1016" y="673"/>
                  </a:lnTo>
                  <a:lnTo>
                    <a:pt x="1016" y="689"/>
                  </a:lnTo>
                  <a:lnTo>
                    <a:pt x="1015" y="706"/>
                  </a:lnTo>
                  <a:lnTo>
                    <a:pt x="1013" y="722"/>
                  </a:lnTo>
                  <a:lnTo>
                    <a:pt x="1010" y="738"/>
                  </a:lnTo>
                  <a:lnTo>
                    <a:pt x="1007" y="754"/>
                  </a:lnTo>
                  <a:lnTo>
                    <a:pt x="1003" y="770"/>
                  </a:lnTo>
                  <a:lnTo>
                    <a:pt x="997" y="786"/>
                  </a:lnTo>
                  <a:lnTo>
                    <a:pt x="992" y="802"/>
                  </a:lnTo>
                  <a:lnTo>
                    <a:pt x="984" y="817"/>
                  </a:lnTo>
                  <a:lnTo>
                    <a:pt x="977" y="832"/>
                  </a:lnTo>
                  <a:lnTo>
                    <a:pt x="969" y="847"/>
                  </a:lnTo>
                  <a:lnTo>
                    <a:pt x="960" y="862"/>
                  </a:lnTo>
                  <a:lnTo>
                    <a:pt x="950" y="876"/>
                  </a:lnTo>
                  <a:lnTo>
                    <a:pt x="940" y="890"/>
                  </a:lnTo>
                  <a:lnTo>
                    <a:pt x="928" y="903"/>
                  </a:lnTo>
                  <a:lnTo>
                    <a:pt x="916" y="915"/>
                  </a:lnTo>
                  <a:close/>
                  <a:moveTo>
                    <a:pt x="1149" y="197"/>
                  </a:moveTo>
                  <a:lnTo>
                    <a:pt x="1124" y="173"/>
                  </a:lnTo>
                  <a:lnTo>
                    <a:pt x="1098" y="151"/>
                  </a:lnTo>
                  <a:lnTo>
                    <a:pt x="1071" y="130"/>
                  </a:lnTo>
                  <a:lnTo>
                    <a:pt x="1043" y="111"/>
                  </a:lnTo>
                  <a:lnTo>
                    <a:pt x="1015" y="93"/>
                  </a:lnTo>
                  <a:lnTo>
                    <a:pt x="987" y="77"/>
                  </a:lnTo>
                  <a:lnTo>
                    <a:pt x="957" y="62"/>
                  </a:lnTo>
                  <a:lnTo>
                    <a:pt x="927" y="49"/>
                  </a:lnTo>
                  <a:lnTo>
                    <a:pt x="896" y="37"/>
                  </a:lnTo>
                  <a:lnTo>
                    <a:pt x="865" y="28"/>
                  </a:lnTo>
                  <a:lnTo>
                    <a:pt x="834" y="19"/>
                  </a:lnTo>
                  <a:lnTo>
                    <a:pt x="802" y="13"/>
                  </a:lnTo>
                  <a:lnTo>
                    <a:pt x="770" y="7"/>
                  </a:lnTo>
                  <a:lnTo>
                    <a:pt x="738" y="3"/>
                  </a:lnTo>
                  <a:lnTo>
                    <a:pt x="706" y="1"/>
                  </a:lnTo>
                  <a:lnTo>
                    <a:pt x="674" y="0"/>
                  </a:lnTo>
                  <a:lnTo>
                    <a:pt x="640" y="1"/>
                  </a:lnTo>
                  <a:lnTo>
                    <a:pt x="608" y="3"/>
                  </a:lnTo>
                  <a:lnTo>
                    <a:pt x="576" y="6"/>
                  </a:lnTo>
                  <a:lnTo>
                    <a:pt x="544" y="12"/>
                  </a:lnTo>
                  <a:lnTo>
                    <a:pt x="512" y="19"/>
                  </a:lnTo>
                  <a:lnTo>
                    <a:pt x="481" y="28"/>
                  </a:lnTo>
                  <a:lnTo>
                    <a:pt x="450" y="37"/>
                  </a:lnTo>
                  <a:lnTo>
                    <a:pt x="419" y="49"/>
                  </a:lnTo>
                  <a:lnTo>
                    <a:pt x="389" y="62"/>
                  </a:lnTo>
                  <a:lnTo>
                    <a:pt x="359" y="77"/>
                  </a:lnTo>
                  <a:lnTo>
                    <a:pt x="331" y="93"/>
                  </a:lnTo>
                  <a:lnTo>
                    <a:pt x="303" y="110"/>
                  </a:lnTo>
                  <a:lnTo>
                    <a:pt x="275" y="129"/>
                  </a:lnTo>
                  <a:lnTo>
                    <a:pt x="248" y="151"/>
                  </a:lnTo>
                  <a:lnTo>
                    <a:pt x="223" y="173"/>
                  </a:lnTo>
                  <a:lnTo>
                    <a:pt x="197" y="197"/>
                  </a:lnTo>
                  <a:lnTo>
                    <a:pt x="174" y="221"/>
                  </a:lnTo>
                  <a:lnTo>
                    <a:pt x="151" y="248"/>
                  </a:lnTo>
                  <a:lnTo>
                    <a:pt x="131" y="274"/>
                  </a:lnTo>
                  <a:lnTo>
                    <a:pt x="112" y="302"/>
                  </a:lnTo>
                  <a:lnTo>
                    <a:pt x="93" y="330"/>
                  </a:lnTo>
                  <a:lnTo>
                    <a:pt x="77" y="359"/>
                  </a:lnTo>
                  <a:lnTo>
                    <a:pt x="62" y="389"/>
                  </a:lnTo>
                  <a:lnTo>
                    <a:pt x="50" y="419"/>
                  </a:lnTo>
                  <a:lnTo>
                    <a:pt x="38" y="450"/>
                  </a:lnTo>
                  <a:lnTo>
                    <a:pt x="28" y="481"/>
                  </a:lnTo>
                  <a:lnTo>
                    <a:pt x="20" y="513"/>
                  </a:lnTo>
                  <a:lnTo>
                    <a:pt x="13" y="544"/>
                  </a:lnTo>
                  <a:lnTo>
                    <a:pt x="8" y="576"/>
                  </a:lnTo>
                  <a:lnTo>
                    <a:pt x="4" y="608"/>
                  </a:lnTo>
                  <a:lnTo>
                    <a:pt x="2" y="640"/>
                  </a:lnTo>
                  <a:lnTo>
                    <a:pt x="0" y="673"/>
                  </a:lnTo>
                  <a:lnTo>
                    <a:pt x="2" y="705"/>
                  </a:lnTo>
                  <a:lnTo>
                    <a:pt x="4" y="737"/>
                  </a:lnTo>
                  <a:lnTo>
                    <a:pt x="8" y="769"/>
                  </a:lnTo>
                  <a:lnTo>
                    <a:pt x="13" y="801"/>
                  </a:lnTo>
                  <a:lnTo>
                    <a:pt x="20" y="833"/>
                  </a:lnTo>
                  <a:lnTo>
                    <a:pt x="28" y="864"/>
                  </a:lnTo>
                  <a:lnTo>
                    <a:pt x="38" y="895"/>
                  </a:lnTo>
                  <a:lnTo>
                    <a:pt x="50" y="926"/>
                  </a:lnTo>
                  <a:lnTo>
                    <a:pt x="62" y="956"/>
                  </a:lnTo>
                  <a:lnTo>
                    <a:pt x="77" y="986"/>
                  </a:lnTo>
                  <a:lnTo>
                    <a:pt x="93" y="1015"/>
                  </a:lnTo>
                  <a:lnTo>
                    <a:pt x="112" y="1043"/>
                  </a:lnTo>
                  <a:lnTo>
                    <a:pt x="131" y="1071"/>
                  </a:lnTo>
                  <a:lnTo>
                    <a:pt x="151" y="1098"/>
                  </a:lnTo>
                  <a:lnTo>
                    <a:pt x="174" y="1124"/>
                  </a:lnTo>
                  <a:lnTo>
                    <a:pt x="197" y="1149"/>
                  </a:lnTo>
                  <a:lnTo>
                    <a:pt x="223" y="1173"/>
                  </a:lnTo>
                  <a:lnTo>
                    <a:pt x="248" y="1195"/>
                  </a:lnTo>
                  <a:lnTo>
                    <a:pt x="275" y="1215"/>
                  </a:lnTo>
                  <a:lnTo>
                    <a:pt x="303" y="1235"/>
                  </a:lnTo>
                  <a:lnTo>
                    <a:pt x="332" y="1253"/>
                  </a:lnTo>
                  <a:lnTo>
                    <a:pt x="361" y="1269"/>
                  </a:lnTo>
                  <a:lnTo>
                    <a:pt x="389" y="1283"/>
                  </a:lnTo>
                  <a:lnTo>
                    <a:pt x="420" y="1297"/>
                  </a:lnTo>
                  <a:lnTo>
                    <a:pt x="450" y="1307"/>
                  </a:lnTo>
                  <a:lnTo>
                    <a:pt x="481" y="1318"/>
                  </a:lnTo>
                  <a:lnTo>
                    <a:pt x="513" y="1327"/>
                  </a:lnTo>
                  <a:lnTo>
                    <a:pt x="544" y="1333"/>
                  </a:lnTo>
                  <a:lnTo>
                    <a:pt x="576" y="1338"/>
                  </a:lnTo>
                  <a:lnTo>
                    <a:pt x="608" y="1343"/>
                  </a:lnTo>
                  <a:lnTo>
                    <a:pt x="641" y="1345"/>
                  </a:lnTo>
                  <a:lnTo>
                    <a:pt x="674" y="1346"/>
                  </a:lnTo>
                  <a:lnTo>
                    <a:pt x="706" y="1345"/>
                  </a:lnTo>
                  <a:lnTo>
                    <a:pt x="738" y="1343"/>
                  </a:lnTo>
                  <a:lnTo>
                    <a:pt x="770" y="1338"/>
                  </a:lnTo>
                  <a:lnTo>
                    <a:pt x="802" y="1333"/>
                  </a:lnTo>
                  <a:lnTo>
                    <a:pt x="834" y="1327"/>
                  </a:lnTo>
                  <a:lnTo>
                    <a:pt x="865" y="1318"/>
                  </a:lnTo>
                  <a:lnTo>
                    <a:pt x="896" y="1308"/>
                  </a:lnTo>
                  <a:lnTo>
                    <a:pt x="927" y="1297"/>
                  </a:lnTo>
                  <a:lnTo>
                    <a:pt x="957" y="1284"/>
                  </a:lnTo>
                  <a:lnTo>
                    <a:pt x="987" y="1269"/>
                  </a:lnTo>
                  <a:lnTo>
                    <a:pt x="1015" y="1253"/>
                  </a:lnTo>
                  <a:lnTo>
                    <a:pt x="1043" y="1235"/>
                  </a:lnTo>
                  <a:lnTo>
                    <a:pt x="1071" y="1215"/>
                  </a:lnTo>
                  <a:lnTo>
                    <a:pt x="1098" y="1195"/>
                  </a:lnTo>
                  <a:lnTo>
                    <a:pt x="1124" y="1173"/>
                  </a:lnTo>
                  <a:lnTo>
                    <a:pt x="1149" y="1149"/>
                  </a:lnTo>
                  <a:lnTo>
                    <a:pt x="1174" y="1124"/>
                  </a:lnTo>
                  <a:lnTo>
                    <a:pt x="1195" y="1098"/>
                  </a:lnTo>
                  <a:lnTo>
                    <a:pt x="1216" y="1071"/>
                  </a:lnTo>
                  <a:lnTo>
                    <a:pt x="1236" y="1043"/>
                  </a:lnTo>
                  <a:lnTo>
                    <a:pt x="1254" y="1015"/>
                  </a:lnTo>
                  <a:lnTo>
                    <a:pt x="1270" y="986"/>
                  </a:lnTo>
                  <a:lnTo>
                    <a:pt x="1284" y="956"/>
                  </a:lnTo>
                  <a:lnTo>
                    <a:pt x="1297" y="926"/>
                  </a:lnTo>
                  <a:lnTo>
                    <a:pt x="1309" y="896"/>
                  </a:lnTo>
                  <a:lnTo>
                    <a:pt x="1319" y="864"/>
                  </a:lnTo>
                  <a:lnTo>
                    <a:pt x="1327" y="833"/>
                  </a:lnTo>
                  <a:lnTo>
                    <a:pt x="1334" y="801"/>
                  </a:lnTo>
                  <a:lnTo>
                    <a:pt x="1339" y="769"/>
                  </a:lnTo>
                  <a:lnTo>
                    <a:pt x="1343" y="737"/>
                  </a:lnTo>
                  <a:lnTo>
                    <a:pt x="1346" y="705"/>
                  </a:lnTo>
                  <a:lnTo>
                    <a:pt x="1347" y="673"/>
                  </a:lnTo>
                  <a:lnTo>
                    <a:pt x="1346" y="641"/>
                  </a:lnTo>
                  <a:lnTo>
                    <a:pt x="1343" y="608"/>
                  </a:lnTo>
                  <a:lnTo>
                    <a:pt x="1339" y="576"/>
                  </a:lnTo>
                  <a:lnTo>
                    <a:pt x="1334" y="544"/>
                  </a:lnTo>
                  <a:lnTo>
                    <a:pt x="1327" y="513"/>
                  </a:lnTo>
                  <a:lnTo>
                    <a:pt x="1319" y="481"/>
                  </a:lnTo>
                  <a:lnTo>
                    <a:pt x="1309" y="450"/>
                  </a:lnTo>
                  <a:lnTo>
                    <a:pt x="1297" y="420"/>
                  </a:lnTo>
                  <a:lnTo>
                    <a:pt x="1284" y="389"/>
                  </a:lnTo>
                  <a:lnTo>
                    <a:pt x="1270" y="360"/>
                  </a:lnTo>
                  <a:lnTo>
                    <a:pt x="1254" y="331"/>
                  </a:lnTo>
                  <a:lnTo>
                    <a:pt x="1236" y="302"/>
                  </a:lnTo>
                  <a:lnTo>
                    <a:pt x="1216" y="274"/>
                  </a:lnTo>
                  <a:lnTo>
                    <a:pt x="1195" y="248"/>
                  </a:lnTo>
                  <a:lnTo>
                    <a:pt x="1174" y="222"/>
                  </a:lnTo>
                  <a:lnTo>
                    <a:pt x="1149" y="197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 36"/>
            <p:cNvSpPr>
              <a:spLocks/>
            </p:cNvSpPr>
            <p:nvPr/>
          </p:nvSpPr>
          <p:spPr bwMode="auto">
            <a:xfrm>
              <a:off x="954089" y="5387020"/>
              <a:ext cx="155575" cy="155575"/>
            </a:xfrm>
            <a:custGeom>
              <a:avLst/>
              <a:gdLst>
                <a:gd name="T0" fmla="*/ 558 w 685"/>
                <a:gd name="T1" fmla="*/ 77 h 686"/>
                <a:gd name="T2" fmla="*/ 517 w 685"/>
                <a:gd name="T3" fmla="*/ 47 h 686"/>
                <a:gd name="T4" fmla="*/ 472 w 685"/>
                <a:gd name="T5" fmla="*/ 25 h 686"/>
                <a:gd name="T6" fmla="*/ 424 w 685"/>
                <a:gd name="T7" fmla="*/ 10 h 686"/>
                <a:gd name="T8" fmla="*/ 375 w 685"/>
                <a:gd name="T9" fmla="*/ 1 h 686"/>
                <a:gd name="T10" fmla="*/ 325 w 685"/>
                <a:gd name="T11" fmla="*/ 0 h 686"/>
                <a:gd name="T12" fmla="*/ 276 w 685"/>
                <a:gd name="T13" fmla="*/ 5 h 686"/>
                <a:gd name="T14" fmla="*/ 228 w 685"/>
                <a:gd name="T15" fmla="*/ 19 h 686"/>
                <a:gd name="T16" fmla="*/ 182 w 685"/>
                <a:gd name="T17" fmla="*/ 38 h 686"/>
                <a:gd name="T18" fmla="*/ 138 w 685"/>
                <a:gd name="T19" fmla="*/ 66 h 686"/>
                <a:gd name="T20" fmla="*/ 99 w 685"/>
                <a:gd name="T21" fmla="*/ 100 h 686"/>
                <a:gd name="T22" fmla="*/ 65 w 685"/>
                <a:gd name="T23" fmla="*/ 140 h 686"/>
                <a:gd name="T24" fmla="*/ 38 w 685"/>
                <a:gd name="T25" fmla="*/ 183 h 686"/>
                <a:gd name="T26" fmla="*/ 18 w 685"/>
                <a:gd name="T27" fmla="*/ 229 h 686"/>
                <a:gd name="T28" fmla="*/ 5 w 685"/>
                <a:gd name="T29" fmla="*/ 277 h 686"/>
                <a:gd name="T30" fmla="*/ 0 w 685"/>
                <a:gd name="T31" fmla="*/ 326 h 686"/>
                <a:gd name="T32" fmla="*/ 1 w 685"/>
                <a:gd name="T33" fmla="*/ 376 h 686"/>
                <a:gd name="T34" fmla="*/ 9 w 685"/>
                <a:gd name="T35" fmla="*/ 424 h 686"/>
                <a:gd name="T36" fmla="*/ 24 w 685"/>
                <a:gd name="T37" fmla="*/ 472 h 686"/>
                <a:gd name="T38" fmla="*/ 47 w 685"/>
                <a:gd name="T39" fmla="*/ 517 h 686"/>
                <a:gd name="T40" fmla="*/ 75 w 685"/>
                <a:gd name="T41" fmla="*/ 560 h 686"/>
                <a:gd name="T42" fmla="*/ 112 w 685"/>
                <a:gd name="T43" fmla="*/ 597 h 686"/>
                <a:gd name="T44" fmla="*/ 153 w 685"/>
                <a:gd name="T45" fmla="*/ 629 h 686"/>
                <a:gd name="T46" fmla="*/ 197 w 685"/>
                <a:gd name="T47" fmla="*/ 654 h 686"/>
                <a:gd name="T48" fmla="*/ 244 w 685"/>
                <a:gd name="T49" fmla="*/ 672 h 686"/>
                <a:gd name="T50" fmla="*/ 293 w 685"/>
                <a:gd name="T51" fmla="*/ 683 h 686"/>
                <a:gd name="T52" fmla="*/ 343 w 685"/>
                <a:gd name="T53" fmla="*/ 686 h 686"/>
                <a:gd name="T54" fmla="*/ 392 w 685"/>
                <a:gd name="T55" fmla="*/ 683 h 686"/>
                <a:gd name="T56" fmla="*/ 440 w 685"/>
                <a:gd name="T57" fmla="*/ 672 h 686"/>
                <a:gd name="T58" fmla="*/ 487 w 685"/>
                <a:gd name="T59" fmla="*/ 654 h 686"/>
                <a:gd name="T60" fmla="*/ 531 w 685"/>
                <a:gd name="T61" fmla="*/ 629 h 686"/>
                <a:gd name="T62" fmla="*/ 572 w 685"/>
                <a:gd name="T63" fmla="*/ 597 h 686"/>
                <a:gd name="T64" fmla="*/ 609 w 685"/>
                <a:gd name="T65" fmla="*/ 560 h 686"/>
                <a:gd name="T66" fmla="*/ 638 w 685"/>
                <a:gd name="T67" fmla="*/ 517 h 686"/>
                <a:gd name="T68" fmla="*/ 661 w 685"/>
                <a:gd name="T69" fmla="*/ 472 h 686"/>
                <a:gd name="T70" fmla="*/ 676 w 685"/>
                <a:gd name="T71" fmla="*/ 424 h 686"/>
                <a:gd name="T72" fmla="*/ 684 w 685"/>
                <a:gd name="T73" fmla="*/ 376 h 686"/>
                <a:gd name="T74" fmla="*/ 685 w 685"/>
                <a:gd name="T75" fmla="*/ 326 h 686"/>
                <a:gd name="T76" fmla="*/ 679 w 685"/>
                <a:gd name="T77" fmla="*/ 277 h 686"/>
                <a:gd name="T78" fmla="*/ 666 w 685"/>
                <a:gd name="T79" fmla="*/ 229 h 686"/>
                <a:gd name="T80" fmla="*/ 646 w 685"/>
                <a:gd name="T81" fmla="*/ 183 h 686"/>
                <a:gd name="T82" fmla="*/ 619 w 685"/>
                <a:gd name="T83" fmla="*/ 140 h 686"/>
                <a:gd name="T84" fmla="*/ 585 w 685"/>
                <a:gd name="T85" fmla="*/ 10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85" h="686">
                  <a:moveTo>
                    <a:pt x="585" y="100"/>
                  </a:moveTo>
                  <a:lnTo>
                    <a:pt x="572" y="88"/>
                  </a:lnTo>
                  <a:lnTo>
                    <a:pt x="558" y="77"/>
                  </a:lnTo>
                  <a:lnTo>
                    <a:pt x="546" y="66"/>
                  </a:lnTo>
                  <a:lnTo>
                    <a:pt x="531" y="56"/>
                  </a:lnTo>
                  <a:lnTo>
                    <a:pt x="517" y="47"/>
                  </a:lnTo>
                  <a:lnTo>
                    <a:pt x="502" y="38"/>
                  </a:lnTo>
                  <a:lnTo>
                    <a:pt x="487" y="31"/>
                  </a:lnTo>
                  <a:lnTo>
                    <a:pt x="472" y="25"/>
                  </a:lnTo>
                  <a:lnTo>
                    <a:pt x="456" y="19"/>
                  </a:lnTo>
                  <a:lnTo>
                    <a:pt x="440" y="14"/>
                  </a:lnTo>
                  <a:lnTo>
                    <a:pt x="424" y="10"/>
                  </a:lnTo>
                  <a:lnTo>
                    <a:pt x="408" y="5"/>
                  </a:lnTo>
                  <a:lnTo>
                    <a:pt x="392" y="3"/>
                  </a:lnTo>
                  <a:lnTo>
                    <a:pt x="375" y="1"/>
                  </a:lnTo>
                  <a:lnTo>
                    <a:pt x="359" y="0"/>
                  </a:lnTo>
                  <a:lnTo>
                    <a:pt x="341" y="0"/>
                  </a:lnTo>
                  <a:lnTo>
                    <a:pt x="325" y="0"/>
                  </a:lnTo>
                  <a:lnTo>
                    <a:pt x="309" y="1"/>
                  </a:lnTo>
                  <a:lnTo>
                    <a:pt x="292" y="3"/>
                  </a:lnTo>
                  <a:lnTo>
                    <a:pt x="276" y="5"/>
                  </a:lnTo>
                  <a:lnTo>
                    <a:pt x="260" y="10"/>
                  </a:lnTo>
                  <a:lnTo>
                    <a:pt x="244" y="14"/>
                  </a:lnTo>
                  <a:lnTo>
                    <a:pt x="228" y="19"/>
                  </a:lnTo>
                  <a:lnTo>
                    <a:pt x="212" y="25"/>
                  </a:lnTo>
                  <a:lnTo>
                    <a:pt x="197" y="31"/>
                  </a:lnTo>
                  <a:lnTo>
                    <a:pt x="182" y="38"/>
                  </a:lnTo>
                  <a:lnTo>
                    <a:pt x="167" y="47"/>
                  </a:lnTo>
                  <a:lnTo>
                    <a:pt x="152" y="56"/>
                  </a:lnTo>
                  <a:lnTo>
                    <a:pt x="138" y="66"/>
                  </a:lnTo>
                  <a:lnTo>
                    <a:pt x="125" y="77"/>
                  </a:lnTo>
                  <a:lnTo>
                    <a:pt x="112" y="88"/>
                  </a:lnTo>
                  <a:lnTo>
                    <a:pt x="99" y="100"/>
                  </a:lnTo>
                  <a:lnTo>
                    <a:pt x="87" y="113"/>
                  </a:lnTo>
                  <a:lnTo>
                    <a:pt x="75" y="126"/>
                  </a:lnTo>
                  <a:lnTo>
                    <a:pt x="65" y="140"/>
                  </a:lnTo>
                  <a:lnTo>
                    <a:pt x="55" y="154"/>
                  </a:lnTo>
                  <a:lnTo>
                    <a:pt x="47" y="168"/>
                  </a:lnTo>
                  <a:lnTo>
                    <a:pt x="38" y="183"/>
                  </a:lnTo>
                  <a:lnTo>
                    <a:pt x="31" y="198"/>
                  </a:lnTo>
                  <a:lnTo>
                    <a:pt x="24" y="214"/>
                  </a:lnTo>
                  <a:lnTo>
                    <a:pt x="18" y="229"/>
                  </a:lnTo>
                  <a:lnTo>
                    <a:pt x="13" y="245"/>
                  </a:lnTo>
                  <a:lnTo>
                    <a:pt x="9" y="261"/>
                  </a:lnTo>
                  <a:lnTo>
                    <a:pt x="5" y="277"/>
                  </a:lnTo>
                  <a:lnTo>
                    <a:pt x="3" y="294"/>
                  </a:lnTo>
                  <a:lnTo>
                    <a:pt x="1" y="310"/>
                  </a:lnTo>
                  <a:lnTo>
                    <a:pt x="0" y="326"/>
                  </a:lnTo>
                  <a:lnTo>
                    <a:pt x="0" y="343"/>
                  </a:lnTo>
                  <a:lnTo>
                    <a:pt x="0" y="359"/>
                  </a:lnTo>
                  <a:lnTo>
                    <a:pt x="1" y="376"/>
                  </a:lnTo>
                  <a:lnTo>
                    <a:pt x="3" y="392"/>
                  </a:lnTo>
                  <a:lnTo>
                    <a:pt x="5" y="408"/>
                  </a:lnTo>
                  <a:lnTo>
                    <a:pt x="9" y="424"/>
                  </a:lnTo>
                  <a:lnTo>
                    <a:pt x="13" y="440"/>
                  </a:lnTo>
                  <a:lnTo>
                    <a:pt x="18" y="456"/>
                  </a:lnTo>
                  <a:lnTo>
                    <a:pt x="24" y="472"/>
                  </a:lnTo>
                  <a:lnTo>
                    <a:pt x="31" y="487"/>
                  </a:lnTo>
                  <a:lnTo>
                    <a:pt x="38" y="502"/>
                  </a:lnTo>
                  <a:lnTo>
                    <a:pt x="47" y="517"/>
                  </a:lnTo>
                  <a:lnTo>
                    <a:pt x="55" y="532"/>
                  </a:lnTo>
                  <a:lnTo>
                    <a:pt x="65" y="546"/>
                  </a:lnTo>
                  <a:lnTo>
                    <a:pt x="75" y="560"/>
                  </a:lnTo>
                  <a:lnTo>
                    <a:pt x="87" y="573"/>
                  </a:lnTo>
                  <a:lnTo>
                    <a:pt x="99" y="585"/>
                  </a:lnTo>
                  <a:lnTo>
                    <a:pt x="112" y="597"/>
                  </a:lnTo>
                  <a:lnTo>
                    <a:pt x="126" y="609"/>
                  </a:lnTo>
                  <a:lnTo>
                    <a:pt x="138" y="620"/>
                  </a:lnTo>
                  <a:lnTo>
                    <a:pt x="153" y="629"/>
                  </a:lnTo>
                  <a:lnTo>
                    <a:pt x="167" y="638"/>
                  </a:lnTo>
                  <a:lnTo>
                    <a:pt x="182" y="646"/>
                  </a:lnTo>
                  <a:lnTo>
                    <a:pt x="197" y="654"/>
                  </a:lnTo>
                  <a:lnTo>
                    <a:pt x="213" y="660"/>
                  </a:lnTo>
                  <a:lnTo>
                    <a:pt x="228" y="666"/>
                  </a:lnTo>
                  <a:lnTo>
                    <a:pt x="244" y="672"/>
                  </a:lnTo>
                  <a:lnTo>
                    <a:pt x="260" y="676"/>
                  </a:lnTo>
                  <a:lnTo>
                    <a:pt x="276" y="679"/>
                  </a:lnTo>
                  <a:lnTo>
                    <a:pt x="293" y="683"/>
                  </a:lnTo>
                  <a:lnTo>
                    <a:pt x="309" y="684"/>
                  </a:lnTo>
                  <a:lnTo>
                    <a:pt x="325" y="685"/>
                  </a:lnTo>
                  <a:lnTo>
                    <a:pt x="343" y="686"/>
                  </a:lnTo>
                  <a:lnTo>
                    <a:pt x="359" y="686"/>
                  </a:lnTo>
                  <a:lnTo>
                    <a:pt x="376" y="684"/>
                  </a:lnTo>
                  <a:lnTo>
                    <a:pt x="392" y="683"/>
                  </a:lnTo>
                  <a:lnTo>
                    <a:pt x="408" y="679"/>
                  </a:lnTo>
                  <a:lnTo>
                    <a:pt x="424" y="676"/>
                  </a:lnTo>
                  <a:lnTo>
                    <a:pt x="440" y="672"/>
                  </a:lnTo>
                  <a:lnTo>
                    <a:pt x="456" y="666"/>
                  </a:lnTo>
                  <a:lnTo>
                    <a:pt x="472" y="660"/>
                  </a:lnTo>
                  <a:lnTo>
                    <a:pt x="487" y="654"/>
                  </a:lnTo>
                  <a:lnTo>
                    <a:pt x="502" y="646"/>
                  </a:lnTo>
                  <a:lnTo>
                    <a:pt x="517" y="639"/>
                  </a:lnTo>
                  <a:lnTo>
                    <a:pt x="531" y="629"/>
                  </a:lnTo>
                  <a:lnTo>
                    <a:pt x="546" y="620"/>
                  </a:lnTo>
                  <a:lnTo>
                    <a:pt x="558" y="609"/>
                  </a:lnTo>
                  <a:lnTo>
                    <a:pt x="572" y="597"/>
                  </a:lnTo>
                  <a:lnTo>
                    <a:pt x="585" y="585"/>
                  </a:lnTo>
                  <a:lnTo>
                    <a:pt x="597" y="573"/>
                  </a:lnTo>
                  <a:lnTo>
                    <a:pt x="609" y="560"/>
                  </a:lnTo>
                  <a:lnTo>
                    <a:pt x="619" y="546"/>
                  </a:lnTo>
                  <a:lnTo>
                    <a:pt x="629" y="532"/>
                  </a:lnTo>
                  <a:lnTo>
                    <a:pt x="638" y="517"/>
                  </a:lnTo>
                  <a:lnTo>
                    <a:pt x="646" y="502"/>
                  </a:lnTo>
                  <a:lnTo>
                    <a:pt x="653" y="487"/>
                  </a:lnTo>
                  <a:lnTo>
                    <a:pt x="661" y="472"/>
                  </a:lnTo>
                  <a:lnTo>
                    <a:pt x="666" y="456"/>
                  </a:lnTo>
                  <a:lnTo>
                    <a:pt x="672" y="440"/>
                  </a:lnTo>
                  <a:lnTo>
                    <a:pt x="676" y="424"/>
                  </a:lnTo>
                  <a:lnTo>
                    <a:pt x="679" y="408"/>
                  </a:lnTo>
                  <a:lnTo>
                    <a:pt x="682" y="392"/>
                  </a:lnTo>
                  <a:lnTo>
                    <a:pt x="684" y="376"/>
                  </a:lnTo>
                  <a:lnTo>
                    <a:pt x="685" y="359"/>
                  </a:lnTo>
                  <a:lnTo>
                    <a:pt x="685" y="343"/>
                  </a:lnTo>
                  <a:lnTo>
                    <a:pt x="685" y="326"/>
                  </a:lnTo>
                  <a:lnTo>
                    <a:pt x="684" y="310"/>
                  </a:lnTo>
                  <a:lnTo>
                    <a:pt x="682" y="294"/>
                  </a:lnTo>
                  <a:lnTo>
                    <a:pt x="679" y="277"/>
                  </a:lnTo>
                  <a:lnTo>
                    <a:pt x="676" y="261"/>
                  </a:lnTo>
                  <a:lnTo>
                    <a:pt x="672" y="245"/>
                  </a:lnTo>
                  <a:lnTo>
                    <a:pt x="666" y="229"/>
                  </a:lnTo>
                  <a:lnTo>
                    <a:pt x="660" y="214"/>
                  </a:lnTo>
                  <a:lnTo>
                    <a:pt x="653" y="198"/>
                  </a:lnTo>
                  <a:lnTo>
                    <a:pt x="646" y="183"/>
                  </a:lnTo>
                  <a:lnTo>
                    <a:pt x="637" y="168"/>
                  </a:lnTo>
                  <a:lnTo>
                    <a:pt x="629" y="154"/>
                  </a:lnTo>
                  <a:lnTo>
                    <a:pt x="619" y="140"/>
                  </a:lnTo>
                  <a:lnTo>
                    <a:pt x="609" y="126"/>
                  </a:lnTo>
                  <a:lnTo>
                    <a:pt x="597" y="113"/>
                  </a:lnTo>
                  <a:lnTo>
                    <a:pt x="585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Freeform 37"/>
            <p:cNvSpPr>
              <a:spLocks noEditPoints="1"/>
            </p:cNvSpPr>
            <p:nvPr/>
          </p:nvSpPr>
          <p:spPr bwMode="auto">
            <a:xfrm>
              <a:off x="874714" y="5307645"/>
              <a:ext cx="314325" cy="314325"/>
            </a:xfrm>
            <a:custGeom>
              <a:avLst/>
              <a:gdLst>
                <a:gd name="T0" fmla="*/ 1053 w 1387"/>
                <a:gd name="T1" fmla="*/ 1239 h 1387"/>
                <a:gd name="T2" fmla="*/ 909 w 1387"/>
                <a:gd name="T3" fmla="*/ 1309 h 1387"/>
                <a:gd name="T4" fmla="*/ 757 w 1387"/>
                <a:gd name="T5" fmla="*/ 1342 h 1387"/>
                <a:gd name="T6" fmla="*/ 600 w 1387"/>
                <a:gd name="T7" fmla="*/ 1339 h 1387"/>
                <a:gd name="T8" fmla="*/ 448 w 1387"/>
                <a:gd name="T9" fmla="*/ 1297 h 1387"/>
                <a:gd name="T10" fmla="*/ 308 w 1387"/>
                <a:gd name="T11" fmla="*/ 1219 h 1387"/>
                <a:gd name="T12" fmla="*/ 187 w 1387"/>
                <a:gd name="T13" fmla="*/ 1105 h 1387"/>
                <a:gd name="T14" fmla="*/ 102 w 1387"/>
                <a:gd name="T15" fmla="*/ 968 h 1387"/>
                <a:gd name="T16" fmla="*/ 54 w 1387"/>
                <a:gd name="T17" fmla="*/ 819 h 1387"/>
                <a:gd name="T18" fmla="*/ 43 w 1387"/>
                <a:gd name="T19" fmla="*/ 663 h 1387"/>
                <a:gd name="T20" fmla="*/ 69 w 1387"/>
                <a:gd name="T21" fmla="*/ 508 h 1387"/>
                <a:gd name="T22" fmla="*/ 132 w 1387"/>
                <a:gd name="T23" fmla="*/ 362 h 1387"/>
                <a:gd name="T24" fmla="*/ 232 w 1387"/>
                <a:gd name="T25" fmla="*/ 232 h 1387"/>
                <a:gd name="T26" fmla="*/ 358 w 1387"/>
                <a:gd name="T27" fmla="*/ 134 h 1387"/>
                <a:gd name="T28" fmla="*/ 503 w 1387"/>
                <a:gd name="T29" fmla="*/ 69 h 1387"/>
                <a:gd name="T30" fmla="*/ 660 w 1387"/>
                <a:gd name="T31" fmla="*/ 42 h 1387"/>
                <a:gd name="T32" fmla="*/ 790 w 1387"/>
                <a:gd name="T33" fmla="*/ 49 h 1387"/>
                <a:gd name="T34" fmla="*/ 944 w 1387"/>
                <a:gd name="T35" fmla="*/ 91 h 1387"/>
                <a:gd name="T36" fmla="*/ 1081 w 1387"/>
                <a:gd name="T37" fmla="*/ 169 h 1387"/>
                <a:gd name="T38" fmla="*/ 1198 w 1387"/>
                <a:gd name="T39" fmla="*/ 281 h 1387"/>
                <a:gd name="T40" fmla="*/ 1283 w 1387"/>
                <a:gd name="T41" fmla="*/ 415 h 1387"/>
                <a:gd name="T42" fmla="*/ 1334 w 1387"/>
                <a:gd name="T43" fmla="*/ 566 h 1387"/>
                <a:gd name="T44" fmla="*/ 1344 w 1387"/>
                <a:gd name="T45" fmla="*/ 727 h 1387"/>
                <a:gd name="T46" fmla="*/ 1317 w 1387"/>
                <a:gd name="T47" fmla="*/ 884 h 1387"/>
                <a:gd name="T48" fmla="*/ 1253 w 1387"/>
                <a:gd name="T49" fmla="*/ 1028 h 1387"/>
                <a:gd name="T50" fmla="*/ 1155 w 1387"/>
                <a:gd name="T51" fmla="*/ 1155 h 1387"/>
                <a:gd name="T52" fmla="*/ 1078 w 1387"/>
                <a:gd name="T53" fmla="*/ 116 h 1387"/>
                <a:gd name="T54" fmla="*/ 928 w 1387"/>
                <a:gd name="T55" fmla="*/ 40 h 1387"/>
                <a:gd name="T56" fmla="*/ 762 w 1387"/>
                <a:gd name="T57" fmla="*/ 3 h 1387"/>
                <a:gd name="T58" fmla="*/ 624 w 1387"/>
                <a:gd name="T59" fmla="*/ 3 h 1387"/>
                <a:gd name="T60" fmla="*/ 459 w 1387"/>
                <a:gd name="T61" fmla="*/ 40 h 1387"/>
                <a:gd name="T62" fmla="*/ 308 w 1387"/>
                <a:gd name="T63" fmla="*/ 116 h 1387"/>
                <a:gd name="T64" fmla="*/ 178 w 1387"/>
                <a:gd name="T65" fmla="*/ 228 h 1387"/>
                <a:gd name="T66" fmla="*/ 79 w 1387"/>
                <a:gd name="T67" fmla="*/ 370 h 1387"/>
                <a:gd name="T68" fmla="*/ 19 w 1387"/>
                <a:gd name="T69" fmla="*/ 528 h 1387"/>
                <a:gd name="T70" fmla="*/ 0 w 1387"/>
                <a:gd name="T71" fmla="*/ 694 h 1387"/>
                <a:gd name="T72" fmla="*/ 19 w 1387"/>
                <a:gd name="T73" fmla="*/ 858 h 1387"/>
                <a:gd name="T74" fmla="*/ 79 w 1387"/>
                <a:gd name="T75" fmla="*/ 1016 h 1387"/>
                <a:gd name="T76" fmla="*/ 178 w 1387"/>
                <a:gd name="T77" fmla="*/ 1158 h 1387"/>
                <a:gd name="T78" fmla="*/ 311 w 1387"/>
                <a:gd name="T79" fmla="*/ 1274 h 1387"/>
                <a:gd name="T80" fmla="*/ 464 w 1387"/>
                <a:gd name="T81" fmla="*/ 1349 h 1387"/>
                <a:gd name="T82" fmla="*/ 627 w 1387"/>
                <a:gd name="T83" fmla="*/ 1384 h 1387"/>
                <a:gd name="T84" fmla="*/ 794 w 1387"/>
                <a:gd name="T85" fmla="*/ 1380 h 1387"/>
                <a:gd name="T86" fmla="*/ 955 w 1387"/>
                <a:gd name="T87" fmla="*/ 1337 h 1387"/>
                <a:gd name="T88" fmla="*/ 1104 w 1387"/>
                <a:gd name="T89" fmla="*/ 1254 h 1387"/>
                <a:gd name="T90" fmla="*/ 1230 w 1387"/>
                <a:gd name="T91" fmla="*/ 1134 h 1387"/>
                <a:gd name="T92" fmla="*/ 1321 w 1387"/>
                <a:gd name="T93" fmla="*/ 991 h 1387"/>
                <a:gd name="T94" fmla="*/ 1374 w 1387"/>
                <a:gd name="T95" fmla="*/ 831 h 1387"/>
                <a:gd name="T96" fmla="*/ 1387 w 1387"/>
                <a:gd name="T97" fmla="*/ 660 h 1387"/>
                <a:gd name="T98" fmla="*/ 1357 w 1387"/>
                <a:gd name="T99" fmla="*/ 491 h 1387"/>
                <a:gd name="T100" fmla="*/ 1289 w 1387"/>
                <a:gd name="T101" fmla="*/ 337 h 1387"/>
                <a:gd name="T102" fmla="*/ 1184 w 1387"/>
                <a:gd name="T103" fmla="*/ 203 h 1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87" h="1387">
                  <a:moveTo>
                    <a:pt x="1155" y="1155"/>
                  </a:moveTo>
                  <a:lnTo>
                    <a:pt x="1131" y="1178"/>
                  </a:lnTo>
                  <a:lnTo>
                    <a:pt x="1105" y="1199"/>
                  </a:lnTo>
                  <a:lnTo>
                    <a:pt x="1079" y="1219"/>
                  </a:lnTo>
                  <a:lnTo>
                    <a:pt x="1053" y="1239"/>
                  </a:lnTo>
                  <a:lnTo>
                    <a:pt x="1025" y="1256"/>
                  </a:lnTo>
                  <a:lnTo>
                    <a:pt x="997" y="1271"/>
                  </a:lnTo>
                  <a:lnTo>
                    <a:pt x="968" y="1286"/>
                  </a:lnTo>
                  <a:lnTo>
                    <a:pt x="939" y="1297"/>
                  </a:lnTo>
                  <a:lnTo>
                    <a:pt x="909" y="1309"/>
                  </a:lnTo>
                  <a:lnTo>
                    <a:pt x="879" y="1319"/>
                  </a:lnTo>
                  <a:lnTo>
                    <a:pt x="848" y="1327"/>
                  </a:lnTo>
                  <a:lnTo>
                    <a:pt x="819" y="1334"/>
                  </a:lnTo>
                  <a:lnTo>
                    <a:pt x="788" y="1339"/>
                  </a:lnTo>
                  <a:lnTo>
                    <a:pt x="757" y="1342"/>
                  </a:lnTo>
                  <a:lnTo>
                    <a:pt x="725" y="1344"/>
                  </a:lnTo>
                  <a:lnTo>
                    <a:pt x="694" y="1345"/>
                  </a:lnTo>
                  <a:lnTo>
                    <a:pt x="663" y="1344"/>
                  </a:lnTo>
                  <a:lnTo>
                    <a:pt x="631" y="1342"/>
                  </a:lnTo>
                  <a:lnTo>
                    <a:pt x="600" y="1339"/>
                  </a:lnTo>
                  <a:lnTo>
                    <a:pt x="569" y="1334"/>
                  </a:lnTo>
                  <a:lnTo>
                    <a:pt x="538" y="1327"/>
                  </a:lnTo>
                  <a:lnTo>
                    <a:pt x="508" y="1319"/>
                  </a:lnTo>
                  <a:lnTo>
                    <a:pt x="478" y="1309"/>
                  </a:lnTo>
                  <a:lnTo>
                    <a:pt x="448" y="1297"/>
                  </a:lnTo>
                  <a:lnTo>
                    <a:pt x="419" y="1286"/>
                  </a:lnTo>
                  <a:lnTo>
                    <a:pt x="390" y="1271"/>
                  </a:lnTo>
                  <a:lnTo>
                    <a:pt x="361" y="1256"/>
                  </a:lnTo>
                  <a:lnTo>
                    <a:pt x="335" y="1239"/>
                  </a:lnTo>
                  <a:lnTo>
                    <a:pt x="308" y="1219"/>
                  </a:lnTo>
                  <a:lnTo>
                    <a:pt x="281" y="1199"/>
                  </a:lnTo>
                  <a:lnTo>
                    <a:pt x="257" y="1178"/>
                  </a:lnTo>
                  <a:lnTo>
                    <a:pt x="232" y="1155"/>
                  </a:lnTo>
                  <a:lnTo>
                    <a:pt x="209" y="1131"/>
                  </a:lnTo>
                  <a:lnTo>
                    <a:pt x="187" y="1105"/>
                  </a:lnTo>
                  <a:lnTo>
                    <a:pt x="167" y="1079"/>
                  </a:lnTo>
                  <a:lnTo>
                    <a:pt x="149" y="1053"/>
                  </a:lnTo>
                  <a:lnTo>
                    <a:pt x="132" y="1025"/>
                  </a:lnTo>
                  <a:lnTo>
                    <a:pt x="116" y="997"/>
                  </a:lnTo>
                  <a:lnTo>
                    <a:pt x="102" y="968"/>
                  </a:lnTo>
                  <a:lnTo>
                    <a:pt x="89" y="940"/>
                  </a:lnTo>
                  <a:lnTo>
                    <a:pt x="78" y="910"/>
                  </a:lnTo>
                  <a:lnTo>
                    <a:pt x="69" y="880"/>
                  </a:lnTo>
                  <a:lnTo>
                    <a:pt x="60" y="849"/>
                  </a:lnTo>
                  <a:lnTo>
                    <a:pt x="54" y="819"/>
                  </a:lnTo>
                  <a:lnTo>
                    <a:pt x="48" y="788"/>
                  </a:lnTo>
                  <a:lnTo>
                    <a:pt x="45" y="756"/>
                  </a:lnTo>
                  <a:lnTo>
                    <a:pt x="43" y="725"/>
                  </a:lnTo>
                  <a:lnTo>
                    <a:pt x="42" y="694"/>
                  </a:lnTo>
                  <a:lnTo>
                    <a:pt x="43" y="663"/>
                  </a:lnTo>
                  <a:lnTo>
                    <a:pt x="45" y="631"/>
                  </a:lnTo>
                  <a:lnTo>
                    <a:pt x="48" y="600"/>
                  </a:lnTo>
                  <a:lnTo>
                    <a:pt x="54" y="569"/>
                  </a:lnTo>
                  <a:lnTo>
                    <a:pt x="60" y="538"/>
                  </a:lnTo>
                  <a:lnTo>
                    <a:pt x="69" y="508"/>
                  </a:lnTo>
                  <a:lnTo>
                    <a:pt x="78" y="478"/>
                  </a:lnTo>
                  <a:lnTo>
                    <a:pt x="89" y="448"/>
                  </a:lnTo>
                  <a:lnTo>
                    <a:pt x="102" y="419"/>
                  </a:lnTo>
                  <a:lnTo>
                    <a:pt x="116" y="391"/>
                  </a:lnTo>
                  <a:lnTo>
                    <a:pt x="132" y="362"/>
                  </a:lnTo>
                  <a:lnTo>
                    <a:pt x="149" y="335"/>
                  </a:lnTo>
                  <a:lnTo>
                    <a:pt x="167" y="308"/>
                  </a:lnTo>
                  <a:lnTo>
                    <a:pt x="187" y="282"/>
                  </a:lnTo>
                  <a:lnTo>
                    <a:pt x="209" y="257"/>
                  </a:lnTo>
                  <a:lnTo>
                    <a:pt x="232" y="232"/>
                  </a:lnTo>
                  <a:lnTo>
                    <a:pt x="256" y="210"/>
                  </a:lnTo>
                  <a:lnTo>
                    <a:pt x="280" y="189"/>
                  </a:lnTo>
                  <a:lnTo>
                    <a:pt x="306" y="169"/>
                  </a:lnTo>
                  <a:lnTo>
                    <a:pt x="331" y="151"/>
                  </a:lnTo>
                  <a:lnTo>
                    <a:pt x="358" y="134"/>
                  </a:lnTo>
                  <a:lnTo>
                    <a:pt x="386" y="118"/>
                  </a:lnTo>
                  <a:lnTo>
                    <a:pt x="415" y="103"/>
                  </a:lnTo>
                  <a:lnTo>
                    <a:pt x="444" y="90"/>
                  </a:lnTo>
                  <a:lnTo>
                    <a:pt x="473" y="80"/>
                  </a:lnTo>
                  <a:lnTo>
                    <a:pt x="503" y="69"/>
                  </a:lnTo>
                  <a:lnTo>
                    <a:pt x="534" y="62"/>
                  </a:lnTo>
                  <a:lnTo>
                    <a:pt x="565" y="54"/>
                  </a:lnTo>
                  <a:lnTo>
                    <a:pt x="596" y="49"/>
                  </a:lnTo>
                  <a:lnTo>
                    <a:pt x="628" y="45"/>
                  </a:lnTo>
                  <a:lnTo>
                    <a:pt x="660" y="42"/>
                  </a:lnTo>
                  <a:lnTo>
                    <a:pt x="694" y="41"/>
                  </a:lnTo>
                  <a:lnTo>
                    <a:pt x="694" y="41"/>
                  </a:lnTo>
                  <a:lnTo>
                    <a:pt x="726" y="42"/>
                  </a:lnTo>
                  <a:lnTo>
                    <a:pt x="758" y="45"/>
                  </a:lnTo>
                  <a:lnTo>
                    <a:pt x="790" y="49"/>
                  </a:lnTo>
                  <a:lnTo>
                    <a:pt x="822" y="54"/>
                  </a:lnTo>
                  <a:lnTo>
                    <a:pt x="853" y="62"/>
                  </a:lnTo>
                  <a:lnTo>
                    <a:pt x="884" y="70"/>
                  </a:lnTo>
                  <a:lnTo>
                    <a:pt x="914" y="80"/>
                  </a:lnTo>
                  <a:lnTo>
                    <a:pt x="944" y="91"/>
                  </a:lnTo>
                  <a:lnTo>
                    <a:pt x="972" y="104"/>
                  </a:lnTo>
                  <a:lnTo>
                    <a:pt x="1001" y="118"/>
                  </a:lnTo>
                  <a:lnTo>
                    <a:pt x="1028" y="134"/>
                  </a:lnTo>
                  <a:lnTo>
                    <a:pt x="1056" y="151"/>
                  </a:lnTo>
                  <a:lnTo>
                    <a:pt x="1081" y="169"/>
                  </a:lnTo>
                  <a:lnTo>
                    <a:pt x="1107" y="189"/>
                  </a:lnTo>
                  <a:lnTo>
                    <a:pt x="1132" y="210"/>
                  </a:lnTo>
                  <a:lnTo>
                    <a:pt x="1155" y="232"/>
                  </a:lnTo>
                  <a:lnTo>
                    <a:pt x="1178" y="256"/>
                  </a:lnTo>
                  <a:lnTo>
                    <a:pt x="1198" y="281"/>
                  </a:lnTo>
                  <a:lnTo>
                    <a:pt x="1218" y="306"/>
                  </a:lnTo>
                  <a:lnTo>
                    <a:pt x="1236" y="332"/>
                  </a:lnTo>
                  <a:lnTo>
                    <a:pt x="1253" y="359"/>
                  </a:lnTo>
                  <a:lnTo>
                    <a:pt x="1269" y="386"/>
                  </a:lnTo>
                  <a:lnTo>
                    <a:pt x="1283" y="415"/>
                  </a:lnTo>
                  <a:lnTo>
                    <a:pt x="1296" y="444"/>
                  </a:lnTo>
                  <a:lnTo>
                    <a:pt x="1308" y="474"/>
                  </a:lnTo>
                  <a:lnTo>
                    <a:pt x="1317" y="504"/>
                  </a:lnTo>
                  <a:lnTo>
                    <a:pt x="1326" y="535"/>
                  </a:lnTo>
                  <a:lnTo>
                    <a:pt x="1334" y="566"/>
                  </a:lnTo>
                  <a:lnTo>
                    <a:pt x="1339" y="597"/>
                  </a:lnTo>
                  <a:lnTo>
                    <a:pt x="1342" y="629"/>
                  </a:lnTo>
                  <a:lnTo>
                    <a:pt x="1344" y="662"/>
                  </a:lnTo>
                  <a:lnTo>
                    <a:pt x="1345" y="694"/>
                  </a:lnTo>
                  <a:lnTo>
                    <a:pt x="1344" y="727"/>
                  </a:lnTo>
                  <a:lnTo>
                    <a:pt x="1342" y="759"/>
                  </a:lnTo>
                  <a:lnTo>
                    <a:pt x="1339" y="791"/>
                  </a:lnTo>
                  <a:lnTo>
                    <a:pt x="1334" y="822"/>
                  </a:lnTo>
                  <a:lnTo>
                    <a:pt x="1326" y="853"/>
                  </a:lnTo>
                  <a:lnTo>
                    <a:pt x="1317" y="884"/>
                  </a:lnTo>
                  <a:lnTo>
                    <a:pt x="1308" y="914"/>
                  </a:lnTo>
                  <a:lnTo>
                    <a:pt x="1296" y="944"/>
                  </a:lnTo>
                  <a:lnTo>
                    <a:pt x="1283" y="973"/>
                  </a:lnTo>
                  <a:lnTo>
                    <a:pt x="1269" y="1001"/>
                  </a:lnTo>
                  <a:lnTo>
                    <a:pt x="1253" y="1028"/>
                  </a:lnTo>
                  <a:lnTo>
                    <a:pt x="1236" y="1056"/>
                  </a:lnTo>
                  <a:lnTo>
                    <a:pt x="1218" y="1082"/>
                  </a:lnTo>
                  <a:lnTo>
                    <a:pt x="1198" y="1107"/>
                  </a:lnTo>
                  <a:lnTo>
                    <a:pt x="1178" y="1132"/>
                  </a:lnTo>
                  <a:lnTo>
                    <a:pt x="1155" y="1155"/>
                  </a:lnTo>
                  <a:close/>
                  <a:moveTo>
                    <a:pt x="1184" y="203"/>
                  </a:moveTo>
                  <a:lnTo>
                    <a:pt x="1159" y="179"/>
                  </a:lnTo>
                  <a:lnTo>
                    <a:pt x="1133" y="157"/>
                  </a:lnTo>
                  <a:lnTo>
                    <a:pt x="1106" y="135"/>
                  </a:lnTo>
                  <a:lnTo>
                    <a:pt x="1078" y="116"/>
                  </a:lnTo>
                  <a:lnTo>
                    <a:pt x="1049" y="98"/>
                  </a:lnTo>
                  <a:lnTo>
                    <a:pt x="1020" y="81"/>
                  </a:lnTo>
                  <a:lnTo>
                    <a:pt x="991" y="66"/>
                  </a:lnTo>
                  <a:lnTo>
                    <a:pt x="960" y="52"/>
                  </a:lnTo>
                  <a:lnTo>
                    <a:pt x="928" y="40"/>
                  </a:lnTo>
                  <a:lnTo>
                    <a:pt x="895" y="30"/>
                  </a:lnTo>
                  <a:lnTo>
                    <a:pt x="863" y="21"/>
                  </a:lnTo>
                  <a:lnTo>
                    <a:pt x="830" y="14"/>
                  </a:lnTo>
                  <a:lnTo>
                    <a:pt x="796" y="7"/>
                  </a:lnTo>
                  <a:lnTo>
                    <a:pt x="762" y="3"/>
                  </a:lnTo>
                  <a:lnTo>
                    <a:pt x="728" y="1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658" y="1"/>
                  </a:lnTo>
                  <a:lnTo>
                    <a:pt x="624" y="3"/>
                  </a:lnTo>
                  <a:lnTo>
                    <a:pt x="590" y="7"/>
                  </a:lnTo>
                  <a:lnTo>
                    <a:pt x="557" y="14"/>
                  </a:lnTo>
                  <a:lnTo>
                    <a:pt x="524" y="20"/>
                  </a:lnTo>
                  <a:lnTo>
                    <a:pt x="491" y="30"/>
                  </a:lnTo>
                  <a:lnTo>
                    <a:pt x="459" y="40"/>
                  </a:lnTo>
                  <a:lnTo>
                    <a:pt x="428" y="52"/>
                  </a:lnTo>
                  <a:lnTo>
                    <a:pt x="397" y="66"/>
                  </a:lnTo>
                  <a:lnTo>
                    <a:pt x="367" y="81"/>
                  </a:lnTo>
                  <a:lnTo>
                    <a:pt x="337" y="98"/>
                  </a:lnTo>
                  <a:lnTo>
                    <a:pt x="308" y="116"/>
                  </a:lnTo>
                  <a:lnTo>
                    <a:pt x="280" y="135"/>
                  </a:lnTo>
                  <a:lnTo>
                    <a:pt x="253" y="157"/>
                  </a:lnTo>
                  <a:lnTo>
                    <a:pt x="228" y="179"/>
                  </a:lnTo>
                  <a:lnTo>
                    <a:pt x="202" y="203"/>
                  </a:lnTo>
                  <a:lnTo>
                    <a:pt x="178" y="228"/>
                  </a:lnTo>
                  <a:lnTo>
                    <a:pt x="155" y="256"/>
                  </a:lnTo>
                  <a:lnTo>
                    <a:pt x="134" y="283"/>
                  </a:lnTo>
                  <a:lnTo>
                    <a:pt x="113" y="312"/>
                  </a:lnTo>
                  <a:lnTo>
                    <a:pt x="95" y="340"/>
                  </a:lnTo>
                  <a:lnTo>
                    <a:pt x="79" y="370"/>
                  </a:lnTo>
                  <a:lnTo>
                    <a:pt x="64" y="401"/>
                  </a:lnTo>
                  <a:lnTo>
                    <a:pt x="50" y="432"/>
                  </a:lnTo>
                  <a:lnTo>
                    <a:pt x="39" y="464"/>
                  </a:lnTo>
                  <a:lnTo>
                    <a:pt x="28" y="496"/>
                  </a:lnTo>
                  <a:lnTo>
                    <a:pt x="19" y="528"/>
                  </a:lnTo>
                  <a:lnTo>
                    <a:pt x="12" y="560"/>
                  </a:lnTo>
                  <a:lnTo>
                    <a:pt x="7" y="593"/>
                  </a:lnTo>
                  <a:lnTo>
                    <a:pt x="3" y="627"/>
                  </a:lnTo>
                  <a:lnTo>
                    <a:pt x="0" y="660"/>
                  </a:lnTo>
                  <a:lnTo>
                    <a:pt x="0" y="694"/>
                  </a:lnTo>
                  <a:lnTo>
                    <a:pt x="0" y="727"/>
                  </a:lnTo>
                  <a:lnTo>
                    <a:pt x="3" y="760"/>
                  </a:lnTo>
                  <a:lnTo>
                    <a:pt x="7" y="793"/>
                  </a:lnTo>
                  <a:lnTo>
                    <a:pt x="12" y="826"/>
                  </a:lnTo>
                  <a:lnTo>
                    <a:pt x="19" y="858"/>
                  </a:lnTo>
                  <a:lnTo>
                    <a:pt x="28" y="891"/>
                  </a:lnTo>
                  <a:lnTo>
                    <a:pt x="39" y="924"/>
                  </a:lnTo>
                  <a:lnTo>
                    <a:pt x="50" y="954"/>
                  </a:lnTo>
                  <a:lnTo>
                    <a:pt x="64" y="985"/>
                  </a:lnTo>
                  <a:lnTo>
                    <a:pt x="79" y="1016"/>
                  </a:lnTo>
                  <a:lnTo>
                    <a:pt x="95" y="1046"/>
                  </a:lnTo>
                  <a:lnTo>
                    <a:pt x="113" y="1075"/>
                  </a:lnTo>
                  <a:lnTo>
                    <a:pt x="134" y="1104"/>
                  </a:lnTo>
                  <a:lnTo>
                    <a:pt x="155" y="1132"/>
                  </a:lnTo>
                  <a:lnTo>
                    <a:pt x="178" y="1158"/>
                  </a:lnTo>
                  <a:lnTo>
                    <a:pt x="202" y="1184"/>
                  </a:lnTo>
                  <a:lnTo>
                    <a:pt x="228" y="1209"/>
                  </a:lnTo>
                  <a:lnTo>
                    <a:pt x="256" y="1232"/>
                  </a:lnTo>
                  <a:lnTo>
                    <a:pt x="283" y="1254"/>
                  </a:lnTo>
                  <a:lnTo>
                    <a:pt x="311" y="1274"/>
                  </a:lnTo>
                  <a:lnTo>
                    <a:pt x="341" y="1292"/>
                  </a:lnTo>
                  <a:lnTo>
                    <a:pt x="371" y="1308"/>
                  </a:lnTo>
                  <a:lnTo>
                    <a:pt x="401" y="1323"/>
                  </a:lnTo>
                  <a:lnTo>
                    <a:pt x="432" y="1337"/>
                  </a:lnTo>
                  <a:lnTo>
                    <a:pt x="464" y="1349"/>
                  </a:lnTo>
                  <a:lnTo>
                    <a:pt x="496" y="1359"/>
                  </a:lnTo>
                  <a:lnTo>
                    <a:pt x="528" y="1368"/>
                  </a:lnTo>
                  <a:lnTo>
                    <a:pt x="561" y="1374"/>
                  </a:lnTo>
                  <a:lnTo>
                    <a:pt x="594" y="1380"/>
                  </a:lnTo>
                  <a:lnTo>
                    <a:pt x="627" y="1384"/>
                  </a:lnTo>
                  <a:lnTo>
                    <a:pt x="660" y="1386"/>
                  </a:lnTo>
                  <a:lnTo>
                    <a:pt x="694" y="1387"/>
                  </a:lnTo>
                  <a:lnTo>
                    <a:pt x="728" y="1386"/>
                  </a:lnTo>
                  <a:lnTo>
                    <a:pt x="761" y="1384"/>
                  </a:lnTo>
                  <a:lnTo>
                    <a:pt x="794" y="1380"/>
                  </a:lnTo>
                  <a:lnTo>
                    <a:pt x="826" y="1374"/>
                  </a:lnTo>
                  <a:lnTo>
                    <a:pt x="859" y="1368"/>
                  </a:lnTo>
                  <a:lnTo>
                    <a:pt x="891" y="1359"/>
                  </a:lnTo>
                  <a:lnTo>
                    <a:pt x="923" y="1349"/>
                  </a:lnTo>
                  <a:lnTo>
                    <a:pt x="955" y="1337"/>
                  </a:lnTo>
                  <a:lnTo>
                    <a:pt x="986" y="1323"/>
                  </a:lnTo>
                  <a:lnTo>
                    <a:pt x="1016" y="1308"/>
                  </a:lnTo>
                  <a:lnTo>
                    <a:pt x="1046" y="1292"/>
                  </a:lnTo>
                  <a:lnTo>
                    <a:pt x="1075" y="1274"/>
                  </a:lnTo>
                  <a:lnTo>
                    <a:pt x="1104" y="1254"/>
                  </a:lnTo>
                  <a:lnTo>
                    <a:pt x="1132" y="1232"/>
                  </a:lnTo>
                  <a:lnTo>
                    <a:pt x="1158" y="1209"/>
                  </a:lnTo>
                  <a:lnTo>
                    <a:pt x="1184" y="1184"/>
                  </a:lnTo>
                  <a:lnTo>
                    <a:pt x="1207" y="1160"/>
                  </a:lnTo>
                  <a:lnTo>
                    <a:pt x="1230" y="1134"/>
                  </a:lnTo>
                  <a:lnTo>
                    <a:pt x="1251" y="1106"/>
                  </a:lnTo>
                  <a:lnTo>
                    <a:pt x="1270" y="1078"/>
                  </a:lnTo>
                  <a:lnTo>
                    <a:pt x="1289" y="1051"/>
                  </a:lnTo>
                  <a:lnTo>
                    <a:pt x="1306" y="1021"/>
                  </a:lnTo>
                  <a:lnTo>
                    <a:pt x="1321" y="991"/>
                  </a:lnTo>
                  <a:lnTo>
                    <a:pt x="1335" y="960"/>
                  </a:lnTo>
                  <a:lnTo>
                    <a:pt x="1347" y="928"/>
                  </a:lnTo>
                  <a:lnTo>
                    <a:pt x="1357" y="896"/>
                  </a:lnTo>
                  <a:lnTo>
                    <a:pt x="1367" y="864"/>
                  </a:lnTo>
                  <a:lnTo>
                    <a:pt x="1374" y="831"/>
                  </a:lnTo>
                  <a:lnTo>
                    <a:pt x="1379" y="796"/>
                  </a:lnTo>
                  <a:lnTo>
                    <a:pt x="1384" y="763"/>
                  </a:lnTo>
                  <a:lnTo>
                    <a:pt x="1387" y="729"/>
                  </a:lnTo>
                  <a:lnTo>
                    <a:pt x="1387" y="694"/>
                  </a:lnTo>
                  <a:lnTo>
                    <a:pt x="1387" y="660"/>
                  </a:lnTo>
                  <a:lnTo>
                    <a:pt x="1384" y="624"/>
                  </a:lnTo>
                  <a:lnTo>
                    <a:pt x="1379" y="591"/>
                  </a:lnTo>
                  <a:lnTo>
                    <a:pt x="1374" y="557"/>
                  </a:lnTo>
                  <a:lnTo>
                    <a:pt x="1367" y="524"/>
                  </a:lnTo>
                  <a:lnTo>
                    <a:pt x="1357" y="491"/>
                  </a:lnTo>
                  <a:lnTo>
                    <a:pt x="1347" y="459"/>
                  </a:lnTo>
                  <a:lnTo>
                    <a:pt x="1335" y="428"/>
                  </a:lnTo>
                  <a:lnTo>
                    <a:pt x="1321" y="397"/>
                  </a:lnTo>
                  <a:lnTo>
                    <a:pt x="1306" y="367"/>
                  </a:lnTo>
                  <a:lnTo>
                    <a:pt x="1289" y="337"/>
                  </a:lnTo>
                  <a:lnTo>
                    <a:pt x="1270" y="308"/>
                  </a:lnTo>
                  <a:lnTo>
                    <a:pt x="1251" y="281"/>
                  </a:lnTo>
                  <a:lnTo>
                    <a:pt x="1230" y="254"/>
                  </a:lnTo>
                  <a:lnTo>
                    <a:pt x="1207" y="228"/>
                  </a:lnTo>
                  <a:lnTo>
                    <a:pt x="1184" y="203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 38"/>
            <p:cNvSpPr>
              <a:spLocks noEditPoints="1"/>
            </p:cNvSpPr>
            <p:nvPr/>
          </p:nvSpPr>
          <p:spPr bwMode="auto">
            <a:xfrm>
              <a:off x="949326" y="5382257"/>
              <a:ext cx="165100" cy="165100"/>
            </a:xfrm>
            <a:custGeom>
              <a:avLst/>
              <a:gdLst>
                <a:gd name="T0" fmla="*/ 542 w 728"/>
                <a:gd name="T1" fmla="*/ 633 h 727"/>
                <a:gd name="T2" fmla="*/ 471 w 728"/>
                <a:gd name="T3" fmla="*/ 667 h 727"/>
                <a:gd name="T4" fmla="*/ 396 w 728"/>
                <a:gd name="T5" fmla="*/ 684 h 727"/>
                <a:gd name="T6" fmla="*/ 319 w 728"/>
                <a:gd name="T7" fmla="*/ 682 h 727"/>
                <a:gd name="T8" fmla="*/ 243 w 728"/>
                <a:gd name="T9" fmla="*/ 662 h 727"/>
                <a:gd name="T10" fmla="*/ 173 w 728"/>
                <a:gd name="T11" fmla="*/ 623 h 727"/>
                <a:gd name="T12" fmla="*/ 115 w 728"/>
                <a:gd name="T13" fmla="*/ 567 h 727"/>
                <a:gd name="T14" fmla="*/ 72 w 728"/>
                <a:gd name="T15" fmla="*/ 500 h 727"/>
                <a:gd name="T16" fmla="*/ 48 w 728"/>
                <a:gd name="T17" fmla="*/ 425 h 727"/>
                <a:gd name="T18" fmla="*/ 43 w 728"/>
                <a:gd name="T19" fmla="*/ 348 h 727"/>
                <a:gd name="T20" fmla="*/ 56 w 728"/>
                <a:gd name="T21" fmla="*/ 272 h 727"/>
                <a:gd name="T22" fmla="*/ 87 w 728"/>
                <a:gd name="T23" fmla="*/ 200 h 727"/>
                <a:gd name="T24" fmla="*/ 136 w 728"/>
                <a:gd name="T25" fmla="*/ 136 h 727"/>
                <a:gd name="T26" fmla="*/ 199 w 728"/>
                <a:gd name="T27" fmla="*/ 87 h 727"/>
                <a:gd name="T28" fmla="*/ 271 w 728"/>
                <a:gd name="T29" fmla="*/ 55 h 727"/>
                <a:gd name="T30" fmla="*/ 349 w 728"/>
                <a:gd name="T31" fmla="*/ 41 h 727"/>
                <a:gd name="T32" fmla="*/ 413 w 728"/>
                <a:gd name="T33" fmla="*/ 45 h 727"/>
                <a:gd name="T34" fmla="*/ 487 w 728"/>
                <a:gd name="T35" fmla="*/ 66 h 727"/>
                <a:gd name="T36" fmla="*/ 556 w 728"/>
                <a:gd name="T37" fmla="*/ 104 h 727"/>
                <a:gd name="T38" fmla="*/ 613 w 728"/>
                <a:gd name="T39" fmla="*/ 160 h 727"/>
                <a:gd name="T40" fmla="*/ 655 w 728"/>
                <a:gd name="T41" fmla="*/ 226 h 727"/>
                <a:gd name="T42" fmla="*/ 680 w 728"/>
                <a:gd name="T43" fmla="*/ 300 h 727"/>
                <a:gd name="T44" fmla="*/ 686 w 728"/>
                <a:gd name="T45" fmla="*/ 380 h 727"/>
                <a:gd name="T46" fmla="*/ 672 w 728"/>
                <a:gd name="T47" fmla="*/ 458 h 727"/>
                <a:gd name="T48" fmla="*/ 641 w 728"/>
                <a:gd name="T49" fmla="*/ 529 h 727"/>
                <a:gd name="T50" fmla="*/ 592 w 728"/>
                <a:gd name="T51" fmla="*/ 591 h 727"/>
                <a:gd name="T52" fmla="*/ 310 w 728"/>
                <a:gd name="T53" fmla="*/ 4 h 727"/>
                <a:gd name="T54" fmla="*/ 225 w 728"/>
                <a:gd name="T55" fmla="*/ 27 h 727"/>
                <a:gd name="T56" fmla="*/ 148 w 728"/>
                <a:gd name="T57" fmla="*/ 70 h 727"/>
                <a:gd name="T58" fmla="*/ 81 w 728"/>
                <a:gd name="T59" fmla="*/ 133 h 727"/>
                <a:gd name="T60" fmla="*/ 34 w 728"/>
                <a:gd name="T61" fmla="*/ 210 h 727"/>
                <a:gd name="T62" fmla="*/ 8 w 728"/>
                <a:gd name="T63" fmla="*/ 294 h 727"/>
                <a:gd name="T64" fmla="*/ 1 w 728"/>
                <a:gd name="T65" fmla="*/ 381 h 727"/>
                <a:gd name="T66" fmla="*/ 15 w 728"/>
                <a:gd name="T67" fmla="*/ 467 h 727"/>
                <a:gd name="T68" fmla="*/ 50 w 728"/>
                <a:gd name="T69" fmla="*/ 549 h 727"/>
                <a:gd name="T70" fmla="*/ 106 w 728"/>
                <a:gd name="T71" fmla="*/ 621 h 727"/>
                <a:gd name="T72" fmla="*/ 180 w 728"/>
                <a:gd name="T73" fmla="*/ 677 h 727"/>
                <a:gd name="T74" fmla="*/ 261 w 728"/>
                <a:gd name="T75" fmla="*/ 712 h 727"/>
                <a:gd name="T76" fmla="*/ 346 w 728"/>
                <a:gd name="T77" fmla="*/ 727 h 727"/>
                <a:gd name="T78" fmla="*/ 434 w 728"/>
                <a:gd name="T79" fmla="*/ 721 h 727"/>
                <a:gd name="T80" fmla="*/ 518 w 728"/>
                <a:gd name="T81" fmla="*/ 694 h 727"/>
                <a:gd name="T82" fmla="*/ 594 w 728"/>
                <a:gd name="T83" fmla="*/ 646 h 727"/>
                <a:gd name="T84" fmla="*/ 657 w 728"/>
                <a:gd name="T85" fmla="*/ 581 h 727"/>
                <a:gd name="T86" fmla="*/ 701 w 728"/>
                <a:gd name="T87" fmla="*/ 503 h 727"/>
                <a:gd name="T88" fmla="*/ 725 w 728"/>
                <a:gd name="T89" fmla="*/ 417 h 727"/>
                <a:gd name="T90" fmla="*/ 727 w 728"/>
                <a:gd name="T91" fmla="*/ 328 h 727"/>
                <a:gd name="T92" fmla="*/ 707 w 728"/>
                <a:gd name="T93" fmla="*/ 241 h 727"/>
                <a:gd name="T94" fmla="*/ 668 w 728"/>
                <a:gd name="T95" fmla="*/ 162 h 727"/>
                <a:gd name="T96" fmla="*/ 609 w 728"/>
                <a:gd name="T97" fmla="*/ 94 h 727"/>
                <a:gd name="T98" fmla="*/ 535 w 728"/>
                <a:gd name="T99" fmla="*/ 42 h 727"/>
                <a:gd name="T100" fmla="*/ 453 w 728"/>
                <a:gd name="T101" fmla="*/ 10 h 727"/>
                <a:gd name="T102" fmla="*/ 365 w 728"/>
                <a:gd name="T103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8" h="727">
                  <a:moveTo>
                    <a:pt x="592" y="591"/>
                  </a:moveTo>
                  <a:lnTo>
                    <a:pt x="580" y="603"/>
                  </a:lnTo>
                  <a:lnTo>
                    <a:pt x="568" y="614"/>
                  </a:lnTo>
                  <a:lnTo>
                    <a:pt x="555" y="623"/>
                  </a:lnTo>
                  <a:lnTo>
                    <a:pt x="542" y="633"/>
                  </a:lnTo>
                  <a:lnTo>
                    <a:pt x="528" y="642"/>
                  </a:lnTo>
                  <a:lnTo>
                    <a:pt x="514" y="649"/>
                  </a:lnTo>
                  <a:lnTo>
                    <a:pt x="500" y="655"/>
                  </a:lnTo>
                  <a:lnTo>
                    <a:pt x="486" y="662"/>
                  </a:lnTo>
                  <a:lnTo>
                    <a:pt x="471" y="667"/>
                  </a:lnTo>
                  <a:lnTo>
                    <a:pt x="456" y="673"/>
                  </a:lnTo>
                  <a:lnTo>
                    <a:pt x="441" y="677"/>
                  </a:lnTo>
                  <a:lnTo>
                    <a:pt x="427" y="680"/>
                  </a:lnTo>
                  <a:lnTo>
                    <a:pt x="410" y="682"/>
                  </a:lnTo>
                  <a:lnTo>
                    <a:pt x="396" y="684"/>
                  </a:lnTo>
                  <a:lnTo>
                    <a:pt x="380" y="685"/>
                  </a:lnTo>
                  <a:lnTo>
                    <a:pt x="365" y="685"/>
                  </a:lnTo>
                  <a:lnTo>
                    <a:pt x="350" y="685"/>
                  </a:lnTo>
                  <a:lnTo>
                    <a:pt x="334" y="684"/>
                  </a:lnTo>
                  <a:lnTo>
                    <a:pt x="319" y="682"/>
                  </a:lnTo>
                  <a:lnTo>
                    <a:pt x="303" y="680"/>
                  </a:lnTo>
                  <a:lnTo>
                    <a:pt x="288" y="677"/>
                  </a:lnTo>
                  <a:lnTo>
                    <a:pt x="273" y="673"/>
                  </a:lnTo>
                  <a:lnTo>
                    <a:pt x="258" y="667"/>
                  </a:lnTo>
                  <a:lnTo>
                    <a:pt x="243" y="662"/>
                  </a:lnTo>
                  <a:lnTo>
                    <a:pt x="229" y="655"/>
                  </a:lnTo>
                  <a:lnTo>
                    <a:pt x="214" y="649"/>
                  </a:lnTo>
                  <a:lnTo>
                    <a:pt x="200" y="641"/>
                  </a:lnTo>
                  <a:lnTo>
                    <a:pt x="187" y="632"/>
                  </a:lnTo>
                  <a:lnTo>
                    <a:pt x="173" y="623"/>
                  </a:lnTo>
                  <a:lnTo>
                    <a:pt x="160" y="614"/>
                  </a:lnTo>
                  <a:lnTo>
                    <a:pt x="149" y="603"/>
                  </a:lnTo>
                  <a:lnTo>
                    <a:pt x="136" y="591"/>
                  </a:lnTo>
                  <a:lnTo>
                    <a:pt x="125" y="580"/>
                  </a:lnTo>
                  <a:lnTo>
                    <a:pt x="115" y="567"/>
                  </a:lnTo>
                  <a:lnTo>
                    <a:pt x="104" y="554"/>
                  </a:lnTo>
                  <a:lnTo>
                    <a:pt x="95" y="541"/>
                  </a:lnTo>
                  <a:lnTo>
                    <a:pt x="87" y="527"/>
                  </a:lnTo>
                  <a:lnTo>
                    <a:pt x="79" y="513"/>
                  </a:lnTo>
                  <a:lnTo>
                    <a:pt x="72" y="500"/>
                  </a:lnTo>
                  <a:lnTo>
                    <a:pt x="65" y="485"/>
                  </a:lnTo>
                  <a:lnTo>
                    <a:pt x="60" y="471"/>
                  </a:lnTo>
                  <a:lnTo>
                    <a:pt x="56" y="456"/>
                  </a:lnTo>
                  <a:lnTo>
                    <a:pt x="52" y="441"/>
                  </a:lnTo>
                  <a:lnTo>
                    <a:pt x="48" y="425"/>
                  </a:lnTo>
                  <a:lnTo>
                    <a:pt x="46" y="410"/>
                  </a:lnTo>
                  <a:lnTo>
                    <a:pt x="44" y="395"/>
                  </a:lnTo>
                  <a:lnTo>
                    <a:pt x="43" y="379"/>
                  </a:lnTo>
                  <a:lnTo>
                    <a:pt x="42" y="364"/>
                  </a:lnTo>
                  <a:lnTo>
                    <a:pt x="43" y="348"/>
                  </a:lnTo>
                  <a:lnTo>
                    <a:pt x="44" y="333"/>
                  </a:lnTo>
                  <a:lnTo>
                    <a:pt x="46" y="318"/>
                  </a:lnTo>
                  <a:lnTo>
                    <a:pt x="48" y="302"/>
                  </a:lnTo>
                  <a:lnTo>
                    <a:pt x="52" y="287"/>
                  </a:lnTo>
                  <a:lnTo>
                    <a:pt x="56" y="272"/>
                  </a:lnTo>
                  <a:lnTo>
                    <a:pt x="60" y="257"/>
                  </a:lnTo>
                  <a:lnTo>
                    <a:pt x="65" y="242"/>
                  </a:lnTo>
                  <a:lnTo>
                    <a:pt x="72" y="228"/>
                  </a:lnTo>
                  <a:lnTo>
                    <a:pt x="79" y="214"/>
                  </a:lnTo>
                  <a:lnTo>
                    <a:pt x="87" y="200"/>
                  </a:lnTo>
                  <a:lnTo>
                    <a:pt x="95" y="187"/>
                  </a:lnTo>
                  <a:lnTo>
                    <a:pt x="104" y="174"/>
                  </a:lnTo>
                  <a:lnTo>
                    <a:pt x="115" y="161"/>
                  </a:lnTo>
                  <a:lnTo>
                    <a:pt x="125" y="148"/>
                  </a:lnTo>
                  <a:lnTo>
                    <a:pt x="136" y="136"/>
                  </a:lnTo>
                  <a:lnTo>
                    <a:pt x="148" y="125"/>
                  </a:lnTo>
                  <a:lnTo>
                    <a:pt x="160" y="115"/>
                  </a:lnTo>
                  <a:lnTo>
                    <a:pt x="172" y="104"/>
                  </a:lnTo>
                  <a:lnTo>
                    <a:pt x="185" y="96"/>
                  </a:lnTo>
                  <a:lnTo>
                    <a:pt x="199" y="87"/>
                  </a:lnTo>
                  <a:lnTo>
                    <a:pt x="213" y="80"/>
                  </a:lnTo>
                  <a:lnTo>
                    <a:pt x="227" y="72"/>
                  </a:lnTo>
                  <a:lnTo>
                    <a:pt x="241" y="66"/>
                  </a:lnTo>
                  <a:lnTo>
                    <a:pt x="256" y="61"/>
                  </a:lnTo>
                  <a:lnTo>
                    <a:pt x="271" y="55"/>
                  </a:lnTo>
                  <a:lnTo>
                    <a:pt x="285" y="51"/>
                  </a:lnTo>
                  <a:lnTo>
                    <a:pt x="300" y="48"/>
                  </a:lnTo>
                  <a:lnTo>
                    <a:pt x="316" y="45"/>
                  </a:lnTo>
                  <a:lnTo>
                    <a:pt x="332" y="43"/>
                  </a:lnTo>
                  <a:lnTo>
                    <a:pt x="349" y="41"/>
                  </a:lnTo>
                  <a:lnTo>
                    <a:pt x="365" y="41"/>
                  </a:lnTo>
                  <a:lnTo>
                    <a:pt x="365" y="41"/>
                  </a:lnTo>
                  <a:lnTo>
                    <a:pt x="381" y="41"/>
                  </a:lnTo>
                  <a:lnTo>
                    <a:pt x="397" y="43"/>
                  </a:lnTo>
                  <a:lnTo>
                    <a:pt x="413" y="45"/>
                  </a:lnTo>
                  <a:lnTo>
                    <a:pt x="428" y="48"/>
                  </a:lnTo>
                  <a:lnTo>
                    <a:pt x="444" y="51"/>
                  </a:lnTo>
                  <a:lnTo>
                    <a:pt x="459" y="55"/>
                  </a:lnTo>
                  <a:lnTo>
                    <a:pt x="474" y="61"/>
                  </a:lnTo>
                  <a:lnTo>
                    <a:pt x="487" y="66"/>
                  </a:lnTo>
                  <a:lnTo>
                    <a:pt x="502" y="72"/>
                  </a:lnTo>
                  <a:lnTo>
                    <a:pt x="516" y="80"/>
                  </a:lnTo>
                  <a:lnTo>
                    <a:pt x="530" y="87"/>
                  </a:lnTo>
                  <a:lnTo>
                    <a:pt x="543" y="96"/>
                  </a:lnTo>
                  <a:lnTo>
                    <a:pt x="556" y="104"/>
                  </a:lnTo>
                  <a:lnTo>
                    <a:pt x="569" y="115"/>
                  </a:lnTo>
                  <a:lnTo>
                    <a:pt x="580" y="125"/>
                  </a:lnTo>
                  <a:lnTo>
                    <a:pt x="592" y="136"/>
                  </a:lnTo>
                  <a:lnTo>
                    <a:pt x="603" y="148"/>
                  </a:lnTo>
                  <a:lnTo>
                    <a:pt x="613" y="160"/>
                  </a:lnTo>
                  <a:lnTo>
                    <a:pt x="623" y="173"/>
                  </a:lnTo>
                  <a:lnTo>
                    <a:pt x="633" y="186"/>
                  </a:lnTo>
                  <a:lnTo>
                    <a:pt x="641" y="198"/>
                  </a:lnTo>
                  <a:lnTo>
                    <a:pt x="649" y="212"/>
                  </a:lnTo>
                  <a:lnTo>
                    <a:pt x="655" y="226"/>
                  </a:lnTo>
                  <a:lnTo>
                    <a:pt x="662" y="240"/>
                  </a:lnTo>
                  <a:lnTo>
                    <a:pt x="668" y="255"/>
                  </a:lnTo>
                  <a:lnTo>
                    <a:pt x="672" y="270"/>
                  </a:lnTo>
                  <a:lnTo>
                    <a:pt x="677" y="285"/>
                  </a:lnTo>
                  <a:lnTo>
                    <a:pt x="680" y="300"/>
                  </a:lnTo>
                  <a:lnTo>
                    <a:pt x="683" y="316"/>
                  </a:lnTo>
                  <a:lnTo>
                    <a:pt x="685" y="332"/>
                  </a:lnTo>
                  <a:lnTo>
                    <a:pt x="686" y="348"/>
                  </a:lnTo>
                  <a:lnTo>
                    <a:pt x="686" y="364"/>
                  </a:lnTo>
                  <a:lnTo>
                    <a:pt x="686" y="380"/>
                  </a:lnTo>
                  <a:lnTo>
                    <a:pt x="685" y="396"/>
                  </a:lnTo>
                  <a:lnTo>
                    <a:pt x="683" y="411"/>
                  </a:lnTo>
                  <a:lnTo>
                    <a:pt x="680" y="427"/>
                  </a:lnTo>
                  <a:lnTo>
                    <a:pt x="677" y="442"/>
                  </a:lnTo>
                  <a:lnTo>
                    <a:pt x="672" y="458"/>
                  </a:lnTo>
                  <a:lnTo>
                    <a:pt x="668" y="473"/>
                  </a:lnTo>
                  <a:lnTo>
                    <a:pt x="662" y="487"/>
                  </a:lnTo>
                  <a:lnTo>
                    <a:pt x="655" y="502"/>
                  </a:lnTo>
                  <a:lnTo>
                    <a:pt x="649" y="516"/>
                  </a:lnTo>
                  <a:lnTo>
                    <a:pt x="641" y="529"/>
                  </a:lnTo>
                  <a:lnTo>
                    <a:pt x="633" y="542"/>
                  </a:lnTo>
                  <a:lnTo>
                    <a:pt x="623" y="555"/>
                  </a:lnTo>
                  <a:lnTo>
                    <a:pt x="613" y="568"/>
                  </a:lnTo>
                  <a:lnTo>
                    <a:pt x="603" y="580"/>
                  </a:lnTo>
                  <a:lnTo>
                    <a:pt x="592" y="591"/>
                  </a:lnTo>
                  <a:close/>
                  <a:moveTo>
                    <a:pt x="365" y="0"/>
                  </a:moveTo>
                  <a:lnTo>
                    <a:pt x="365" y="0"/>
                  </a:lnTo>
                  <a:lnTo>
                    <a:pt x="346" y="0"/>
                  </a:lnTo>
                  <a:lnTo>
                    <a:pt x="328" y="1"/>
                  </a:lnTo>
                  <a:lnTo>
                    <a:pt x="310" y="4"/>
                  </a:lnTo>
                  <a:lnTo>
                    <a:pt x="293" y="6"/>
                  </a:lnTo>
                  <a:lnTo>
                    <a:pt x="275" y="10"/>
                  </a:lnTo>
                  <a:lnTo>
                    <a:pt x="258" y="15"/>
                  </a:lnTo>
                  <a:lnTo>
                    <a:pt x="242" y="21"/>
                  </a:lnTo>
                  <a:lnTo>
                    <a:pt x="225" y="27"/>
                  </a:lnTo>
                  <a:lnTo>
                    <a:pt x="209" y="34"/>
                  </a:lnTo>
                  <a:lnTo>
                    <a:pt x="193" y="42"/>
                  </a:lnTo>
                  <a:lnTo>
                    <a:pt x="178" y="51"/>
                  </a:lnTo>
                  <a:lnTo>
                    <a:pt x="163" y="61"/>
                  </a:lnTo>
                  <a:lnTo>
                    <a:pt x="148" y="70"/>
                  </a:lnTo>
                  <a:lnTo>
                    <a:pt x="134" y="82"/>
                  </a:lnTo>
                  <a:lnTo>
                    <a:pt x="120" y="94"/>
                  </a:lnTo>
                  <a:lnTo>
                    <a:pt x="106" y="105"/>
                  </a:lnTo>
                  <a:lnTo>
                    <a:pt x="93" y="119"/>
                  </a:lnTo>
                  <a:lnTo>
                    <a:pt x="81" y="133"/>
                  </a:lnTo>
                  <a:lnTo>
                    <a:pt x="71" y="148"/>
                  </a:lnTo>
                  <a:lnTo>
                    <a:pt x="60" y="163"/>
                  </a:lnTo>
                  <a:lnTo>
                    <a:pt x="50" y="178"/>
                  </a:lnTo>
                  <a:lnTo>
                    <a:pt x="42" y="194"/>
                  </a:lnTo>
                  <a:lnTo>
                    <a:pt x="34" y="210"/>
                  </a:lnTo>
                  <a:lnTo>
                    <a:pt x="27" y="226"/>
                  </a:lnTo>
                  <a:lnTo>
                    <a:pt x="21" y="243"/>
                  </a:lnTo>
                  <a:lnTo>
                    <a:pt x="15" y="260"/>
                  </a:lnTo>
                  <a:lnTo>
                    <a:pt x="11" y="276"/>
                  </a:lnTo>
                  <a:lnTo>
                    <a:pt x="8" y="294"/>
                  </a:lnTo>
                  <a:lnTo>
                    <a:pt x="5" y="312"/>
                  </a:lnTo>
                  <a:lnTo>
                    <a:pt x="2" y="329"/>
                  </a:lnTo>
                  <a:lnTo>
                    <a:pt x="1" y="346"/>
                  </a:lnTo>
                  <a:lnTo>
                    <a:pt x="0" y="364"/>
                  </a:lnTo>
                  <a:lnTo>
                    <a:pt x="1" y="381"/>
                  </a:lnTo>
                  <a:lnTo>
                    <a:pt x="2" y="398"/>
                  </a:lnTo>
                  <a:lnTo>
                    <a:pt x="5" y="416"/>
                  </a:lnTo>
                  <a:lnTo>
                    <a:pt x="8" y="433"/>
                  </a:lnTo>
                  <a:lnTo>
                    <a:pt x="11" y="450"/>
                  </a:lnTo>
                  <a:lnTo>
                    <a:pt x="15" y="467"/>
                  </a:lnTo>
                  <a:lnTo>
                    <a:pt x="21" y="485"/>
                  </a:lnTo>
                  <a:lnTo>
                    <a:pt x="27" y="501"/>
                  </a:lnTo>
                  <a:lnTo>
                    <a:pt x="34" y="517"/>
                  </a:lnTo>
                  <a:lnTo>
                    <a:pt x="42" y="533"/>
                  </a:lnTo>
                  <a:lnTo>
                    <a:pt x="50" y="549"/>
                  </a:lnTo>
                  <a:lnTo>
                    <a:pt x="60" y="564"/>
                  </a:lnTo>
                  <a:lnTo>
                    <a:pt x="71" y="579"/>
                  </a:lnTo>
                  <a:lnTo>
                    <a:pt x="81" y="594"/>
                  </a:lnTo>
                  <a:lnTo>
                    <a:pt x="93" y="607"/>
                  </a:lnTo>
                  <a:lnTo>
                    <a:pt x="106" y="621"/>
                  </a:lnTo>
                  <a:lnTo>
                    <a:pt x="120" y="634"/>
                  </a:lnTo>
                  <a:lnTo>
                    <a:pt x="134" y="646"/>
                  </a:lnTo>
                  <a:lnTo>
                    <a:pt x="149" y="658"/>
                  </a:lnTo>
                  <a:lnTo>
                    <a:pt x="164" y="667"/>
                  </a:lnTo>
                  <a:lnTo>
                    <a:pt x="180" y="677"/>
                  </a:lnTo>
                  <a:lnTo>
                    <a:pt x="195" y="685"/>
                  </a:lnTo>
                  <a:lnTo>
                    <a:pt x="211" y="694"/>
                  </a:lnTo>
                  <a:lnTo>
                    <a:pt x="228" y="700"/>
                  </a:lnTo>
                  <a:lnTo>
                    <a:pt x="244" y="707"/>
                  </a:lnTo>
                  <a:lnTo>
                    <a:pt x="261" y="712"/>
                  </a:lnTo>
                  <a:lnTo>
                    <a:pt x="278" y="717"/>
                  </a:lnTo>
                  <a:lnTo>
                    <a:pt x="295" y="721"/>
                  </a:lnTo>
                  <a:lnTo>
                    <a:pt x="312" y="724"/>
                  </a:lnTo>
                  <a:lnTo>
                    <a:pt x="329" y="726"/>
                  </a:lnTo>
                  <a:lnTo>
                    <a:pt x="346" y="727"/>
                  </a:lnTo>
                  <a:lnTo>
                    <a:pt x="365" y="727"/>
                  </a:lnTo>
                  <a:lnTo>
                    <a:pt x="382" y="727"/>
                  </a:lnTo>
                  <a:lnTo>
                    <a:pt x="400" y="726"/>
                  </a:lnTo>
                  <a:lnTo>
                    <a:pt x="417" y="724"/>
                  </a:lnTo>
                  <a:lnTo>
                    <a:pt x="434" y="721"/>
                  </a:lnTo>
                  <a:lnTo>
                    <a:pt x="451" y="717"/>
                  </a:lnTo>
                  <a:lnTo>
                    <a:pt x="468" y="712"/>
                  </a:lnTo>
                  <a:lnTo>
                    <a:pt x="485" y="707"/>
                  </a:lnTo>
                  <a:lnTo>
                    <a:pt x="501" y="701"/>
                  </a:lnTo>
                  <a:lnTo>
                    <a:pt x="518" y="694"/>
                  </a:lnTo>
                  <a:lnTo>
                    <a:pt x="534" y="686"/>
                  </a:lnTo>
                  <a:lnTo>
                    <a:pt x="549" y="677"/>
                  </a:lnTo>
                  <a:lnTo>
                    <a:pt x="565" y="668"/>
                  </a:lnTo>
                  <a:lnTo>
                    <a:pt x="580" y="658"/>
                  </a:lnTo>
                  <a:lnTo>
                    <a:pt x="594" y="646"/>
                  </a:lnTo>
                  <a:lnTo>
                    <a:pt x="608" y="634"/>
                  </a:lnTo>
                  <a:lnTo>
                    <a:pt x="622" y="621"/>
                  </a:lnTo>
                  <a:lnTo>
                    <a:pt x="635" y="608"/>
                  </a:lnTo>
                  <a:lnTo>
                    <a:pt x="647" y="595"/>
                  </a:lnTo>
                  <a:lnTo>
                    <a:pt x="657" y="581"/>
                  </a:lnTo>
                  <a:lnTo>
                    <a:pt x="668" y="566"/>
                  </a:lnTo>
                  <a:lnTo>
                    <a:pt x="678" y="551"/>
                  </a:lnTo>
                  <a:lnTo>
                    <a:pt x="686" y="535"/>
                  </a:lnTo>
                  <a:lnTo>
                    <a:pt x="694" y="520"/>
                  </a:lnTo>
                  <a:lnTo>
                    <a:pt x="701" y="503"/>
                  </a:lnTo>
                  <a:lnTo>
                    <a:pt x="707" y="487"/>
                  </a:lnTo>
                  <a:lnTo>
                    <a:pt x="713" y="470"/>
                  </a:lnTo>
                  <a:lnTo>
                    <a:pt x="717" y="453"/>
                  </a:lnTo>
                  <a:lnTo>
                    <a:pt x="721" y="435"/>
                  </a:lnTo>
                  <a:lnTo>
                    <a:pt x="725" y="417"/>
                  </a:lnTo>
                  <a:lnTo>
                    <a:pt x="727" y="399"/>
                  </a:lnTo>
                  <a:lnTo>
                    <a:pt x="728" y="382"/>
                  </a:lnTo>
                  <a:lnTo>
                    <a:pt x="728" y="364"/>
                  </a:lnTo>
                  <a:lnTo>
                    <a:pt x="728" y="346"/>
                  </a:lnTo>
                  <a:lnTo>
                    <a:pt x="727" y="328"/>
                  </a:lnTo>
                  <a:lnTo>
                    <a:pt x="725" y="309"/>
                  </a:lnTo>
                  <a:lnTo>
                    <a:pt x="721" y="292"/>
                  </a:lnTo>
                  <a:lnTo>
                    <a:pt x="717" y="274"/>
                  </a:lnTo>
                  <a:lnTo>
                    <a:pt x="713" y="257"/>
                  </a:lnTo>
                  <a:lnTo>
                    <a:pt x="707" y="241"/>
                  </a:lnTo>
                  <a:lnTo>
                    <a:pt x="701" y="224"/>
                  </a:lnTo>
                  <a:lnTo>
                    <a:pt x="694" y="208"/>
                  </a:lnTo>
                  <a:lnTo>
                    <a:pt x="686" y="192"/>
                  </a:lnTo>
                  <a:lnTo>
                    <a:pt x="678" y="177"/>
                  </a:lnTo>
                  <a:lnTo>
                    <a:pt x="668" y="162"/>
                  </a:lnTo>
                  <a:lnTo>
                    <a:pt x="657" y="147"/>
                  </a:lnTo>
                  <a:lnTo>
                    <a:pt x="647" y="133"/>
                  </a:lnTo>
                  <a:lnTo>
                    <a:pt x="635" y="119"/>
                  </a:lnTo>
                  <a:lnTo>
                    <a:pt x="622" y="106"/>
                  </a:lnTo>
                  <a:lnTo>
                    <a:pt x="609" y="94"/>
                  </a:lnTo>
                  <a:lnTo>
                    <a:pt x="595" y="82"/>
                  </a:lnTo>
                  <a:lnTo>
                    <a:pt x="581" y="71"/>
                  </a:lnTo>
                  <a:lnTo>
                    <a:pt x="566" y="61"/>
                  </a:lnTo>
                  <a:lnTo>
                    <a:pt x="552" y="51"/>
                  </a:lnTo>
                  <a:lnTo>
                    <a:pt x="535" y="42"/>
                  </a:lnTo>
                  <a:lnTo>
                    <a:pt x="521" y="34"/>
                  </a:lnTo>
                  <a:lnTo>
                    <a:pt x="503" y="27"/>
                  </a:lnTo>
                  <a:lnTo>
                    <a:pt x="487" y="21"/>
                  </a:lnTo>
                  <a:lnTo>
                    <a:pt x="470" y="15"/>
                  </a:lnTo>
                  <a:lnTo>
                    <a:pt x="453" y="10"/>
                  </a:lnTo>
                  <a:lnTo>
                    <a:pt x="436" y="6"/>
                  </a:lnTo>
                  <a:lnTo>
                    <a:pt x="418" y="4"/>
                  </a:lnTo>
                  <a:lnTo>
                    <a:pt x="401" y="1"/>
                  </a:lnTo>
                  <a:lnTo>
                    <a:pt x="383" y="0"/>
                  </a:lnTo>
                  <a:lnTo>
                    <a:pt x="365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 39"/>
            <p:cNvSpPr>
              <a:spLocks noEditPoints="1"/>
            </p:cNvSpPr>
            <p:nvPr/>
          </p:nvSpPr>
          <p:spPr bwMode="auto">
            <a:xfrm>
              <a:off x="717551" y="5033007"/>
              <a:ext cx="746125" cy="746125"/>
            </a:xfrm>
            <a:custGeom>
              <a:avLst/>
              <a:gdLst>
                <a:gd name="T0" fmla="*/ 2082 w 3290"/>
                <a:gd name="T1" fmla="*/ 2602 h 3287"/>
                <a:gd name="T2" fmla="*/ 1384 w 3290"/>
                <a:gd name="T3" fmla="*/ 2891 h 3287"/>
                <a:gd name="T4" fmla="*/ 685 w 3290"/>
                <a:gd name="T5" fmla="*/ 2602 h 3287"/>
                <a:gd name="T6" fmla="*/ 396 w 3290"/>
                <a:gd name="T7" fmla="*/ 1904 h 3287"/>
                <a:gd name="T8" fmla="*/ 685 w 3290"/>
                <a:gd name="T9" fmla="*/ 1205 h 3287"/>
                <a:gd name="T10" fmla="*/ 1004 w 3290"/>
                <a:gd name="T11" fmla="*/ 992 h 3287"/>
                <a:gd name="T12" fmla="*/ 1382 w 3290"/>
                <a:gd name="T13" fmla="*/ 917 h 3287"/>
                <a:gd name="T14" fmla="*/ 1729 w 3290"/>
                <a:gd name="T15" fmla="*/ 979 h 3287"/>
                <a:gd name="T16" fmla="*/ 2047 w 3290"/>
                <a:gd name="T17" fmla="*/ 1173 h 3287"/>
                <a:gd name="T18" fmla="*/ 1392 w 3290"/>
                <a:gd name="T19" fmla="*/ 1923 h 3287"/>
                <a:gd name="T20" fmla="*/ 2270 w 3290"/>
                <a:gd name="T21" fmla="*/ 1469 h 3287"/>
                <a:gd name="T22" fmla="*/ 2369 w 3290"/>
                <a:gd name="T23" fmla="*/ 1832 h 3287"/>
                <a:gd name="T24" fmla="*/ 2322 w 3290"/>
                <a:gd name="T25" fmla="*/ 2215 h 3287"/>
                <a:gd name="T26" fmla="*/ 2132 w 3290"/>
                <a:gd name="T27" fmla="*/ 2548 h 3287"/>
                <a:gd name="T28" fmla="*/ 2668 w 3290"/>
                <a:gd name="T29" fmla="*/ 2295 h 3287"/>
                <a:gd name="T30" fmla="*/ 2423 w 3290"/>
                <a:gd name="T31" fmla="*/ 2754 h 3287"/>
                <a:gd name="T32" fmla="*/ 1640 w 3290"/>
                <a:gd name="T33" fmla="*/ 3220 h 3287"/>
                <a:gd name="T34" fmla="*/ 645 w 3290"/>
                <a:gd name="T35" fmla="*/ 3024 h 3287"/>
                <a:gd name="T36" fmla="*/ 199 w 3290"/>
                <a:gd name="T37" fmla="*/ 2535 h 3287"/>
                <a:gd name="T38" fmla="*/ 48 w 3290"/>
                <a:gd name="T39" fmla="*/ 2037 h 3287"/>
                <a:gd name="T40" fmla="*/ 99 w 3290"/>
                <a:gd name="T41" fmla="*/ 1512 h 3287"/>
                <a:gd name="T42" fmla="*/ 345 w 3290"/>
                <a:gd name="T43" fmla="*/ 1054 h 3287"/>
                <a:gd name="T44" fmla="*/ 723 w 3290"/>
                <a:gd name="T45" fmla="*/ 735 h 3287"/>
                <a:gd name="T46" fmla="*/ 1217 w 3290"/>
                <a:gd name="T47" fmla="*/ 572 h 3287"/>
                <a:gd name="T48" fmla="*/ 1735 w 3290"/>
                <a:gd name="T49" fmla="*/ 608 h 3287"/>
                <a:gd name="T50" fmla="*/ 2191 w 3290"/>
                <a:gd name="T51" fmla="*/ 833 h 3287"/>
                <a:gd name="T52" fmla="*/ 1897 w 3290"/>
                <a:gd name="T53" fmla="*/ 1012 h 3287"/>
                <a:gd name="T54" fmla="*/ 1532 w 3290"/>
                <a:gd name="T55" fmla="*/ 885 h 3287"/>
                <a:gd name="T56" fmla="*/ 1181 w 3290"/>
                <a:gd name="T57" fmla="*/ 895 h 3287"/>
                <a:gd name="T58" fmla="*/ 812 w 3290"/>
                <a:gd name="T59" fmla="*/ 1046 h 3287"/>
                <a:gd name="T60" fmla="*/ 429 w 3290"/>
                <a:gd name="T61" fmla="*/ 1516 h 3287"/>
                <a:gd name="T62" fmla="*/ 429 w 3290"/>
                <a:gd name="T63" fmla="*/ 2292 h 3287"/>
                <a:gd name="T64" fmla="*/ 816 w 3290"/>
                <a:gd name="T65" fmla="*/ 2764 h 3287"/>
                <a:gd name="T66" fmla="*/ 1187 w 3290"/>
                <a:gd name="T67" fmla="*/ 2914 h 3287"/>
                <a:gd name="T68" fmla="*/ 1581 w 3290"/>
                <a:gd name="T69" fmla="*/ 2914 h 3287"/>
                <a:gd name="T70" fmla="*/ 1951 w 3290"/>
                <a:gd name="T71" fmla="*/ 2764 h 3287"/>
                <a:gd name="T72" fmla="*/ 2240 w 3290"/>
                <a:gd name="T73" fmla="*/ 2475 h 3287"/>
                <a:gd name="T74" fmla="*/ 2393 w 3290"/>
                <a:gd name="T75" fmla="*/ 2107 h 3287"/>
                <a:gd name="T76" fmla="*/ 2393 w 3290"/>
                <a:gd name="T77" fmla="*/ 1705 h 3287"/>
                <a:gd name="T78" fmla="*/ 2248 w 3290"/>
                <a:gd name="T79" fmla="*/ 1344 h 3287"/>
                <a:gd name="T80" fmla="*/ 2489 w 3290"/>
                <a:gd name="T81" fmla="*/ 1143 h 3287"/>
                <a:gd name="T82" fmla="*/ 2693 w 3290"/>
                <a:gd name="T83" fmla="*/ 1612 h 3287"/>
                <a:gd name="T84" fmla="*/ 2952 w 3290"/>
                <a:gd name="T85" fmla="*/ 19 h 3287"/>
                <a:gd name="T86" fmla="*/ 2319 w 3290"/>
                <a:gd name="T87" fmla="*/ 885 h 3287"/>
                <a:gd name="T88" fmla="*/ 1871 w 3290"/>
                <a:gd name="T89" fmla="*/ 608 h 3287"/>
                <a:gd name="T90" fmla="*/ 1348 w 3290"/>
                <a:gd name="T91" fmla="*/ 521 h 3287"/>
                <a:gd name="T92" fmla="*/ 823 w 3290"/>
                <a:gd name="T93" fmla="*/ 638 h 3287"/>
                <a:gd name="T94" fmla="*/ 405 w 3290"/>
                <a:gd name="T95" fmla="*/ 926 h 3287"/>
                <a:gd name="T96" fmla="*/ 105 w 3290"/>
                <a:gd name="T97" fmla="*/ 1373 h 3287"/>
                <a:gd name="T98" fmla="*/ 0 w 3290"/>
                <a:gd name="T99" fmla="*/ 1904 h 3287"/>
                <a:gd name="T100" fmla="*/ 105 w 3290"/>
                <a:gd name="T101" fmla="*/ 2434 h 3287"/>
                <a:gd name="T102" fmla="*/ 405 w 3290"/>
                <a:gd name="T103" fmla="*/ 2882 h 3287"/>
                <a:gd name="T104" fmla="*/ 862 w 3290"/>
                <a:gd name="T105" fmla="*/ 3186 h 3287"/>
                <a:gd name="T106" fmla="*/ 1384 w 3290"/>
                <a:gd name="T107" fmla="*/ 3287 h 3287"/>
                <a:gd name="T108" fmla="*/ 1905 w 3290"/>
                <a:gd name="T109" fmla="*/ 3186 h 3287"/>
                <a:gd name="T110" fmla="*/ 2362 w 3290"/>
                <a:gd name="T111" fmla="*/ 2882 h 3287"/>
                <a:gd name="T112" fmla="*/ 2662 w 3290"/>
                <a:gd name="T113" fmla="*/ 2434 h 3287"/>
                <a:gd name="T114" fmla="*/ 2767 w 3290"/>
                <a:gd name="T115" fmla="*/ 1904 h 3287"/>
                <a:gd name="T116" fmla="*/ 2666 w 3290"/>
                <a:gd name="T117" fmla="*/ 1382 h 3287"/>
                <a:gd name="T118" fmla="*/ 2374 w 3290"/>
                <a:gd name="T119" fmla="*/ 937 h 3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90" h="3287">
                  <a:moveTo>
                    <a:pt x="2915" y="673"/>
                  </a:moveTo>
                  <a:lnTo>
                    <a:pt x="2630" y="649"/>
                  </a:lnTo>
                  <a:lnTo>
                    <a:pt x="2606" y="367"/>
                  </a:lnTo>
                  <a:lnTo>
                    <a:pt x="2913" y="67"/>
                  </a:lnTo>
                  <a:lnTo>
                    <a:pt x="2936" y="334"/>
                  </a:lnTo>
                  <a:lnTo>
                    <a:pt x="2937" y="337"/>
                  </a:lnTo>
                  <a:lnTo>
                    <a:pt x="2938" y="340"/>
                  </a:lnTo>
                  <a:lnTo>
                    <a:pt x="2940" y="343"/>
                  </a:lnTo>
                  <a:lnTo>
                    <a:pt x="2942" y="347"/>
                  </a:lnTo>
                  <a:lnTo>
                    <a:pt x="2946" y="349"/>
                  </a:lnTo>
                  <a:lnTo>
                    <a:pt x="2949" y="350"/>
                  </a:lnTo>
                  <a:lnTo>
                    <a:pt x="2952" y="352"/>
                  </a:lnTo>
                  <a:lnTo>
                    <a:pt x="2956" y="352"/>
                  </a:lnTo>
                  <a:lnTo>
                    <a:pt x="3220" y="376"/>
                  </a:lnTo>
                  <a:lnTo>
                    <a:pt x="2915" y="673"/>
                  </a:lnTo>
                  <a:close/>
                  <a:moveTo>
                    <a:pt x="2082" y="2602"/>
                  </a:moveTo>
                  <a:lnTo>
                    <a:pt x="2045" y="2638"/>
                  </a:lnTo>
                  <a:lnTo>
                    <a:pt x="2007" y="2670"/>
                  </a:lnTo>
                  <a:lnTo>
                    <a:pt x="1968" y="2701"/>
                  </a:lnTo>
                  <a:lnTo>
                    <a:pt x="1927" y="2728"/>
                  </a:lnTo>
                  <a:lnTo>
                    <a:pt x="1886" y="2754"/>
                  </a:lnTo>
                  <a:lnTo>
                    <a:pt x="1843" y="2778"/>
                  </a:lnTo>
                  <a:lnTo>
                    <a:pt x="1800" y="2799"/>
                  </a:lnTo>
                  <a:lnTo>
                    <a:pt x="1755" y="2818"/>
                  </a:lnTo>
                  <a:lnTo>
                    <a:pt x="1710" y="2835"/>
                  </a:lnTo>
                  <a:lnTo>
                    <a:pt x="1666" y="2850"/>
                  </a:lnTo>
                  <a:lnTo>
                    <a:pt x="1620" y="2863"/>
                  </a:lnTo>
                  <a:lnTo>
                    <a:pt x="1573" y="2873"/>
                  </a:lnTo>
                  <a:lnTo>
                    <a:pt x="1526" y="2880"/>
                  </a:lnTo>
                  <a:lnTo>
                    <a:pt x="1479" y="2886"/>
                  </a:lnTo>
                  <a:lnTo>
                    <a:pt x="1432" y="2890"/>
                  </a:lnTo>
                  <a:lnTo>
                    <a:pt x="1384" y="2891"/>
                  </a:lnTo>
                  <a:lnTo>
                    <a:pt x="1337" y="2890"/>
                  </a:lnTo>
                  <a:lnTo>
                    <a:pt x="1290" y="2886"/>
                  </a:lnTo>
                  <a:lnTo>
                    <a:pt x="1243" y="2880"/>
                  </a:lnTo>
                  <a:lnTo>
                    <a:pt x="1196" y="2873"/>
                  </a:lnTo>
                  <a:lnTo>
                    <a:pt x="1149" y="2863"/>
                  </a:lnTo>
                  <a:lnTo>
                    <a:pt x="1103" y="2850"/>
                  </a:lnTo>
                  <a:lnTo>
                    <a:pt x="1057" y="2835"/>
                  </a:lnTo>
                  <a:lnTo>
                    <a:pt x="1012" y="2818"/>
                  </a:lnTo>
                  <a:lnTo>
                    <a:pt x="968" y="2799"/>
                  </a:lnTo>
                  <a:lnTo>
                    <a:pt x="924" y="2778"/>
                  </a:lnTo>
                  <a:lnTo>
                    <a:pt x="881" y="2754"/>
                  </a:lnTo>
                  <a:lnTo>
                    <a:pt x="840" y="2728"/>
                  </a:lnTo>
                  <a:lnTo>
                    <a:pt x="799" y="2701"/>
                  </a:lnTo>
                  <a:lnTo>
                    <a:pt x="760" y="2670"/>
                  </a:lnTo>
                  <a:lnTo>
                    <a:pt x="721" y="2638"/>
                  </a:lnTo>
                  <a:lnTo>
                    <a:pt x="685" y="2602"/>
                  </a:lnTo>
                  <a:lnTo>
                    <a:pt x="650" y="2565"/>
                  </a:lnTo>
                  <a:lnTo>
                    <a:pt x="616" y="2528"/>
                  </a:lnTo>
                  <a:lnTo>
                    <a:pt x="587" y="2488"/>
                  </a:lnTo>
                  <a:lnTo>
                    <a:pt x="559" y="2448"/>
                  </a:lnTo>
                  <a:lnTo>
                    <a:pt x="532" y="2406"/>
                  </a:lnTo>
                  <a:lnTo>
                    <a:pt x="509" y="2363"/>
                  </a:lnTo>
                  <a:lnTo>
                    <a:pt x="487" y="2319"/>
                  </a:lnTo>
                  <a:lnTo>
                    <a:pt x="468" y="2276"/>
                  </a:lnTo>
                  <a:lnTo>
                    <a:pt x="452" y="2231"/>
                  </a:lnTo>
                  <a:lnTo>
                    <a:pt x="437" y="2185"/>
                  </a:lnTo>
                  <a:lnTo>
                    <a:pt x="424" y="2139"/>
                  </a:lnTo>
                  <a:lnTo>
                    <a:pt x="415" y="2092"/>
                  </a:lnTo>
                  <a:lnTo>
                    <a:pt x="406" y="2046"/>
                  </a:lnTo>
                  <a:lnTo>
                    <a:pt x="401" y="1998"/>
                  </a:lnTo>
                  <a:lnTo>
                    <a:pt x="397" y="1951"/>
                  </a:lnTo>
                  <a:lnTo>
                    <a:pt x="396" y="1904"/>
                  </a:lnTo>
                  <a:lnTo>
                    <a:pt x="397" y="1856"/>
                  </a:lnTo>
                  <a:lnTo>
                    <a:pt x="401" y="1809"/>
                  </a:lnTo>
                  <a:lnTo>
                    <a:pt x="406" y="1762"/>
                  </a:lnTo>
                  <a:lnTo>
                    <a:pt x="415" y="1715"/>
                  </a:lnTo>
                  <a:lnTo>
                    <a:pt x="424" y="1668"/>
                  </a:lnTo>
                  <a:lnTo>
                    <a:pt x="437" y="1622"/>
                  </a:lnTo>
                  <a:lnTo>
                    <a:pt x="452" y="1576"/>
                  </a:lnTo>
                  <a:lnTo>
                    <a:pt x="468" y="1531"/>
                  </a:lnTo>
                  <a:lnTo>
                    <a:pt x="487" y="1487"/>
                  </a:lnTo>
                  <a:lnTo>
                    <a:pt x="509" y="1444"/>
                  </a:lnTo>
                  <a:lnTo>
                    <a:pt x="532" y="1402"/>
                  </a:lnTo>
                  <a:lnTo>
                    <a:pt x="559" y="1360"/>
                  </a:lnTo>
                  <a:lnTo>
                    <a:pt x="587" y="1320"/>
                  </a:lnTo>
                  <a:lnTo>
                    <a:pt x="616" y="1280"/>
                  </a:lnTo>
                  <a:lnTo>
                    <a:pt x="650" y="1242"/>
                  </a:lnTo>
                  <a:lnTo>
                    <a:pt x="685" y="1205"/>
                  </a:lnTo>
                  <a:lnTo>
                    <a:pt x="702" y="1188"/>
                  </a:lnTo>
                  <a:lnTo>
                    <a:pt x="720" y="1171"/>
                  </a:lnTo>
                  <a:lnTo>
                    <a:pt x="738" y="1155"/>
                  </a:lnTo>
                  <a:lnTo>
                    <a:pt x="757" y="1139"/>
                  </a:lnTo>
                  <a:lnTo>
                    <a:pt x="777" y="1124"/>
                  </a:lnTo>
                  <a:lnTo>
                    <a:pt x="796" y="1109"/>
                  </a:lnTo>
                  <a:lnTo>
                    <a:pt x="815" y="1095"/>
                  </a:lnTo>
                  <a:lnTo>
                    <a:pt x="835" y="1081"/>
                  </a:lnTo>
                  <a:lnTo>
                    <a:pt x="856" y="1069"/>
                  </a:lnTo>
                  <a:lnTo>
                    <a:pt x="876" y="1056"/>
                  </a:lnTo>
                  <a:lnTo>
                    <a:pt x="896" y="1044"/>
                  </a:lnTo>
                  <a:lnTo>
                    <a:pt x="918" y="1032"/>
                  </a:lnTo>
                  <a:lnTo>
                    <a:pt x="939" y="1022"/>
                  </a:lnTo>
                  <a:lnTo>
                    <a:pt x="960" y="1011"/>
                  </a:lnTo>
                  <a:lnTo>
                    <a:pt x="983" y="1000"/>
                  </a:lnTo>
                  <a:lnTo>
                    <a:pt x="1004" y="992"/>
                  </a:lnTo>
                  <a:lnTo>
                    <a:pt x="1027" y="982"/>
                  </a:lnTo>
                  <a:lnTo>
                    <a:pt x="1049" y="974"/>
                  </a:lnTo>
                  <a:lnTo>
                    <a:pt x="1072" y="966"/>
                  </a:lnTo>
                  <a:lnTo>
                    <a:pt x="1095" y="959"/>
                  </a:lnTo>
                  <a:lnTo>
                    <a:pt x="1119" y="952"/>
                  </a:lnTo>
                  <a:lnTo>
                    <a:pt x="1141" y="946"/>
                  </a:lnTo>
                  <a:lnTo>
                    <a:pt x="1165" y="940"/>
                  </a:lnTo>
                  <a:lnTo>
                    <a:pt x="1188" y="936"/>
                  </a:lnTo>
                  <a:lnTo>
                    <a:pt x="1213" y="931"/>
                  </a:lnTo>
                  <a:lnTo>
                    <a:pt x="1236" y="928"/>
                  </a:lnTo>
                  <a:lnTo>
                    <a:pt x="1261" y="924"/>
                  </a:lnTo>
                  <a:lnTo>
                    <a:pt x="1284" y="921"/>
                  </a:lnTo>
                  <a:lnTo>
                    <a:pt x="1309" y="919"/>
                  </a:lnTo>
                  <a:lnTo>
                    <a:pt x="1333" y="918"/>
                  </a:lnTo>
                  <a:lnTo>
                    <a:pt x="1358" y="917"/>
                  </a:lnTo>
                  <a:lnTo>
                    <a:pt x="1382" y="917"/>
                  </a:lnTo>
                  <a:lnTo>
                    <a:pt x="1384" y="917"/>
                  </a:lnTo>
                  <a:lnTo>
                    <a:pt x="1407" y="917"/>
                  </a:lnTo>
                  <a:lnTo>
                    <a:pt x="1431" y="918"/>
                  </a:lnTo>
                  <a:lnTo>
                    <a:pt x="1455" y="919"/>
                  </a:lnTo>
                  <a:lnTo>
                    <a:pt x="1479" y="921"/>
                  </a:lnTo>
                  <a:lnTo>
                    <a:pt x="1502" y="923"/>
                  </a:lnTo>
                  <a:lnTo>
                    <a:pt x="1526" y="927"/>
                  </a:lnTo>
                  <a:lnTo>
                    <a:pt x="1548" y="931"/>
                  </a:lnTo>
                  <a:lnTo>
                    <a:pt x="1572" y="935"/>
                  </a:lnTo>
                  <a:lnTo>
                    <a:pt x="1595" y="939"/>
                  </a:lnTo>
                  <a:lnTo>
                    <a:pt x="1618" y="945"/>
                  </a:lnTo>
                  <a:lnTo>
                    <a:pt x="1640" y="950"/>
                  </a:lnTo>
                  <a:lnTo>
                    <a:pt x="1662" y="957"/>
                  </a:lnTo>
                  <a:lnTo>
                    <a:pt x="1685" y="964"/>
                  </a:lnTo>
                  <a:lnTo>
                    <a:pt x="1707" y="970"/>
                  </a:lnTo>
                  <a:lnTo>
                    <a:pt x="1729" y="979"/>
                  </a:lnTo>
                  <a:lnTo>
                    <a:pt x="1750" y="987"/>
                  </a:lnTo>
                  <a:lnTo>
                    <a:pt x="1772" y="996"/>
                  </a:lnTo>
                  <a:lnTo>
                    <a:pt x="1793" y="1006"/>
                  </a:lnTo>
                  <a:lnTo>
                    <a:pt x="1814" y="1015"/>
                  </a:lnTo>
                  <a:lnTo>
                    <a:pt x="1835" y="1026"/>
                  </a:lnTo>
                  <a:lnTo>
                    <a:pt x="1856" y="1037"/>
                  </a:lnTo>
                  <a:lnTo>
                    <a:pt x="1876" y="1048"/>
                  </a:lnTo>
                  <a:lnTo>
                    <a:pt x="1896" y="1060"/>
                  </a:lnTo>
                  <a:lnTo>
                    <a:pt x="1916" y="1073"/>
                  </a:lnTo>
                  <a:lnTo>
                    <a:pt x="1936" y="1086"/>
                  </a:lnTo>
                  <a:lnTo>
                    <a:pt x="1955" y="1099"/>
                  </a:lnTo>
                  <a:lnTo>
                    <a:pt x="1973" y="1112"/>
                  </a:lnTo>
                  <a:lnTo>
                    <a:pt x="1993" y="1127"/>
                  </a:lnTo>
                  <a:lnTo>
                    <a:pt x="2011" y="1142"/>
                  </a:lnTo>
                  <a:lnTo>
                    <a:pt x="2029" y="1157"/>
                  </a:lnTo>
                  <a:lnTo>
                    <a:pt x="2047" y="1173"/>
                  </a:lnTo>
                  <a:lnTo>
                    <a:pt x="2064" y="1189"/>
                  </a:lnTo>
                  <a:lnTo>
                    <a:pt x="1369" y="1889"/>
                  </a:lnTo>
                  <a:lnTo>
                    <a:pt x="1366" y="1892"/>
                  </a:lnTo>
                  <a:lnTo>
                    <a:pt x="1364" y="1895"/>
                  </a:lnTo>
                  <a:lnTo>
                    <a:pt x="1363" y="1900"/>
                  </a:lnTo>
                  <a:lnTo>
                    <a:pt x="1363" y="1904"/>
                  </a:lnTo>
                  <a:lnTo>
                    <a:pt x="1363" y="1908"/>
                  </a:lnTo>
                  <a:lnTo>
                    <a:pt x="1364" y="1911"/>
                  </a:lnTo>
                  <a:lnTo>
                    <a:pt x="1366" y="1916"/>
                  </a:lnTo>
                  <a:lnTo>
                    <a:pt x="1369" y="1919"/>
                  </a:lnTo>
                  <a:lnTo>
                    <a:pt x="1372" y="1921"/>
                  </a:lnTo>
                  <a:lnTo>
                    <a:pt x="1376" y="1923"/>
                  </a:lnTo>
                  <a:lnTo>
                    <a:pt x="1379" y="1924"/>
                  </a:lnTo>
                  <a:lnTo>
                    <a:pt x="1384" y="1924"/>
                  </a:lnTo>
                  <a:lnTo>
                    <a:pt x="1388" y="1924"/>
                  </a:lnTo>
                  <a:lnTo>
                    <a:pt x="1392" y="1923"/>
                  </a:lnTo>
                  <a:lnTo>
                    <a:pt x="1395" y="1921"/>
                  </a:lnTo>
                  <a:lnTo>
                    <a:pt x="1399" y="1919"/>
                  </a:lnTo>
                  <a:lnTo>
                    <a:pt x="2094" y="1218"/>
                  </a:lnTo>
                  <a:lnTo>
                    <a:pt x="2111" y="1236"/>
                  </a:lnTo>
                  <a:lnTo>
                    <a:pt x="2127" y="1253"/>
                  </a:lnTo>
                  <a:lnTo>
                    <a:pt x="2142" y="1272"/>
                  </a:lnTo>
                  <a:lnTo>
                    <a:pt x="2157" y="1291"/>
                  </a:lnTo>
                  <a:lnTo>
                    <a:pt x="2172" y="1309"/>
                  </a:lnTo>
                  <a:lnTo>
                    <a:pt x="2186" y="1328"/>
                  </a:lnTo>
                  <a:lnTo>
                    <a:pt x="2200" y="1347"/>
                  </a:lnTo>
                  <a:lnTo>
                    <a:pt x="2213" y="1368"/>
                  </a:lnTo>
                  <a:lnTo>
                    <a:pt x="2225" y="1387"/>
                  </a:lnTo>
                  <a:lnTo>
                    <a:pt x="2237" y="1407"/>
                  </a:lnTo>
                  <a:lnTo>
                    <a:pt x="2249" y="1428"/>
                  </a:lnTo>
                  <a:lnTo>
                    <a:pt x="2260" y="1449"/>
                  </a:lnTo>
                  <a:lnTo>
                    <a:pt x="2270" y="1469"/>
                  </a:lnTo>
                  <a:lnTo>
                    <a:pt x="2281" y="1491"/>
                  </a:lnTo>
                  <a:lnTo>
                    <a:pt x="2291" y="1512"/>
                  </a:lnTo>
                  <a:lnTo>
                    <a:pt x="2299" y="1533"/>
                  </a:lnTo>
                  <a:lnTo>
                    <a:pt x="2308" y="1556"/>
                  </a:lnTo>
                  <a:lnTo>
                    <a:pt x="2316" y="1578"/>
                  </a:lnTo>
                  <a:lnTo>
                    <a:pt x="2324" y="1599"/>
                  </a:lnTo>
                  <a:lnTo>
                    <a:pt x="2330" y="1622"/>
                  </a:lnTo>
                  <a:lnTo>
                    <a:pt x="2337" y="1645"/>
                  </a:lnTo>
                  <a:lnTo>
                    <a:pt x="2343" y="1668"/>
                  </a:lnTo>
                  <a:lnTo>
                    <a:pt x="2348" y="1691"/>
                  </a:lnTo>
                  <a:lnTo>
                    <a:pt x="2353" y="1714"/>
                  </a:lnTo>
                  <a:lnTo>
                    <a:pt x="2357" y="1737"/>
                  </a:lnTo>
                  <a:lnTo>
                    <a:pt x="2360" y="1761"/>
                  </a:lnTo>
                  <a:lnTo>
                    <a:pt x="2363" y="1784"/>
                  </a:lnTo>
                  <a:lnTo>
                    <a:pt x="2366" y="1808"/>
                  </a:lnTo>
                  <a:lnTo>
                    <a:pt x="2369" y="1832"/>
                  </a:lnTo>
                  <a:lnTo>
                    <a:pt x="2370" y="1856"/>
                  </a:lnTo>
                  <a:lnTo>
                    <a:pt x="2371" y="1879"/>
                  </a:lnTo>
                  <a:lnTo>
                    <a:pt x="2371" y="1904"/>
                  </a:lnTo>
                  <a:lnTo>
                    <a:pt x="2371" y="1928"/>
                  </a:lnTo>
                  <a:lnTo>
                    <a:pt x="2370" y="1953"/>
                  </a:lnTo>
                  <a:lnTo>
                    <a:pt x="2369" y="1978"/>
                  </a:lnTo>
                  <a:lnTo>
                    <a:pt x="2366" y="2002"/>
                  </a:lnTo>
                  <a:lnTo>
                    <a:pt x="2363" y="2027"/>
                  </a:lnTo>
                  <a:lnTo>
                    <a:pt x="2360" y="2050"/>
                  </a:lnTo>
                  <a:lnTo>
                    <a:pt x="2357" y="2075"/>
                  </a:lnTo>
                  <a:lnTo>
                    <a:pt x="2351" y="2098"/>
                  </a:lnTo>
                  <a:lnTo>
                    <a:pt x="2347" y="2122"/>
                  </a:lnTo>
                  <a:lnTo>
                    <a:pt x="2341" y="2145"/>
                  </a:lnTo>
                  <a:lnTo>
                    <a:pt x="2335" y="2169"/>
                  </a:lnTo>
                  <a:lnTo>
                    <a:pt x="2329" y="2192"/>
                  </a:lnTo>
                  <a:lnTo>
                    <a:pt x="2322" y="2215"/>
                  </a:lnTo>
                  <a:lnTo>
                    <a:pt x="2313" y="2238"/>
                  </a:lnTo>
                  <a:lnTo>
                    <a:pt x="2306" y="2261"/>
                  </a:lnTo>
                  <a:lnTo>
                    <a:pt x="2296" y="2282"/>
                  </a:lnTo>
                  <a:lnTo>
                    <a:pt x="2286" y="2304"/>
                  </a:lnTo>
                  <a:lnTo>
                    <a:pt x="2277" y="2327"/>
                  </a:lnTo>
                  <a:lnTo>
                    <a:pt x="2266" y="2348"/>
                  </a:lnTo>
                  <a:lnTo>
                    <a:pt x="2255" y="2370"/>
                  </a:lnTo>
                  <a:lnTo>
                    <a:pt x="2244" y="2390"/>
                  </a:lnTo>
                  <a:lnTo>
                    <a:pt x="2232" y="2411"/>
                  </a:lnTo>
                  <a:lnTo>
                    <a:pt x="2219" y="2431"/>
                  </a:lnTo>
                  <a:lnTo>
                    <a:pt x="2205" y="2452"/>
                  </a:lnTo>
                  <a:lnTo>
                    <a:pt x="2192" y="2472"/>
                  </a:lnTo>
                  <a:lnTo>
                    <a:pt x="2177" y="2491"/>
                  </a:lnTo>
                  <a:lnTo>
                    <a:pt x="2163" y="2511"/>
                  </a:lnTo>
                  <a:lnTo>
                    <a:pt x="2147" y="2530"/>
                  </a:lnTo>
                  <a:lnTo>
                    <a:pt x="2132" y="2548"/>
                  </a:lnTo>
                  <a:lnTo>
                    <a:pt x="2115" y="2567"/>
                  </a:lnTo>
                  <a:lnTo>
                    <a:pt x="2099" y="2584"/>
                  </a:lnTo>
                  <a:lnTo>
                    <a:pt x="2082" y="2602"/>
                  </a:lnTo>
                  <a:close/>
                  <a:moveTo>
                    <a:pt x="2725" y="1904"/>
                  </a:moveTo>
                  <a:lnTo>
                    <a:pt x="2725" y="1938"/>
                  </a:lnTo>
                  <a:lnTo>
                    <a:pt x="2723" y="1971"/>
                  </a:lnTo>
                  <a:lnTo>
                    <a:pt x="2722" y="2004"/>
                  </a:lnTo>
                  <a:lnTo>
                    <a:pt x="2719" y="2037"/>
                  </a:lnTo>
                  <a:lnTo>
                    <a:pt x="2716" y="2070"/>
                  </a:lnTo>
                  <a:lnTo>
                    <a:pt x="2710" y="2104"/>
                  </a:lnTo>
                  <a:lnTo>
                    <a:pt x="2706" y="2136"/>
                  </a:lnTo>
                  <a:lnTo>
                    <a:pt x="2700" y="2168"/>
                  </a:lnTo>
                  <a:lnTo>
                    <a:pt x="2693" y="2200"/>
                  </a:lnTo>
                  <a:lnTo>
                    <a:pt x="2686" y="2232"/>
                  </a:lnTo>
                  <a:lnTo>
                    <a:pt x="2677" y="2264"/>
                  </a:lnTo>
                  <a:lnTo>
                    <a:pt x="2668" y="2295"/>
                  </a:lnTo>
                  <a:lnTo>
                    <a:pt x="2658" y="2326"/>
                  </a:lnTo>
                  <a:lnTo>
                    <a:pt x="2647" y="2357"/>
                  </a:lnTo>
                  <a:lnTo>
                    <a:pt x="2637" y="2388"/>
                  </a:lnTo>
                  <a:lnTo>
                    <a:pt x="2624" y="2418"/>
                  </a:lnTo>
                  <a:lnTo>
                    <a:pt x="2611" y="2448"/>
                  </a:lnTo>
                  <a:lnTo>
                    <a:pt x="2598" y="2477"/>
                  </a:lnTo>
                  <a:lnTo>
                    <a:pt x="2583" y="2507"/>
                  </a:lnTo>
                  <a:lnTo>
                    <a:pt x="2568" y="2536"/>
                  </a:lnTo>
                  <a:lnTo>
                    <a:pt x="2552" y="2564"/>
                  </a:lnTo>
                  <a:lnTo>
                    <a:pt x="2536" y="2593"/>
                  </a:lnTo>
                  <a:lnTo>
                    <a:pt x="2519" y="2621"/>
                  </a:lnTo>
                  <a:lnTo>
                    <a:pt x="2501" y="2648"/>
                  </a:lnTo>
                  <a:lnTo>
                    <a:pt x="2483" y="2675"/>
                  </a:lnTo>
                  <a:lnTo>
                    <a:pt x="2464" y="2702"/>
                  </a:lnTo>
                  <a:lnTo>
                    <a:pt x="2443" y="2728"/>
                  </a:lnTo>
                  <a:lnTo>
                    <a:pt x="2423" y="2754"/>
                  </a:lnTo>
                  <a:lnTo>
                    <a:pt x="2402" y="2780"/>
                  </a:lnTo>
                  <a:lnTo>
                    <a:pt x="2379" y="2804"/>
                  </a:lnTo>
                  <a:lnTo>
                    <a:pt x="2357" y="2829"/>
                  </a:lnTo>
                  <a:lnTo>
                    <a:pt x="2333" y="2852"/>
                  </a:lnTo>
                  <a:lnTo>
                    <a:pt x="2283" y="2900"/>
                  </a:lnTo>
                  <a:lnTo>
                    <a:pt x="2231" y="2944"/>
                  </a:lnTo>
                  <a:lnTo>
                    <a:pt x="2177" y="2986"/>
                  </a:lnTo>
                  <a:lnTo>
                    <a:pt x="2123" y="3024"/>
                  </a:lnTo>
                  <a:lnTo>
                    <a:pt x="2066" y="3060"/>
                  </a:lnTo>
                  <a:lnTo>
                    <a:pt x="2009" y="3092"/>
                  </a:lnTo>
                  <a:lnTo>
                    <a:pt x="1949" y="3120"/>
                  </a:lnTo>
                  <a:lnTo>
                    <a:pt x="1889" y="3147"/>
                  </a:lnTo>
                  <a:lnTo>
                    <a:pt x="1828" y="3170"/>
                  </a:lnTo>
                  <a:lnTo>
                    <a:pt x="1766" y="3190"/>
                  </a:lnTo>
                  <a:lnTo>
                    <a:pt x="1703" y="3207"/>
                  </a:lnTo>
                  <a:lnTo>
                    <a:pt x="1640" y="3220"/>
                  </a:lnTo>
                  <a:lnTo>
                    <a:pt x="1576" y="3230"/>
                  </a:lnTo>
                  <a:lnTo>
                    <a:pt x="1512" y="3239"/>
                  </a:lnTo>
                  <a:lnTo>
                    <a:pt x="1448" y="3243"/>
                  </a:lnTo>
                  <a:lnTo>
                    <a:pt x="1384" y="3244"/>
                  </a:lnTo>
                  <a:lnTo>
                    <a:pt x="1319" y="3243"/>
                  </a:lnTo>
                  <a:lnTo>
                    <a:pt x="1254" y="3239"/>
                  </a:lnTo>
                  <a:lnTo>
                    <a:pt x="1190" y="3230"/>
                  </a:lnTo>
                  <a:lnTo>
                    <a:pt x="1127" y="3220"/>
                  </a:lnTo>
                  <a:lnTo>
                    <a:pt x="1064" y="3207"/>
                  </a:lnTo>
                  <a:lnTo>
                    <a:pt x="1001" y="3190"/>
                  </a:lnTo>
                  <a:lnTo>
                    <a:pt x="939" y="3170"/>
                  </a:lnTo>
                  <a:lnTo>
                    <a:pt x="878" y="3147"/>
                  </a:lnTo>
                  <a:lnTo>
                    <a:pt x="818" y="3120"/>
                  </a:lnTo>
                  <a:lnTo>
                    <a:pt x="760" y="3092"/>
                  </a:lnTo>
                  <a:lnTo>
                    <a:pt x="701" y="3060"/>
                  </a:lnTo>
                  <a:lnTo>
                    <a:pt x="645" y="3024"/>
                  </a:lnTo>
                  <a:lnTo>
                    <a:pt x="590" y="2986"/>
                  </a:lnTo>
                  <a:lnTo>
                    <a:pt x="536" y="2944"/>
                  </a:lnTo>
                  <a:lnTo>
                    <a:pt x="485" y="2900"/>
                  </a:lnTo>
                  <a:lnTo>
                    <a:pt x="435" y="2852"/>
                  </a:lnTo>
                  <a:lnTo>
                    <a:pt x="411" y="2829"/>
                  </a:lnTo>
                  <a:lnTo>
                    <a:pt x="389" y="2804"/>
                  </a:lnTo>
                  <a:lnTo>
                    <a:pt x="366" y="2779"/>
                  </a:lnTo>
                  <a:lnTo>
                    <a:pt x="345" y="2754"/>
                  </a:lnTo>
                  <a:lnTo>
                    <a:pt x="325" y="2728"/>
                  </a:lnTo>
                  <a:lnTo>
                    <a:pt x="304" y="2702"/>
                  </a:lnTo>
                  <a:lnTo>
                    <a:pt x="285" y="2675"/>
                  </a:lnTo>
                  <a:lnTo>
                    <a:pt x="266" y="2648"/>
                  </a:lnTo>
                  <a:lnTo>
                    <a:pt x="249" y="2621"/>
                  </a:lnTo>
                  <a:lnTo>
                    <a:pt x="232" y="2593"/>
                  </a:lnTo>
                  <a:lnTo>
                    <a:pt x="215" y="2564"/>
                  </a:lnTo>
                  <a:lnTo>
                    <a:pt x="199" y="2535"/>
                  </a:lnTo>
                  <a:lnTo>
                    <a:pt x="184" y="2506"/>
                  </a:lnTo>
                  <a:lnTo>
                    <a:pt x="170" y="2477"/>
                  </a:lnTo>
                  <a:lnTo>
                    <a:pt x="156" y="2448"/>
                  </a:lnTo>
                  <a:lnTo>
                    <a:pt x="143" y="2418"/>
                  </a:lnTo>
                  <a:lnTo>
                    <a:pt x="131" y="2388"/>
                  </a:lnTo>
                  <a:lnTo>
                    <a:pt x="120" y="2357"/>
                  </a:lnTo>
                  <a:lnTo>
                    <a:pt x="109" y="2326"/>
                  </a:lnTo>
                  <a:lnTo>
                    <a:pt x="99" y="2295"/>
                  </a:lnTo>
                  <a:lnTo>
                    <a:pt x="91" y="2264"/>
                  </a:lnTo>
                  <a:lnTo>
                    <a:pt x="82" y="2232"/>
                  </a:lnTo>
                  <a:lnTo>
                    <a:pt x="75" y="2200"/>
                  </a:lnTo>
                  <a:lnTo>
                    <a:pt x="67" y="2168"/>
                  </a:lnTo>
                  <a:lnTo>
                    <a:pt x="62" y="2136"/>
                  </a:lnTo>
                  <a:lnTo>
                    <a:pt x="57" y="2103"/>
                  </a:lnTo>
                  <a:lnTo>
                    <a:pt x="52" y="2069"/>
                  </a:lnTo>
                  <a:lnTo>
                    <a:pt x="48" y="2037"/>
                  </a:lnTo>
                  <a:lnTo>
                    <a:pt x="46" y="2003"/>
                  </a:lnTo>
                  <a:lnTo>
                    <a:pt x="44" y="1970"/>
                  </a:lnTo>
                  <a:lnTo>
                    <a:pt x="43" y="1937"/>
                  </a:lnTo>
                  <a:lnTo>
                    <a:pt x="42" y="1904"/>
                  </a:lnTo>
                  <a:lnTo>
                    <a:pt x="43" y="1870"/>
                  </a:lnTo>
                  <a:lnTo>
                    <a:pt x="44" y="1837"/>
                  </a:lnTo>
                  <a:lnTo>
                    <a:pt x="46" y="1803"/>
                  </a:lnTo>
                  <a:lnTo>
                    <a:pt x="48" y="1770"/>
                  </a:lnTo>
                  <a:lnTo>
                    <a:pt x="52" y="1737"/>
                  </a:lnTo>
                  <a:lnTo>
                    <a:pt x="57" y="1704"/>
                  </a:lnTo>
                  <a:lnTo>
                    <a:pt x="62" y="1672"/>
                  </a:lnTo>
                  <a:lnTo>
                    <a:pt x="67" y="1639"/>
                  </a:lnTo>
                  <a:lnTo>
                    <a:pt x="75" y="1607"/>
                  </a:lnTo>
                  <a:lnTo>
                    <a:pt x="82" y="1575"/>
                  </a:lnTo>
                  <a:lnTo>
                    <a:pt x="91" y="1544"/>
                  </a:lnTo>
                  <a:lnTo>
                    <a:pt x="99" y="1512"/>
                  </a:lnTo>
                  <a:lnTo>
                    <a:pt x="109" y="1481"/>
                  </a:lnTo>
                  <a:lnTo>
                    <a:pt x="120" y="1450"/>
                  </a:lnTo>
                  <a:lnTo>
                    <a:pt x="131" y="1420"/>
                  </a:lnTo>
                  <a:lnTo>
                    <a:pt x="143" y="1389"/>
                  </a:lnTo>
                  <a:lnTo>
                    <a:pt x="156" y="1359"/>
                  </a:lnTo>
                  <a:lnTo>
                    <a:pt x="170" y="1329"/>
                  </a:lnTo>
                  <a:lnTo>
                    <a:pt x="184" y="1300"/>
                  </a:lnTo>
                  <a:lnTo>
                    <a:pt x="199" y="1272"/>
                  </a:lnTo>
                  <a:lnTo>
                    <a:pt x="215" y="1243"/>
                  </a:lnTo>
                  <a:lnTo>
                    <a:pt x="232" y="1215"/>
                  </a:lnTo>
                  <a:lnTo>
                    <a:pt x="249" y="1186"/>
                  </a:lnTo>
                  <a:lnTo>
                    <a:pt x="266" y="1159"/>
                  </a:lnTo>
                  <a:lnTo>
                    <a:pt x="285" y="1132"/>
                  </a:lnTo>
                  <a:lnTo>
                    <a:pt x="304" y="1105"/>
                  </a:lnTo>
                  <a:lnTo>
                    <a:pt x="325" y="1079"/>
                  </a:lnTo>
                  <a:lnTo>
                    <a:pt x="345" y="1054"/>
                  </a:lnTo>
                  <a:lnTo>
                    <a:pt x="366" y="1028"/>
                  </a:lnTo>
                  <a:lnTo>
                    <a:pt x="389" y="1004"/>
                  </a:lnTo>
                  <a:lnTo>
                    <a:pt x="411" y="979"/>
                  </a:lnTo>
                  <a:lnTo>
                    <a:pt x="435" y="954"/>
                  </a:lnTo>
                  <a:lnTo>
                    <a:pt x="435" y="954"/>
                  </a:lnTo>
                  <a:lnTo>
                    <a:pt x="458" y="932"/>
                  </a:lnTo>
                  <a:lnTo>
                    <a:pt x="483" y="908"/>
                  </a:lnTo>
                  <a:lnTo>
                    <a:pt x="507" y="887"/>
                  </a:lnTo>
                  <a:lnTo>
                    <a:pt x="533" y="866"/>
                  </a:lnTo>
                  <a:lnTo>
                    <a:pt x="559" y="844"/>
                  </a:lnTo>
                  <a:lnTo>
                    <a:pt x="585" y="825"/>
                  </a:lnTo>
                  <a:lnTo>
                    <a:pt x="612" y="805"/>
                  </a:lnTo>
                  <a:lnTo>
                    <a:pt x="639" y="787"/>
                  </a:lnTo>
                  <a:lnTo>
                    <a:pt x="667" y="769"/>
                  </a:lnTo>
                  <a:lnTo>
                    <a:pt x="694" y="751"/>
                  </a:lnTo>
                  <a:lnTo>
                    <a:pt x="723" y="735"/>
                  </a:lnTo>
                  <a:lnTo>
                    <a:pt x="751" y="719"/>
                  </a:lnTo>
                  <a:lnTo>
                    <a:pt x="781" y="704"/>
                  </a:lnTo>
                  <a:lnTo>
                    <a:pt x="810" y="691"/>
                  </a:lnTo>
                  <a:lnTo>
                    <a:pt x="840" y="677"/>
                  </a:lnTo>
                  <a:lnTo>
                    <a:pt x="870" y="664"/>
                  </a:lnTo>
                  <a:lnTo>
                    <a:pt x="900" y="652"/>
                  </a:lnTo>
                  <a:lnTo>
                    <a:pt x="931" y="640"/>
                  </a:lnTo>
                  <a:lnTo>
                    <a:pt x="962" y="630"/>
                  </a:lnTo>
                  <a:lnTo>
                    <a:pt x="993" y="620"/>
                  </a:lnTo>
                  <a:lnTo>
                    <a:pt x="1024" y="610"/>
                  </a:lnTo>
                  <a:lnTo>
                    <a:pt x="1056" y="602"/>
                  </a:lnTo>
                  <a:lnTo>
                    <a:pt x="1088" y="594"/>
                  </a:lnTo>
                  <a:lnTo>
                    <a:pt x="1120" y="588"/>
                  </a:lnTo>
                  <a:lnTo>
                    <a:pt x="1152" y="582"/>
                  </a:lnTo>
                  <a:lnTo>
                    <a:pt x="1184" y="577"/>
                  </a:lnTo>
                  <a:lnTo>
                    <a:pt x="1217" y="572"/>
                  </a:lnTo>
                  <a:lnTo>
                    <a:pt x="1250" y="569"/>
                  </a:lnTo>
                  <a:lnTo>
                    <a:pt x="1283" y="566"/>
                  </a:lnTo>
                  <a:lnTo>
                    <a:pt x="1316" y="563"/>
                  </a:lnTo>
                  <a:lnTo>
                    <a:pt x="1349" y="562"/>
                  </a:lnTo>
                  <a:lnTo>
                    <a:pt x="1384" y="562"/>
                  </a:lnTo>
                  <a:lnTo>
                    <a:pt x="1416" y="562"/>
                  </a:lnTo>
                  <a:lnTo>
                    <a:pt x="1449" y="563"/>
                  </a:lnTo>
                  <a:lnTo>
                    <a:pt x="1481" y="566"/>
                  </a:lnTo>
                  <a:lnTo>
                    <a:pt x="1514" y="569"/>
                  </a:lnTo>
                  <a:lnTo>
                    <a:pt x="1546" y="572"/>
                  </a:lnTo>
                  <a:lnTo>
                    <a:pt x="1578" y="576"/>
                  </a:lnTo>
                  <a:lnTo>
                    <a:pt x="1609" y="582"/>
                  </a:lnTo>
                  <a:lnTo>
                    <a:pt x="1641" y="587"/>
                  </a:lnTo>
                  <a:lnTo>
                    <a:pt x="1673" y="593"/>
                  </a:lnTo>
                  <a:lnTo>
                    <a:pt x="1704" y="601"/>
                  </a:lnTo>
                  <a:lnTo>
                    <a:pt x="1735" y="608"/>
                  </a:lnTo>
                  <a:lnTo>
                    <a:pt x="1766" y="617"/>
                  </a:lnTo>
                  <a:lnTo>
                    <a:pt x="1796" y="626"/>
                  </a:lnTo>
                  <a:lnTo>
                    <a:pt x="1826" y="637"/>
                  </a:lnTo>
                  <a:lnTo>
                    <a:pt x="1856" y="648"/>
                  </a:lnTo>
                  <a:lnTo>
                    <a:pt x="1886" y="660"/>
                  </a:lnTo>
                  <a:lnTo>
                    <a:pt x="1916" y="671"/>
                  </a:lnTo>
                  <a:lnTo>
                    <a:pt x="1944" y="684"/>
                  </a:lnTo>
                  <a:lnTo>
                    <a:pt x="1973" y="698"/>
                  </a:lnTo>
                  <a:lnTo>
                    <a:pt x="2002" y="713"/>
                  </a:lnTo>
                  <a:lnTo>
                    <a:pt x="2030" y="728"/>
                  </a:lnTo>
                  <a:lnTo>
                    <a:pt x="2058" y="743"/>
                  </a:lnTo>
                  <a:lnTo>
                    <a:pt x="2085" y="760"/>
                  </a:lnTo>
                  <a:lnTo>
                    <a:pt x="2112" y="777"/>
                  </a:lnTo>
                  <a:lnTo>
                    <a:pt x="2139" y="794"/>
                  </a:lnTo>
                  <a:lnTo>
                    <a:pt x="2166" y="813"/>
                  </a:lnTo>
                  <a:lnTo>
                    <a:pt x="2191" y="833"/>
                  </a:lnTo>
                  <a:lnTo>
                    <a:pt x="2217" y="852"/>
                  </a:lnTo>
                  <a:lnTo>
                    <a:pt x="2241" y="872"/>
                  </a:lnTo>
                  <a:lnTo>
                    <a:pt x="2266" y="894"/>
                  </a:lnTo>
                  <a:lnTo>
                    <a:pt x="2291" y="915"/>
                  </a:lnTo>
                  <a:lnTo>
                    <a:pt x="2314" y="937"/>
                  </a:lnTo>
                  <a:lnTo>
                    <a:pt x="2094" y="1159"/>
                  </a:lnTo>
                  <a:lnTo>
                    <a:pt x="2076" y="1142"/>
                  </a:lnTo>
                  <a:lnTo>
                    <a:pt x="2057" y="1126"/>
                  </a:lnTo>
                  <a:lnTo>
                    <a:pt x="2038" y="1110"/>
                  </a:lnTo>
                  <a:lnTo>
                    <a:pt x="2019" y="1095"/>
                  </a:lnTo>
                  <a:lnTo>
                    <a:pt x="2000" y="1079"/>
                  </a:lnTo>
                  <a:lnTo>
                    <a:pt x="1980" y="1065"/>
                  </a:lnTo>
                  <a:lnTo>
                    <a:pt x="1959" y="1052"/>
                  </a:lnTo>
                  <a:lnTo>
                    <a:pt x="1939" y="1038"/>
                  </a:lnTo>
                  <a:lnTo>
                    <a:pt x="1919" y="1025"/>
                  </a:lnTo>
                  <a:lnTo>
                    <a:pt x="1897" y="1012"/>
                  </a:lnTo>
                  <a:lnTo>
                    <a:pt x="1876" y="1000"/>
                  </a:lnTo>
                  <a:lnTo>
                    <a:pt x="1855" y="989"/>
                  </a:lnTo>
                  <a:lnTo>
                    <a:pt x="1833" y="978"/>
                  </a:lnTo>
                  <a:lnTo>
                    <a:pt x="1811" y="967"/>
                  </a:lnTo>
                  <a:lnTo>
                    <a:pt x="1790" y="958"/>
                  </a:lnTo>
                  <a:lnTo>
                    <a:pt x="1767" y="948"/>
                  </a:lnTo>
                  <a:lnTo>
                    <a:pt x="1744" y="939"/>
                  </a:lnTo>
                  <a:lnTo>
                    <a:pt x="1721" y="932"/>
                  </a:lnTo>
                  <a:lnTo>
                    <a:pt x="1698" y="923"/>
                  </a:lnTo>
                  <a:lnTo>
                    <a:pt x="1675" y="917"/>
                  </a:lnTo>
                  <a:lnTo>
                    <a:pt x="1652" y="910"/>
                  </a:lnTo>
                  <a:lnTo>
                    <a:pt x="1628" y="904"/>
                  </a:lnTo>
                  <a:lnTo>
                    <a:pt x="1604" y="899"/>
                  </a:lnTo>
                  <a:lnTo>
                    <a:pt x="1580" y="894"/>
                  </a:lnTo>
                  <a:lnTo>
                    <a:pt x="1556" y="889"/>
                  </a:lnTo>
                  <a:lnTo>
                    <a:pt x="1532" y="885"/>
                  </a:lnTo>
                  <a:lnTo>
                    <a:pt x="1507" y="882"/>
                  </a:lnTo>
                  <a:lnTo>
                    <a:pt x="1483" y="880"/>
                  </a:lnTo>
                  <a:lnTo>
                    <a:pt x="1458" y="877"/>
                  </a:lnTo>
                  <a:lnTo>
                    <a:pt x="1433" y="876"/>
                  </a:lnTo>
                  <a:lnTo>
                    <a:pt x="1408" y="875"/>
                  </a:lnTo>
                  <a:lnTo>
                    <a:pt x="1384" y="875"/>
                  </a:lnTo>
                  <a:lnTo>
                    <a:pt x="1384" y="875"/>
                  </a:lnTo>
                  <a:lnTo>
                    <a:pt x="1382" y="875"/>
                  </a:lnTo>
                  <a:lnTo>
                    <a:pt x="1357" y="875"/>
                  </a:lnTo>
                  <a:lnTo>
                    <a:pt x="1331" y="876"/>
                  </a:lnTo>
                  <a:lnTo>
                    <a:pt x="1306" y="877"/>
                  </a:lnTo>
                  <a:lnTo>
                    <a:pt x="1280" y="880"/>
                  </a:lnTo>
                  <a:lnTo>
                    <a:pt x="1255" y="883"/>
                  </a:lnTo>
                  <a:lnTo>
                    <a:pt x="1230" y="886"/>
                  </a:lnTo>
                  <a:lnTo>
                    <a:pt x="1205" y="890"/>
                  </a:lnTo>
                  <a:lnTo>
                    <a:pt x="1181" y="895"/>
                  </a:lnTo>
                  <a:lnTo>
                    <a:pt x="1156" y="900"/>
                  </a:lnTo>
                  <a:lnTo>
                    <a:pt x="1131" y="905"/>
                  </a:lnTo>
                  <a:lnTo>
                    <a:pt x="1107" y="912"/>
                  </a:lnTo>
                  <a:lnTo>
                    <a:pt x="1082" y="919"/>
                  </a:lnTo>
                  <a:lnTo>
                    <a:pt x="1059" y="927"/>
                  </a:lnTo>
                  <a:lnTo>
                    <a:pt x="1035" y="934"/>
                  </a:lnTo>
                  <a:lnTo>
                    <a:pt x="1012" y="943"/>
                  </a:lnTo>
                  <a:lnTo>
                    <a:pt x="988" y="952"/>
                  </a:lnTo>
                  <a:lnTo>
                    <a:pt x="966" y="962"/>
                  </a:lnTo>
                  <a:lnTo>
                    <a:pt x="942" y="973"/>
                  </a:lnTo>
                  <a:lnTo>
                    <a:pt x="920" y="983"/>
                  </a:lnTo>
                  <a:lnTo>
                    <a:pt x="897" y="995"/>
                  </a:lnTo>
                  <a:lnTo>
                    <a:pt x="876" y="1007"/>
                  </a:lnTo>
                  <a:lnTo>
                    <a:pt x="855" y="1020"/>
                  </a:lnTo>
                  <a:lnTo>
                    <a:pt x="833" y="1032"/>
                  </a:lnTo>
                  <a:lnTo>
                    <a:pt x="812" y="1046"/>
                  </a:lnTo>
                  <a:lnTo>
                    <a:pt x="791" y="1061"/>
                  </a:lnTo>
                  <a:lnTo>
                    <a:pt x="770" y="1076"/>
                  </a:lnTo>
                  <a:lnTo>
                    <a:pt x="750" y="1091"/>
                  </a:lnTo>
                  <a:lnTo>
                    <a:pt x="731" y="1107"/>
                  </a:lnTo>
                  <a:lnTo>
                    <a:pt x="712" y="1123"/>
                  </a:lnTo>
                  <a:lnTo>
                    <a:pt x="692" y="1140"/>
                  </a:lnTo>
                  <a:lnTo>
                    <a:pt x="673" y="1157"/>
                  </a:lnTo>
                  <a:lnTo>
                    <a:pt x="655" y="1175"/>
                  </a:lnTo>
                  <a:lnTo>
                    <a:pt x="619" y="1214"/>
                  </a:lnTo>
                  <a:lnTo>
                    <a:pt x="584" y="1253"/>
                  </a:lnTo>
                  <a:lnTo>
                    <a:pt x="552" y="1295"/>
                  </a:lnTo>
                  <a:lnTo>
                    <a:pt x="524" y="1337"/>
                  </a:lnTo>
                  <a:lnTo>
                    <a:pt x="496" y="1381"/>
                  </a:lnTo>
                  <a:lnTo>
                    <a:pt x="471" y="1424"/>
                  </a:lnTo>
                  <a:lnTo>
                    <a:pt x="449" y="1470"/>
                  </a:lnTo>
                  <a:lnTo>
                    <a:pt x="429" y="1516"/>
                  </a:lnTo>
                  <a:lnTo>
                    <a:pt x="411" y="1563"/>
                  </a:lnTo>
                  <a:lnTo>
                    <a:pt x="396" y="1610"/>
                  </a:lnTo>
                  <a:lnTo>
                    <a:pt x="384" y="1658"/>
                  </a:lnTo>
                  <a:lnTo>
                    <a:pt x="373" y="1706"/>
                  </a:lnTo>
                  <a:lnTo>
                    <a:pt x="364" y="1755"/>
                  </a:lnTo>
                  <a:lnTo>
                    <a:pt x="359" y="1805"/>
                  </a:lnTo>
                  <a:lnTo>
                    <a:pt x="355" y="1854"/>
                  </a:lnTo>
                  <a:lnTo>
                    <a:pt x="354" y="1904"/>
                  </a:lnTo>
                  <a:lnTo>
                    <a:pt x="355" y="1953"/>
                  </a:lnTo>
                  <a:lnTo>
                    <a:pt x="359" y="2002"/>
                  </a:lnTo>
                  <a:lnTo>
                    <a:pt x="364" y="2051"/>
                  </a:lnTo>
                  <a:lnTo>
                    <a:pt x="373" y="2100"/>
                  </a:lnTo>
                  <a:lnTo>
                    <a:pt x="384" y="2148"/>
                  </a:lnTo>
                  <a:lnTo>
                    <a:pt x="396" y="2197"/>
                  </a:lnTo>
                  <a:lnTo>
                    <a:pt x="411" y="2245"/>
                  </a:lnTo>
                  <a:lnTo>
                    <a:pt x="429" y="2292"/>
                  </a:lnTo>
                  <a:lnTo>
                    <a:pt x="449" y="2338"/>
                  </a:lnTo>
                  <a:lnTo>
                    <a:pt x="471" y="2382"/>
                  </a:lnTo>
                  <a:lnTo>
                    <a:pt x="496" y="2427"/>
                  </a:lnTo>
                  <a:lnTo>
                    <a:pt x="524" y="2470"/>
                  </a:lnTo>
                  <a:lnTo>
                    <a:pt x="552" y="2513"/>
                  </a:lnTo>
                  <a:lnTo>
                    <a:pt x="584" y="2553"/>
                  </a:lnTo>
                  <a:lnTo>
                    <a:pt x="619" y="2594"/>
                  </a:lnTo>
                  <a:lnTo>
                    <a:pt x="655" y="2632"/>
                  </a:lnTo>
                  <a:lnTo>
                    <a:pt x="674" y="2650"/>
                  </a:lnTo>
                  <a:lnTo>
                    <a:pt x="693" y="2669"/>
                  </a:lnTo>
                  <a:lnTo>
                    <a:pt x="713" y="2686"/>
                  </a:lnTo>
                  <a:lnTo>
                    <a:pt x="733" y="2703"/>
                  </a:lnTo>
                  <a:lnTo>
                    <a:pt x="753" y="2719"/>
                  </a:lnTo>
                  <a:lnTo>
                    <a:pt x="775" y="2734"/>
                  </a:lnTo>
                  <a:lnTo>
                    <a:pt x="795" y="2749"/>
                  </a:lnTo>
                  <a:lnTo>
                    <a:pt x="816" y="2764"/>
                  </a:lnTo>
                  <a:lnTo>
                    <a:pt x="839" y="2778"/>
                  </a:lnTo>
                  <a:lnTo>
                    <a:pt x="860" y="2790"/>
                  </a:lnTo>
                  <a:lnTo>
                    <a:pt x="882" y="2803"/>
                  </a:lnTo>
                  <a:lnTo>
                    <a:pt x="905" y="2815"/>
                  </a:lnTo>
                  <a:lnTo>
                    <a:pt x="927" y="2827"/>
                  </a:lnTo>
                  <a:lnTo>
                    <a:pt x="950" y="2837"/>
                  </a:lnTo>
                  <a:lnTo>
                    <a:pt x="973" y="2848"/>
                  </a:lnTo>
                  <a:lnTo>
                    <a:pt x="996" y="2858"/>
                  </a:lnTo>
                  <a:lnTo>
                    <a:pt x="1019" y="2866"/>
                  </a:lnTo>
                  <a:lnTo>
                    <a:pt x="1043" y="2875"/>
                  </a:lnTo>
                  <a:lnTo>
                    <a:pt x="1066" y="2883"/>
                  </a:lnTo>
                  <a:lnTo>
                    <a:pt x="1091" y="2891"/>
                  </a:lnTo>
                  <a:lnTo>
                    <a:pt x="1114" y="2897"/>
                  </a:lnTo>
                  <a:lnTo>
                    <a:pt x="1139" y="2904"/>
                  </a:lnTo>
                  <a:lnTo>
                    <a:pt x="1162" y="2909"/>
                  </a:lnTo>
                  <a:lnTo>
                    <a:pt x="1187" y="2914"/>
                  </a:lnTo>
                  <a:lnTo>
                    <a:pt x="1212" y="2919"/>
                  </a:lnTo>
                  <a:lnTo>
                    <a:pt x="1236" y="2922"/>
                  </a:lnTo>
                  <a:lnTo>
                    <a:pt x="1261" y="2925"/>
                  </a:lnTo>
                  <a:lnTo>
                    <a:pt x="1285" y="2928"/>
                  </a:lnTo>
                  <a:lnTo>
                    <a:pt x="1310" y="2930"/>
                  </a:lnTo>
                  <a:lnTo>
                    <a:pt x="1334" y="2931"/>
                  </a:lnTo>
                  <a:lnTo>
                    <a:pt x="1359" y="2932"/>
                  </a:lnTo>
                  <a:lnTo>
                    <a:pt x="1384" y="2932"/>
                  </a:lnTo>
                  <a:lnTo>
                    <a:pt x="1409" y="2932"/>
                  </a:lnTo>
                  <a:lnTo>
                    <a:pt x="1434" y="2931"/>
                  </a:lnTo>
                  <a:lnTo>
                    <a:pt x="1458" y="2930"/>
                  </a:lnTo>
                  <a:lnTo>
                    <a:pt x="1483" y="2928"/>
                  </a:lnTo>
                  <a:lnTo>
                    <a:pt x="1507" y="2925"/>
                  </a:lnTo>
                  <a:lnTo>
                    <a:pt x="1532" y="2922"/>
                  </a:lnTo>
                  <a:lnTo>
                    <a:pt x="1557" y="2919"/>
                  </a:lnTo>
                  <a:lnTo>
                    <a:pt x="1581" y="2914"/>
                  </a:lnTo>
                  <a:lnTo>
                    <a:pt x="1605" y="2909"/>
                  </a:lnTo>
                  <a:lnTo>
                    <a:pt x="1629" y="2904"/>
                  </a:lnTo>
                  <a:lnTo>
                    <a:pt x="1653" y="2897"/>
                  </a:lnTo>
                  <a:lnTo>
                    <a:pt x="1677" y="2891"/>
                  </a:lnTo>
                  <a:lnTo>
                    <a:pt x="1701" y="2883"/>
                  </a:lnTo>
                  <a:lnTo>
                    <a:pt x="1724" y="2875"/>
                  </a:lnTo>
                  <a:lnTo>
                    <a:pt x="1748" y="2866"/>
                  </a:lnTo>
                  <a:lnTo>
                    <a:pt x="1771" y="2858"/>
                  </a:lnTo>
                  <a:lnTo>
                    <a:pt x="1795" y="2848"/>
                  </a:lnTo>
                  <a:lnTo>
                    <a:pt x="1817" y="2837"/>
                  </a:lnTo>
                  <a:lnTo>
                    <a:pt x="1840" y="2827"/>
                  </a:lnTo>
                  <a:lnTo>
                    <a:pt x="1863" y="2815"/>
                  </a:lnTo>
                  <a:lnTo>
                    <a:pt x="1885" y="2803"/>
                  </a:lnTo>
                  <a:lnTo>
                    <a:pt x="1907" y="2790"/>
                  </a:lnTo>
                  <a:lnTo>
                    <a:pt x="1928" y="2778"/>
                  </a:lnTo>
                  <a:lnTo>
                    <a:pt x="1951" y="2764"/>
                  </a:lnTo>
                  <a:lnTo>
                    <a:pt x="1971" y="2750"/>
                  </a:lnTo>
                  <a:lnTo>
                    <a:pt x="1993" y="2735"/>
                  </a:lnTo>
                  <a:lnTo>
                    <a:pt x="2013" y="2719"/>
                  </a:lnTo>
                  <a:lnTo>
                    <a:pt x="2033" y="2703"/>
                  </a:lnTo>
                  <a:lnTo>
                    <a:pt x="2053" y="2686"/>
                  </a:lnTo>
                  <a:lnTo>
                    <a:pt x="2074" y="2669"/>
                  </a:lnTo>
                  <a:lnTo>
                    <a:pt x="2093" y="2650"/>
                  </a:lnTo>
                  <a:lnTo>
                    <a:pt x="2112" y="2632"/>
                  </a:lnTo>
                  <a:lnTo>
                    <a:pt x="2129" y="2614"/>
                  </a:lnTo>
                  <a:lnTo>
                    <a:pt x="2147" y="2595"/>
                  </a:lnTo>
                  <a:lnTo>
                    <a:pt x="2165" y="2576"/>
                  </a:lnTo>
                  <a:lnTo>
                    <a:pt x="2181" y="2556"/>
                  </a:lnTo>
                  <a:lnTo>
                    <a:pt x="2197" y="2537"/>
                  </a:lnTo>
                  <a:lnTo>
                    <a:pt x="2212" y="2517"/>
                  </a:lnTo>
                  <a:lnTo>
                    <a:pt x="2226" y="2497"/>
                  </a:lnTo>
                  <a:lnTo>
                    <a:pt x="2240" y="2475"/>
                  </a:lnTo>
                  <a:lnTo>
                    <a:pt x="2254" y="2454"/>
                  </a:lnTo>
                  <a:lnTo>
                    <a:pt x="2267" y="2433"/>
                  </a:lnTo>
                  <a:lnTo>
                    <a:pt x="2280" y="2411"/>
                  </a:lnTo>
                  <a:lnTo>
                    <a:pt x="2293" y="2389"/>
                  </a:lnTo>
                  <a:lnTo>
                    <a:pt x="2303" y="2367"/>
                  </a:lnTo>
                  <a:lnTo>
                    <a:pt x="2315" y="2344"/>
                  </a:lnTo>
                  <a:lnTo>
                    <a:pt x="2325" y="2321"/>
                  </a:lnTo>
                  <a:lnTo>
                    <a:pt x="2335" y="2299"/>
                  </a:lnTo>
                  <a:lnTo>
                    <a:pt x="2344" y="2276"/>
                  </a:lnTo>
                  <a:lnTo>
                    <a:pt x="2353" y="2252"/>
                  </a:lnTo>
                  <a:lnTo>
                    <a:pt x="2361" y="2229"/>
                  </a:lnTo>
                  <a:lnTo>
                    <a:pt x="2369" y="2204"/>
                  </a:lnTo>
                  <a:lnTo>
                    <a:pt x="2376" y="2181"/>
                  </a:lnTo>
                  <a:lnTo>
                    <a:pt x="2381" y="2156"/>
                  </a:lnTo>
                  <a:lnTo>
                    <a:pt x="2388" y="2131"/>
                  </a:lnTo>
                  <a:lnTo>
                    <a:pt x="2393" y="2107"/>
                  </a:lnTo>
                  <a:lnTo>
                    <a:pt x="2397" y="2082"/>
                  </a:lnTo>
                  <a:lnTo>
                    <a:pt x="2402" y="2057"/>
                  </a:lnTo>
                  <a:lnTo>
                    <a:pt x="2405" y="2032"/>
                  </a:lnTo>
                  <a:lnTo>
                    <a:pt x="2408" y="2006"/>
                  </a:lnTo>
                  <a:lnTo>
                    <a:pt x="2410" y="1981"/>
                  </a:lnTo>
                  <a:lnTo>
                    <a:pt x="2411" y="1955"/>
                  </a:lnTo>
                  <a:lnTo>
                    <a:pt x="2412" y="1930"/>
                  </a:lnTo>
                  <a:lnTo>
                    <a:pt x="2412" y="1904"/>
                  </a:lnTo>
                  <a:lnTo>
                    <a:pt x="2412" y="1879"/>
                  </a:lnTo>
                  <a:lnTo>
                    <a:pt x="2411" y="1854"/>
                  </a:lnTo>
                  <a:lnTo>
                    <a:pt x="2410" y="1829"/>
                  </a:lnTo>
                  <a:lnTo>
                    <a:pt x="2408" y="1803"/>
                  </a:lnTo>
                  <a:lnTo>
                    <a:pt x="2405" y="1779"/>
                  </a:lnTo>
                  <a:lnTo>
                    <a:pt x="2402" y="1754"/>
                  </a:lnTo>
                  <a:lnTo>
                    <a:pt x="2399" y="1730"/>
                  </a:lnTo>
                  <a:lnTo>
                    <a:pt x="2393" y="1705"/>
                  </a:lnTo>
                  <a:lnTo>
                    <a:pt x="2389" y="1682"/>
                  </a:lnTo>
                  <a:lnTo>
                    <a:pt x="2384" y="1657"/>
                  </a:lnTo>
                  <a:lnTo>
                    <a:pt x="2377" y="1634"/>
                  </a:lnTo>
                  <a:lnTo>
                    <a:pt x="2371" y="1610"/>
                  </a:lnTo>
                  <a:lnTo>
                    <a:pt x="2363" y="1587"/>
                  </a:lnTo>
                  <a:lnTo>
                    <a:pt x="2356" y="1563"/>
                  </a:lnTo>
                  <a:lnTo>
                    <a:pt x="2347" y="1541"/>
                  </a:lnTo>
                  <a:lnTo>
                    <a:pt x="2338" y="1517"/>
                  </a:lnTo>
                  <a:lnTo>
                    <a:pt x="2328" y="1495"/>
                  </a:lnTo>
                  <a:lnTo>
                    <a:pt x="2318" y="1472"/>
                  </a:lnTo>
                  <a:lnTo>
                    <a:pt x="2308" y="1451"/>
                  </a:lnTo>
                  <a:lnTo>
                    <a:pt x="2297" y="1429"/>
                  </a:lnTo>
                  <a:lnTo>
                    <a:pt x="2285" y="1407"/>
                  </a:lnTo>
                  <a:lnTo>
                    <a:pt x="2274" y="1386"/>
                  </a:lnTo>
                  <a:lnTo>
                    <a:pt x="2261" y="1365"/>
                  </a:lnTo>
                  <a:lnTo>
                    <a:pt x="2248" y="1344"/>
                  </a:lnTo>
                  <a:lnTo>
                    <a:pt x="2234" y="1324"/>
                  </a:lnTo>
                  <a:lnTo>
                    <a:pt x="2219" y="1304"/>
                  </a:lnTo>
                  <a:lnTo>
                    <a:pt x="2205" y="1283"/>
                  </a:lnTo>
                  <a:lnTo>
                    <a:pt x="2189" y="1264"/>
                  </a:lnTo>
                  <a:lnTo>
                    <a:pt x="2174" y="1245"/>
                  </a:lnTo>
                  <a:lnTo>
                    <a:pt x="2157" y="1226"/>
                  </a:lnTo>
                  <a:lnTo>
                    <a:pt x="2141" y="1208"/>
                  </a:lnTo>
                  <a:lnTo>
                    <a:pt x="2124" y="1189"/>
                  </a:lnTo>
                  <a:lnTo>
                    <a:pt x="2344" y="967"/>
                  </a:lnTo>
                  <a:lnTo>
                    <a:pt x="2366" y="991"/>
                  </a:lnTo>
                  <a:lnTo>
                    <a:pt x="2389" y="1015"/>
                  </a:lnTo>
                  <a:lnTo>
                    <a:pt x="2410" y="1040"/>
                  </a:lnTo>
                  <a:lnTo>
                    <a:pt x="2431" y="1065"/>
                  </a:lnTo>
                  <a:lnTo>
                    <a:pt x="2451" y="1091"/>
                  </a:lnTo>
                  <a:lnTo>
                    <a:pt x="2470" y="1117"/>
                  </a:lnTo>
                  <a:lnTo>
                    <a:pt x="2489" y="1143"/>
                  </a:lnTo>
                  <a:lnTo>
                    <a:pt x="2507" y="1170"/>
                  </a:lnTo>
                  <a:lnTo>
                    <a:pt x="2525" y="1197"/>
                  </a:lnTo>
                  <a:lnTo>
                    <a:pt x="2541" y="1225"/>
                  </a:lnTo>
                  <a:lnTo>
                    <a:pt x="2557" y="1252"/>
                  </a:lnTo>
                  <a:lnTo>
                    <a:pt x="2573" y="1281"/>
                  </a:lnTo>
                  <a:lnTo>
                    <a:pt x="2587" y="1310"/>
                  </a:lnTo>
                  <a:lnTo>
                    <a:pt x="2600" y="1339"/>
                  </a:lnTo>
                  <a:lnTo>
                    <a:pt x="2614" y="1368"/>
                  </a:lnTo>
                  <a:lnTo>
                    <a:pt x="2626" y="1398"/>
                  </a:lnTo>
                  <a:lnTo>
                    <a:pt x="2638" y="1428"/>
                  </a:lnTo>
                  <a:lnTo>
                    <a:pt x="2650" y="1457"/>
                  </a:lnTo>
                  <a:lnTo>
                    <a:pt x="2659" y="1488"/>
                  </a:lnTo>
                  <a:lnTo>
                    <a:pt x="2669" y="1518"/>
                  </a:lnTo>
                  <a:lnTo>
                    <a:pt x="2678" y="1549"/>
                  </a:lnTo>
                  <a:lnTo>
                    <a:pt x="2686" y="1580"/>
                  </a:lnTo>
                  <a:lnTo>
                    <a:pt x="2693" y="1612"/>
                  </a:lnTo>
                  <a:lnTo>
                    <a:pt x="2700" y="1644"/>
                  </a:lnTo>
                  <a:lnTo>
                    <a:pt x="2706" y="1675"/>
                  </a:lnTo>
                  <a:lnTo>
                    <a:pt x="2712" y="1707"/>
                  </a:lnTo>
                  <a:lnTo>
                    <a:pt x="2716" y="1740"/>
                  </a:lnTo>
                  <a:lnTo>
                    <a:pt x="2719" y="1773"/>
                  </a:lnTo>
                  <a:lnTo>
                    <a:pt x="2722" y="1806"/>
                  </a:lnTo>
                  <a:lnTo>
                    <a:pt x="2723" y="1838"/>
                  </a:lnTo>
                  <a:lnTo>
                    <a:pt x="2725" y="1871"/>
                  </a:lnTo>
                  <a:lnTo>
                    <a:pt x="2725" y="1904"/>
                  </a:lnTo>
                  <a:close/>
                  <a:moveTo>
                    <a:pt x="3287" y="351"/>
                  </a:moveTo>
                  <a:lnTo>
                    <a:pt x="3285" y="346"/>
                  </a:lnTo>
                  <a:lnTo>
                    <a:pt x="3281" y="341"/>
                  </a:lnTo>
                  <a:lnTo>
                    <a:pt x="3276" y="338"/>
                  </a:lnTo>
                  <a:lnTo>
                    <a:pt x="3269" y="337"/>
                  </a:lnTo>
                  <a:lnTo>
                    <a:pt x="2976" y="312"/>
                  </a:lnTo>
                  <a:lnTo>
                    <a:pt x="2952" y="19"/>
                  </a:lnTo>
                  <a:lnTo>
                    <a:pt x="2950" y="13"/>
                  </a:lnTo>
                  <a:lnTo>
                    <a:pt x="2948" y="8"/>
                  </a:lnTo>
                  <a:lnTo>
                    <a:pt x="2943" y="4"/>
                  </a:lnTo>
                  <a:lnTo>
                    <a:pt x="2938" y="2"/>
                  </a:lnTo>
                  <a:lnTo>
                    <a:pt x="2933" y="0"/>
                  </a:lnTo>
                  <a:lnTo>
                    <a:pt x="2926" y="1"/>
                  </a:lnTo>
                  <a:lnTo>
                    <a:pt x="2921" y="3"/>
                  </a:lnTo>
                  <a:lnTo>
                    <a:pt x="2917" y="6"/>
                  </a:lnTo>
                  <a:lnTo>
                    <a:pt x="2569" y="343"/>
                  </a:lnTo>
                  <a:lnTo>
                    <a:pt x="2566" y="347"/>
                  </a:lnTo>
                  <a:lnTo>
                    <a:pt x="2565" y="351"/>
                  </a:lnTo>
                  <a:lnTo>
                    <a:pt x="2564" y="355"/>
                  </a:lnTo>
                  <a:lnTo>
                    <a:pt x="2564" y="361"/>
                  </a:lnTo>
                  <a:lnTo>
                    <a:pt x="2590" y="661"/>
                  </a:lnTo>
                  <a:lnTo>
                    <a:pt x="2344" y="907"/>
                  </a:lnTo>
                  <a:lnTo>
                    <a:pt x="2319" y="885"/>
                  </a:lnTo>
                  <a:lnTo>
                    <a:pt x="2294" y="863"/>
                  </a:lnTo>
                  <a:lnTo>
                    <a:pt x="2269" y="840"/>
                  </a:lnTo>
                  <a:lnTo>
                    <a:pt x="2243" y="820"/>
                  </a:lnTo>
                  <a:lnTo>
                    <a:pt x="2217" y="800"/>
                  </a:lnTo>
                  <a:lnTo>
                    <a:pt x="2190" y="779"/>
                  </a:lnTo>
                  <a:lnTo>
                    <a:pt x="2162" y="760"/>
                  </a:lnTo>
                  <a:lnTo>
                    <a:pt x="2135" y="742"/>
                  </a:lnTo>
                  <a:lnTo>
                    <a:pt x="2107" y="725"/>
                  </a:lnTo>
                  <a:lnTo>
                    <a:pt x="2079" y="708"/>
                  </a:lnTo>
                  <a:lnTo>
                    <a:pt x="2050" y="691"/>
                  </a:lnTo>
                  <a:lnTo>
                    <a:pt x="2021" y="676"/>
                  </a:lnTo>
                  <a:lnTo>
                    <a:pt x="1991" y="661"/>
                  </a:lnTo>
                  <a:lnTo>
                    <a:pt x="1963" y="647"/>
                  </a:lnTo>
                  <a:lnTo>
                    <a:pt x="1932" y="633"/>
                  </a:lnTo>
                  <a:lnTo>
                    <a:pt x="1902" y="620"/>
                  </a:lnTo>
                  <a:lnTo>
                    <a:pt x="1871" y="608"/>
                  </a:lnTo>
                  <a:lnTo>
                    <a:pt x="1840" y="598"/>
                  </a:lnTo>
                  <a:lnTo>
                    <a:pt x="1809" y="587"/>
                  </a:lnTo>
                  <a:lnTo>
                    <a:pt x="1778" y="577"/>
                  </a:lnTo>
                  <a:lnTo>
                    <a:pt x="1746" y="568"/>
                  </a:lnTo>
                  <a:lnTo>
                    <a:pt x="1714" y="560"/>
                  </a:lnTo>
                  <a:lnTo>
                    <a:pt x="1682" y="553"/>
                  </a:lnTo>
                  <a:lnTo>
                    <a:pt x="1650" y="545"/>
                  </a:lnTo>
                  <a:lnTo>
                    <a:pt x="1616" y="540"/>
                  </a:lnTo>
                  <a:lnTo>
                    <a:pt x="1583" y="535"/>
                  </a:lnTo>
                  <a:lnTo>
                    <a:pt x="1551" y="530"/>
                  </a:lnTo>
                  <a:lnTo>
                    <a:pt x="1518" y="527"/>
                  </a:lnTo>
                  <a:lnTo>
                    <a:pt x="1484" y="524"/>
                  </a:lnTo>
                  <a:lnTo>
                    <a:pt x="1451" y="522"/>
                  </a:lnTo>
                  <a:lnTo>
                    <a:pt x="1417" y="521"/>
                  </a:lnTo>
                  <a:lnTo>
                    <a:pt x="1384" y="521"/>
                  </a:lnTo>
                  <a:lnTo>
                    <a:pt x="1348" y="521"/>
                  </a:lnTo>
                  <a:lnTo>
                    <a:pt x="1314" y="522"/>
                  </a:lnTo>
                  <a:lnTo>
                    <a:pt x="1280" y="524"/>
                  </a:lnTo>
                  <a:lnTo>
                    <a:pt x="1246" y="527"/>
                  </a:lnTo>
                  <a:lnTo>
                    <a:pt x="1212" y="530"/>
                  </a:lnTo>
                  <a:lnTo>
                    <a:pt x="1178" y="536"/>
                  </a:lnTo>
                  <a:lnTo>
                    <a:pt x="1144" y="541"/>
                  </a:lnTo>
                  <a:lnTo>
                    <a:pt x="1111" y="547"/>
                  </a:lnTo>
                  <a:lnTo>
                    <a:pt x="1078" y="554"/>
                  </a:lnTo>
                  <a:lnTo>
                    <a:pt x="1045" y="561"/>
                  </a:lnTo>
                  <a:lnTo>
                    <a:pt x="1013" y="570"/>
                  </a:lnTo>
                  <a:lnTo>
                    <a:pt x="980" y="579"/>
                  </a:lnTo>
                  <a:lnTo>
                    <a:pt x="948" y="590"/>
                  </a:lnTo>
                  <a:lnTo>
                    <a:pt x="916" y="601"/>
                  </a:lnTo>
                  <a:lnTo>
                    <a:pt x="885" y="613"/>
                  </a:lnTo>
                  <a:lnTo>
                    <a:pt x="854" y="625"/>
                  </a:lnTo>
                  <a:lnTo>
                    <a:pt x="823" y="638"/>
                  </a:lnTo>
                  <a:lnTo>
                    <a:pt x="792" y="652"/>
                  </a:lnTo>
                  <a:lnTo>
                    <a:pt x="762" y="667"/>
                  </a:lnTo>
                  <a:lnTo>
                    <a:pt x="732" y="682"/>
                  </a:lnTo>
                  <a:lnTo>
                    <a:pt x="702" y="699"/>
                  </a:lnTo>
                  <a:lnTo>
                    <a:pt x="673" y="716"/>
                  </a:lnTo>
                  <a:lnTo>
                    <a:pt x="644" y="733"/>
                  </a:lnTo>
                  <a:lnTo>
                    <a:pt x="616" y="751"/>
                  </a:lnTo>
                  <a:lnTo>
                    <a:pt x="588" y="771"/>
                  </a:lnTo>
                  <a:lnTo>
                    <a:pt x="561" y="791"/>
                  </a:lnTo>
                  <a:lnTo>
                    <a:pt x="533" y="811"/>
                  </a:lnTo>
                  <a:lnTo>
                    <a:pt x="506" y="833"/>
                  </a:lnTo>
                  <a:lnTo>
                    <a:pt x="481" y="855"/>
                  </a:lnTo>
                  <a:lnTo>
                    <a:pt x="455" y="877"/>
                  </a:lnTo>
                  <a:lnTo>
                    <a:pt x="429" y="901"/>
                  </a:lnTo>
                  <a:lnTo>
                    <a:pt x="405" y="926"/>
                  </a:lnTo>
                  <a:lnTo>
                    <a:pt x="405" y="926"/>
                  </a:lnTo>
                  <a:lnTo>
                    <a:pt x="380" y="950"/>
                  </a:lnTo>
                  <a:lnTo>
                    <a:pt x="358" y="975"/>
                  </a:lnTo>
                  <a:lnTo>
                    <a:pt x="334" y="1000"/>
                  </a:lnTo>
                  <a:lnTo>
                    <a:pt x="313" y="1027"/>
                  </a:lnTo>
                  <a:lnTo>
                    <a:pt x="292" y="1054"/>
                  </a:lnTo>
                  <a:lnTo>
                    <a:pt x="270" y="1080"/>
                  </a:lnTo>
                  <a:lnTo>
                    <a:pt x="251" y="1108"/>
                  </a:lnTo>
                  <a:lnTo>
                    <a:pt x="232" y="1136"/>
                  </a:lnTo>
                  <a:lnTo>
                    <a:pt x="213" y="1165"/>
                  </a:lnTo>
                  <a:lnTo>
                    <a:pt x="196" y="1194"/>
                  </a:lnTo>
                  <a:lnTo>
                    <a:pt x="178" y="1222"/>
                  </a:lnTo>
                  <a:lnTo>
                    <a:pt x="162" y="1251"/>
                  </a:lnTo>
                  <a:lnTo>
                    <a:pt x="146" y="1281"/>
                  </a:lnTo>
                  <a:lnTo>
                    <a:pt x="131" y="1312"/>
                  </a:lnTo>
                  <a:lnTo>
                    <a:pt x="118" y="1342"/>
                  </a:lnTo>
                  <a:lnTo>
                    <a:pt x="105" y="1373"/>
                  </a:lnTo>
                  <a:lnTo>
                    <a:pt x="92" y="1405"/>
                  </a:lnTo>
                  <a:lnTo>
                    <a:pt x="80" y="1436"/>
                  </a:lnTo>
                  <a:lnTo>
                    <a:pt x="69" y="1468"/>
                  </a:lnTo>
                  <a:lnTo>
                    <a:pt x="60" y="1500"/>
                  </a:lnTo>
                  <a:lnTo>
                    <a:pt x="50" y="1532"/>
                  </a:lnTo>
                  <a:lnTo>
                    <a:pt x="42" y="1565"/>
                  </a:lnTo>
                  <a:lnTo>
                    <a:pt x="33" y="1598"/>
                  </a:lnTo>
                  <a:lnTo>
                    <a:pt x="27" y="1632"/>
                  </a:lnTo>
                  <a:lnTo>
                    <a:pt x="20" y="1665"/>
                  </a:lnTo>
                  <a:lnTo>
                    <a:pt x="15" y="1698"/>
                  </a:lnTo>
                  <a:lnTo>
                    <a:pt x="11" y="1732"/>
                  </a:lnTo>
                  <a:lnTo>
                    <a:pt x="6" y="1766"/>
                  </a:lnTo>
                  <a:lnTo>
                    <a:pt x="4" y="1800"/>
                  </a:lnTo>
                  <a:lnTo>
                    <a:pt x="2" y="1834"/>
                  </a:lnTo>
                  <a:lnTo>
                    <a:pt x="0" y="1869"/>
                  </a:lnTo>
                  <a:lnTo>
                    <a:pt x="0" y="1904"/>
                  </a:lnTo>
                  <a:lnTo>
                    <a:pt x="0" y="1938"/>
                  </a:lnTo>
                  <a:lnTo>
                    <a:pt x="2" y="1972"/>
                  </a:lnTo>
                  <a:lnTo>
                    <a:pt x="4" y="2006"/>
                  </a:lnTo>
                  <a:lnTo>
                    <a:pt x="6" y="2041"/>
                  </a:lnTo>
                  <a:lnTo>
                    <a:pt x="11" y="2075"/>
                  </a:lnTo>
                  <a:lnTo>
                    <a:pt x="15" y="2109"/>
                  </a:lnTo>
                  <a:lnTo>
                    <a:pt x="20" y="2142"/>
                  </a:lnTo>
                  <a:lnTo>
                    <a:pt x="27" y="2176"/>
                  </a:lnTo>
                  <a:lnTo>
                    <a:pt x="33" y="2209"/>
                  </a:lnTo>
                  <a:lnTo>
                    <a:pt x="42" y="2241"/>
                  </a:lnTo>
                  <a:lnTo>
                    <a:pt x="50" y="2274"/>
                  </a:lnTo>
                  <a:lnTo>
                    <a:pt x="60" y="2307"/>
                  </a:lnTo>
                  <a:lnTo>
                    <a:pt x="69" y="2339"/>
                  </a:lnTo>
                  <a:lnTo>
                    <a:pt x="80" y="2371"/>
                  </a:lnTo>
                  <a:lnTo>
                    <a:pt x="92" y="2403"/>
                  </a:lnTo>
                  <a:lnTo>
                    <a:pt x="105" y="2434"/>
                  </a:lnTo>
                  <a:lnTo>
                    <a:pt x="118" y="2465"/>
                  </a:lnTo>
                  <a:lnTo>
                    <a:pt x="131" y="2496"/>
                  </a:lnTo>
                  <a:lnTo>
                    <a:pt x="146" y="2525"/>
                  </a:lnTo>
                  <a:lnTo>
                    <a:pt x="162" y="2555"/>
                  </a:lnTo>
                  <a:lnTo>
                    <a:pt x="178" y="2585"/>
                  </a:lnTo>
                  <a:lnTo>
                    <a:pt x="196" y="2614"/>
                  </a:lnTo>
                  <a:lnTo>
                    <a:pt x="213" y="2643"/>
                  </a:lnTo>
                  <a:lnTo>
                    <a:pt x="232" y="2671"/>
                  </a:lnTo>
                  <a:lnTo>
                    <a:pt x="251" y="2700"/>
                  </a:lnTo>
                  <a:lnTo>
                    <a:pt x="270" y="2726"/>
                  </a:lnTo>
                  <a:lnTo>
                    <a:pt x="292" y="2754"/>
                  </a:lnTo>
                  <a:lnTo>
                    <a:pt x="313" y="2781"/>
                  </a:lnTo>
                  <a:lnTo>
                    <a:pt x="334" y="2806"/>
                  </a:lnTo>
                  <a:lnTo>
                    <a:pt x="358" y="2832"/>
                  </a:lnTo>
                  <a:lnTo>
                    <a:pt x="380" y="2858"/>
                  </a:lnTo>
                  <a:lnTo>
                    <a:pt x="405" y="2882"/>
                  </a:lnTo>
                  <a:lnTo>
                    <a:pt x="431" y="2907"/>
                  </a:lnTo>
                  <a:lnTo>
                    <a:pt x="456" y="2931"/>
                  </a:lnTo>
                  <a:lnTo>
                    <a:pt x="483" y="2955"/>
                  </a:lnTo>
                  <a:lnTo>
                    <a:pt x="510" y="2977"/>
                  </a:lnTo>
                  <a:lnTo>
                    <a:pt x="537" y="2999"/>
                  </a:lnTo>
                  <a:lnTo>
                    <a:pt x="565" y="3020"/>
                  </a:lnTo>
                  <a:lnTo>
                    <a:pt x="593" y="3040"/>
                  </a:lnTo>
                  <a:lnTo>
                    <a:pt x="622" y="3060"/>
                  </a:lnTo>
                  <a:lnTo>
                    <a:pt x="651" y="3078"/>
                  </a:lnTo>
                  <a:lnTo>
                    <a:pt x="679" y="3096"/>
                  </a:lnTo>
                  <a:lnTo>
                    <a:pt x="709" y="3113"/>
                  </a:lnTo>
                  <a:lnTo>
                    <a:pt x="739" y="3129"/>
                  </a:lnTo>
                  <a:lnTo>
                    <a:pt x="769" y="3144"/>
                  </a:lnTo>
                  <a:lnTo>
                    <a:pt x="800" y="3159"/>
                  </a:lnTo>
                  <a:lnTo>
                    <a:pt x="831" y="3173"/>
                  </a:lnTo>
                  <a:lnTo>
                    <a:pt x="862" y="3186"/>
                  </a:lnTo>
                  <a:lnTo>
                    <a:pt x="893" y="3198"/>
                  </a:lnTo>
                  <a:lnTo>
                    <a:pt x="925" y="3209"/>
                  </a:lnTo>
                  <a:lnTo>
                    <a:pt x="957" y="3220"/>
                  </a:lnTo>
                  <a:lnTo>
                    <a:pt x="989" y="3230"/>
                  </a:lnTo>
                  <a:lnTo>
                    <a:pt x="1021" y="3239"/>
                  </a:lnTo>
                  <a:lnTo>
                    <a:pt x="1053" y="3247"/>
                  </a:lnTo>
                  <a:lnTo>
                    <a:pt x="1087" y="3255"/>
                  </a:lnTo>
                  <a:lnTo>
                    <a:pt x="1119" y="3261"/>
                  </a:lnTo>
                  <a:lnTo>
                    <a:pt x="1152" y="3268"/>
                  </a:lnTo>
                  <a:lnTo>
                    <a:pt x="1185" y="3273"/>
                  </a:lnTo>
                  <a:lnTo>
                    <a:pt x="1218" y="3277"/>
                  </a:lnTo>
                  <a:lnTo>
                    <a:pt x="1250" y="3281"/>
                  </a:lnTo>
                  <a:lnTo>
                    <a:pt x="1283" y="3284"/>
                  </a:lnTo>
                  <a:lnTo>
                    <a:pt x="1317" y="3286"/>
                  </a:lnTo>
                  <a:lnTo>
                    <a:pt x="1350" y="3287"/>
                  </a:lnTo>
                  <a:lnTo>
                    <a:pt x="1384" y="3287"/>
                  </a:lnTo>
                  <a:lnTo>
                    <a:pt x="1417" y="3287"/>
                  </a:lnTo>
                  <a:lnTo>
                    <a:pt x="1450" y="3286"/>
                  </a:lnTo>
                  <a:lnTo>
                    <a:pt x="1483" y="3284"/>
                  </a:lnTo>
                  <a:lnTo>
                    <a:pt x="1516" y="3281"/>
                  </a:lnTo>
                  <a:lnTo>
                    <a:pt x="1549" y="3277"/>
                  </a:lnTo>
                  <a:lnTo>
                    <a:pt x="1582" y="3273"/>
                  </a:lnTo>
                  <a:lnTo>
                    <a:pt x="1615" y="3268"/>
                  </a:lnTo>
                  <a:lnTo>
                    <a:pt x="1647" y="3261"/>
                  </a:lnTo>
                  <a:lnTo>
                    <a:pt x="1681" y="3255"/>
                  </a:lnTo>
                  <a:lnTo>
                    <a:pt x="1714" y="3247"/>
                  </a:lnTo>
                  <a:lnTo>
                    <a:pt x="1746" y="3239"/>
                  </a:lnTo>
                  <a:lnTo>
                    <a:pt x="1778" y="3230"/>
                  </a:lnTo>
                  <a:lnTo>
                    <a:pt x="1810" y="3220"/>
                  </a:lnTo>
                  <a:lnTo>
                    <a:pt x="1842" y="3209"/>
                  </a:lnTo>
                  <a:lnTo>
                    <a:pt x="1873" y="3198"/>
                  </a:lnTo>
                  <a:lnTo>
                    <a:pt x="1905" y="3186"/>
                  </a:lnTo>
                  <a:lnTo>
                    <a:pt x="1936" y="3173"/>
                  </a:lnTo>
                  <a:lnTo>
                    <a:pt x="1967" y="3159"/>
                  </a:lnTo>
                  <a:lnTo>
                    <a:pt x="1997" y="3144"/>
                  </a:lnTo>
                  <a:lnTo>
                    <a:pt x="2028" y="3129"/>
                  </a:lnTo>
                  <a:lnTo>
                    <a:pt x="2058" y="3113"/>
                  </a:lnTo>
                  <a:lnTo>
                    <a:pt x="2088" y="3096"/>
                  </a:lnTo>
                  <a:lnTo>
                    <a:pt x="2116" y="3078"/>
                  </a:lnTo>
                  <a:lnTo>
                    <a:pt x="2145" y="3060"/>
                  </a:lnTo>
                  <a:lnTo>
                    <a:pt x="2174" y="3040"/>
                  </a:lnTo>
                  <a:lnTo>
                    <a:pt x="2202" y="3020"/>
                  </a:lnTo>
                  <a:lnTo>
                    <a:pt x="2230" y="2999"/>
                  </a:lnTo>
                  <a:lnTo>
                    <a:pt x="2257" y="2977"/>
                  </a:lnTo>
                  <a:lnTo>
                    <a:pt x="2284" y="2955"/>
                  </a:lnTo>
                  <a:lnTo>
                    <a:pt x="2311" y="2931"/>
                  </a:lnTo>
                  <a:lnTo>
                    <a:pt x="2337" y="2907"/>
                  </a:lnTo>
                  <a:lnTo>
                    <a:pt x="2362" y="2882"/>
                  </a:lnTo>
                  <a:lnTo>
                    <a:pt x="2387" y="2858"/>
                  </a:lnTo>
                  <a:lnTo>
                    <a:pt x="2410" y="2832"/>
                  </a:lnTo>
                  <a:lnTo>
                    <a:pt x="2433" y="2806"/>
                  </a:lnTo>
                  <a:lnTo>
                    <a:pt x="2455" y="2781"/>
                  </a:lnTo>
                  <a:lnTo>
                    <a:pt x="2475" y="2754"/>
                  </a:lnTo>
                  <a:lnTo>
                    <a:pt x="2497" y="2726"/>
                  </a:lnTo>
                  <a:lnTo>
                    <a:pt x="2516" y="2700"/>
                  </a:lnTo>
                  <a:lnTo>
                    <a:pt x="2535" y="2672"/>
                  </a:lnTo>
                  <a:lnTo>
                    <a:pt x="2554" y="2643"/>
                  </a:lnTo>
                  <a:lnTo>
                    <a:pt x="2572" y="2614"/>
                  </a:lnTo>
                  <a:lnTo>
                    <a:pt x="2589" y="2585"/>
                  </a:lnTo>
                  <a:lnTo>
                    <a:pt x="2605" y="2555"/>
                  </a:lnTo>
                  <a:lnTo>
                    <a:pt x="2621" y="2525"/>
                  </a:lnTo>
                  <a:lnTo>
                    <a:pt x="2636" y="2496"/>
                  </a:lnTo>
                  <a:lnTo>
                    <a:pt x="2650" y="2465"/>
                  </a:lnTo>
                  <a:lnTo>
                    <a:pt x="2662" y="2434"/>
                  </a:lnTo>
                  <a:lnTo>
                    <a:pt x="2675" y="2403"/>
                  </a:lnTo>
                  <a:lnTo>
                    <a:pt x="2687" y="2372"/>
                  </a:lnTo>
                  <a:lnTo>
                    <a:pt x="2698" y="2340"/>
                  </a:lnTo>
                  <a:lnTo>
                    <a:pt x="2708" y="2308"/>
                  </a:lnTo>
                  <a:lnTo>
                    <a:pt x="2717" y="2274"/>
                  </a:lnTo>
                  <a:lnTo>
                    <a:pt x="2725" y="2242"/>
                  </a:lnTo>
                  <a:lnTo>
                    <a:pt x="2734" y="2209"/>
                  </a:lnTo>
                  <a:lnTo>
                    <a:pt x="2740" y="2176"/>
                  </a:lnTo>
                  <a:lnTo>
                    <a:pt x="2747" y="2143"/>
                  </a:lnTo>
                  <a:lnTo>
                    <a:pt x="2752" y="2109"/>
                  </a:lnTo>
                  <a:lnTo>
                    <a:pt x="2756" y="2076"/>
                  </a:lnTo>
                  <a:lnTo>
                    <a:pt x="2761" y="2042"/>
                  </a:lnTo>
                  <a:lnTo>
                    <a:pt x="2764" y="2007"/>
                  </a:lnTo>
                  <a:lnTo>
                    <a:pt x="2766" y="1973"/>
                  </a:lnTo>
                  <a:lnTo>
                    <a:pt x="2767" y="1939"/>
                  </a:lnTo>
                  <a:lnTo>
                    <a:pt x="2767" y="1904"/>
                  </a:lnTo>
                  <a:lnTo>
                    <a:pt x="2767" y="1870"/>
                  </a:lnTo>
                  <a:lnTo>
                    <a:pt x="2765" y="1836"/>
                  </a:lnTo>
                  <a:lnTo>
                    <a:pt x="2764" y="1802"/>
                  </a:lnTo>
                  <a:lnTo>
                    <a:pt x="2761" y="1768"/>
                  </a:lnTo>
                  <a:lnTo>
                    <a:pt x="2756" y="1735"/>
                  </a:lnTo>
                  <a:lnTo>
                    <a:pt x="2752" y="1702"/>
                  </a:lnTo>
                  <a:lnTo>
                    <a:pt x="2747" y="1669"/>
                  </a:lnTo>
                  <a:lnTo>
                    <a:pt x="2741" y="1636"/>
                  </a:lnTo>
                  <a:lnTo>
                    <a:pt x="2734" y="1603"/>
                  </a:lnTo>
                  <a:lnTo>
                    <a:pt x="2726" y="1571"/>
                  </a:lnTo>
                  <a:lnTo>
                    <a:pt x="2718" y="1539"/>
                  </a:lnTo>
                  <a:lnTo>
                    <a:pt x="2709" y="1507"/>
                  </a:lnTo>
                  <a:lnTo>
                    <a:pt x="2700" y="1475"/>
                  </a:lnTo>
                  <a:lnTo>
                    <a:pt x="2689" y="1444"/>
                  </a:lnTo>
                  <a:lnTo>
                    <a:pt x="2677" y="1413"/>
                  </a:lnTo>
                  <a:lnTo>
                    <a:pt x="2666" y="1382"/>
                  </a:lnTo>
                  <a:lnTo>
                    <a:pt x="2653" y="1351"/>
                  </a:lnTo>
                  <a:lnTo>
                    <a:pt x="2639" y="1321"/>
                  </a:lnTo>
                  <a:lnTo>
                    <a:pt x="2625" y="1291"/>
                  </a:lnTo>
                  <a:lnTo>
                    <a:pt x="2609" y="1261"/>
                  </a:lnTo>
                  <a:lnTo>
                    <a:pt x="2594" y="1232"/>
                  </a:lnTo>
                  <a:lnTo>
                    <a:pt x="2577" y="1203"/>
                  </a:lnTo>
                  <a:lnTo>
                    <a:pt x="2560" y="1175"/>
                  </a:lnTo>
                  <a:lnTo>
                    <a:pt x="2542" y="1147"/>
                  </a:lnTo>
                  <a:lnTo>
                    <a:pt x="2524" y="1119"/>
                  </a:lnTo>
                  <a:lnTo>
                    <a:pt x="2504" y="1092"/>
                  </a:lnTo>
                  <a:lnTo>
                    <a:pt x="2484" y="1065"/>
                  </a:lnTo>
                  <a:lnTo>
                    <a:pt x="2464" y="1039"/>
                  </a:lnTo>
                  <a:lnTo>
                    <a:pt x="2442" y="1013"/>
                  </a:lnTo>
                  <a:lnTo>
                    <a:pt x="2420" y="987"/>
                  </a:lnTo>
                  <a:lnTo>
                    <a:pt x="2397" y="962"/>
                  </a:lnTo>
                  <a:lnTo>
                    <a:pt x="2374" y="937"/>
                  </a:lnTo>
                  <a:lnTo>
                    <a:pt x="2620" y="691"/>
                  </a:lnTo>
                  <a:lnTo>
                    <a:pt x="2920" y="716"/>
                  </a:lnTo>
                  <a:lnTo>
                    <a:pt x="2921" y="716"/>
                  </a:lnTo>
                  <a:lnTo>
                    <a:pt x="2922" y="716"/>
                  </a:lnTo>
                  <a:lnTo>
                    <a:pt x="2926" y="716"/>
                  </a:lnTo>
                  <a:lnTo>
                    <a:pt x="2929" y="715"/>
                  </a:lnTo>
                  <a:lnTo>
                    <a:pt x="2934" y="713"/>
                  </a:lnTo>
                  <a:lnTo>
                    <a:pt x="2936" y="711"/>
                  </a:lnTo>
                  <a:lnTo>
                    <a:pt x="3283" y="373"/>
                  </a:lnTo>
                  <a:lnTo>
                    <a:pt x="3286" y="368"/>
                  </a:lnTo>
                  <a:lnTo>
                    <a:pt x="3288" y="363"/>
                  </a:lnTo>
                  <a:lnTo>
                    <a:pt x="3290" y="357"/>
                  </a:lnTo>
                  <a:lnTo>
                    <a:pt x="3287" y="35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60" name="budjet1_z"/>
          <p:cNvGrpSpPr/>
          <p:nvPr/>
        </p:nvGrpSpPr>
        <p:grpSpPr>
          <a:xfrm>
            <a:off x="2017678" y="4189979"/>
            <a:ext cx="220118" cy="270272"/>
            <a:chOff x="7342188" y="9069388"/>
            <a:chExt cx="354013" cy="406400"/>
          </a:xfrm>
        </p:grpSpPr>
        <p:sp>
          <p:nvSpPr>
            <p:cNvPr id="61" name="Freeform 104"/>
            <p:cNvSpPr>
              <a:spLocks/>
            </p:cNvSpPr>
            <p:nvPr/>
          </p:nvSpPr>
          <p:spPr bwMode="auto">
            <a:xfrm>
              <a:off x="7443788" y="9072563"/>
              <a:ext cx="147638" cy="74613"/>
            </a:xfrm>
            <a:custGeom>
              <a:avLst/>
              <a:gdLst>
                <a:gd name="T0" fmla="*/ 89 w 372"/>
                <a:gd name="T1" fmla="*/ 187 h 187"/>
                <a:gd name="T2" fmla="*/ 72 w 372"/>
                <a:gd name="T3" fmla="*/ 170 h 187"/>
                <a:gd name="T4" fmla="*/ 59 w 372"/>
                <a:gd name="T5" fmla="*/ 153 h 187"/>
                <a:gd name="T6" fmla="*/ 45 w 372"/>
                <a:gd name="T7" fmla="*/ 134 h 187"/>
                <a:gd name="T8" fmla="*/ 33 w 372"/>
                <a:gd name="T9" fmla="*/ 116 h 187"/>
                <a:gd name="T10" fmla="*/ 23 w 372"/>
                <a:gd name="T11" fmla="*/ 96 h 187"/>
                <a:gd name="T12" fmla="*/ 14 w 372"/>
                <a:gd name="T13" fmla="*/ 75 h 187"/>
                <a:gd name="T14" fmla="*/ 7 w 372"/>
                <a:gd name="T15" fmla="*/ 54 h 187"/>
                <a:gd name="T16" fmla="*/ 0 w 372"/>
                <a:gd name="T17" fmla="*/ 33 h 187"/>
                <a:gd name="T18" fmla="*/ 18 w 372"/>
                <a:gd name="T19" fmla="*/ 24 h 187"/>
                <a:gd name="T20" fmla="*/ 38 w 372"/>
                <a:gd name="T21" fmla="*/ 17 h 187"/>
                <a:gd name="T22" fmla="*/ 60 w 372"/>
                <a:gd name="T23" fmla="*/ 11 h 187"/>
                <a:gd name="T24" fmla="*/ 83 w 372"/>
                <a:gd name="T25" fmla="*/ 6 h 187"/>
                <a:gd name="T26" fmla="*/ 109 w 372"/>
                <a:gd name="T27" fmla="*/ 3 h 187"/>
                <a:gd name="T28" fmla="*/ 135 w 372"/>
                <a:gd name="T29" fmla="*/ 1 h 187"/>
                <a:gd name="T30" fmla="*/ 162 w 372"/>
                <a:gd name="T31" fmla="*/ 0 h 187"/>
                <a:gd name="T32" fmla="*/ 190 w 372"/>
                <a:gd name="T33" fmla="*/ 0 h 187"/>
                <a:gd name="T34" fmla="*/ 217 w 372"/>
                <a:gd name="T35" fmla="*/ 1 h 187"/>
                <a:gd name="T36" fmla="*/ 243 w 372"/>
                <a:gd name="T37" fmla="*/ 2 h 187"/>
                <a:gd name="T38" fmla="*/ 269 w 372"/>
                <a:gd name="T39" fmla="*/ 6 h 187"/>
                <a:gd name="T40" fmla="*/ 293 w 372"/>
                <a:gd name="T41" fmla="*/ 9 h 187"/>
                <a:gd name="T42" fmla="*/ 317 w 372"/>
                <a:gd name="T43" fmla="*/ 14 h 187"/>
                <a:gd name="T44" fmla="*/ 338 w 372"/>
                <a:gd name="T45" fmla="*/ 19 h 187"/>
                <a:gd name="T46" fmla="*/ 356 w 372"/>
                <a:gd name="T47" fmla="*/ 25 h 187"/>
                <a:gd name="T48" fmla="*/ 372 w 372"/>
                <a:gd name="T49" fmla="*/ 33 h 187"/>
                <a:gd name="T50" fmla="*/ 366 w 372"/>
                <a:gd name="T51" fmla="*/ 54 h 187"/>
                <a:gd name="T52" fmla="*/ 359 w 372"/>
                <a:gd name="T53" fmla="*/ 75 h 187"/>
                <a:gd name="T54" fmla="*/ 351 w 372"/>
                <a:gd name="T55" fmla="*/ 96 h 187"/>
                <a:gd name="T56" fmla="*/ 341 w 372"/>
                <a:gd name="T57" fmla="*/ 116 h 187"/>
                <a:gd name="T58" fmla="*/ 332 w 372"/>
                <a:gd name="T59" fmla="*/ 134 h 187"/>
                <a:gd name="T60" fmla="*/ 319 w 372"/>
                <a:gd name="T61" fmla="*/ 153 h 187"/>
                <a:gd name="T62" fmla="*/ 306 w 372"/>
                <a:gd name="T63" fmla="*/ 170 h 187"/>
                <a:gd name="T64" fmla="*/ 291 w 372"/>
                <a:gd name="T65" fmla="*/ 187 h 187"/>
                <a:gd name="T66" fmla="*/ 89 w 372"/>
                <a:gd name="T67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2" h="187">
                  <a:moveTo>
                    <a:pt x="89" y="187"/>
                  </a:moveTo>
                  <a:lnTo>
                    <a:pt x="72" y="170"/>
                  </a:lnTo>
                  <a:lnTo>
                    <a:pt x="59" y="153"/>
                  </a:lnTo>
                  <a:lnTo>
                    <a:pt x="45" y="134"/>
                  </a:lnTo>
                  <a:lnTo>
                    <a:pt x="33" y="116"/>
                  </a:lnTo>
                  <a:lnTo>
                    <a:pt x="23" y="96"/>
                  </a:lnTo>
                  <a:lnTo>
                    <a:pt x="14" y="75"/>
                  </a:lnTo>
                  <a:lnTo>
                    <a:pt x="7" y="54"/>
                  </a:lnTo>
                  <a:lnTo>
                    <a:pt x="0" y="33"/>
                  </a:lnTo>
                  <a:lnTo>
                    <a:pt x="18" y="24"/>
                  </a:lnTo>
                  <a:lnTo>
                    <a:pt x="38" y="17"/>
                  </a:lnTo>
                  <a:lnTo>
                    <a:pt x="60" y="11"/>
                  </a:lnTo>
                  <a:lnTo>
                    <a:pt x="83" y="6"/>
                  </a:lnTo>
                  <a:lnTo>
                    <a:pt x="109" y="3"/>
                  </a:lnTo>
                  <a:lnTo>
                    <a:pt x="135" y="1"/>
                  </a:lnTo>
                  <a:lnTo>
                    <a:pt x="162" y="0"/>
                  </a:lnTo>
                  <a:lnTo>
                    <a:pt x="190" y="0"/>
                  </a:lnTo>
                  <a:lnTo>
                    <a:pt x="217" y="1"/>
                  </a:lnTo>
                  <a:lnTo>
                    <a:pt x="243" y="2"/>
                  </a:lnTo>
                  <a:lnTo>
                    <a:pt x="269" y="6"/>
                  </a:lnTo>
                  <a:lnTo>
                    <a:pt x="293" y="9"/>
                  </a:lnTo>
                  <a:lnTo>
                    <a:pt x="317" y="14"/>
                  </a:lnTo>
                  <a:lnTo>
                    <a:pt x="338" y="19"/>
                  </a:lnTo>
                  <a:lnTo>
                    <a:pt x="356" y="25"/>
                  </a:lnTo>
                  <a:lnTo>
                    <a:pt x="372" y="33"/>
                  </a:lnTo>
                  <a:lnTo>
                    <a:pt x="366" y="54"/>
                  </a:lnTo>
                  <a:lnTo>
                    <a:pt x="359" y="75"/>
                  </a:lnTo>
                  <a:lnTo>
                    <a:pt x="351" y="96"/>
                  </a:lnTo>
                  <a:lnTo>
                    <a:pt x="341" y="116"/>
                  </a:lnTo>
                  <a:lnTo>
                    <a:pt x="332" y="134"/>
                  </a:lnTo>
                  <a:lnTo>
                    <a:pt x="319" y="153"/>
                  </a:lnTo>
                  <a:lnTo>
                    <a:pt x="306" y="170"/>
                  </a:lnTo>
                  <a:lnTo>
                    <a:pt x="291" y="187"/>
                  </a:lnTo>
                  <a:lnTo>
                    <a:pt x="89" y="187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reeform 105"/>
            <p:cNvSpPr>
              <a:spLocks/>
            </p:cNvSpPr>
            <p:nvPr/>
          </p:nvSpPr>
          <p:spPr bwMode="auto">
            <a:xfrm>
              <a:off x="7439025" y="9069388"/>
              <a:ext cx="155575" cy="82550"/>
            </a:xfrm>
            <a:custGeom>
              <a:avLst/>
              <a:gdLst>
                <a:gd name="T0" fmla="*/ 298 w 395"/>
                <a:gd name="T1" fmla="*/ 210 h 212"/>
                <a:gd name="T2" fmla="*/ 292 w 395"/>
                <a:gd name="T3" fmla="*/ 204 h 212"/>
                <a:gd name="T4" fmla="*/ 292 w 395"/>
                <a:gd name="T5" fmla="*/ 196 h 212"/>
                <a:gd name="T6" fmla="*/ 307 w 395"/>
                <a:gd name="T7" fmla="*/ 177 h 212"/>
                <a:gd name="T8" fmla="*/ 329 w 395"/>
                <a:gd name="T9" fmla="*/ 147 h 212"/>
                <a:gd name="T10" fmla="*/ 347 w 395"/>
                <a:gd name="T11" fmla="*/ 113 h 212"/>
                <a:gd name="T12" fmla="*/ 363 w 395"/>
                <a:gd name="T13" fmla="*/ 73 h 212"/>
                <a:gd name="T14" fmla="*/ 353 w 395"/>
                <a:gd name="T15" fmla="*/ 45 h 212"/>
                <a:gd name="T16" fmla="*/ 315 w 395"/>
                <a:gd name="T17" fmla="*/ 35 h 212"/>
                <a:gd name="T18" fmla="*/ 271 w 395"/>
                <a:gd name="T19" fmla="*/ 28 h 212"/>
                <a:gd name="T20" fmla="*/ 223 w 395"/>
                <a:gd name="T21" fmla="*/ 24 h 212"/>
                <a:gd name="T22" fmla="*/ 173 w 395"/>
                <a:gd name="T23" fmla="*/ 24 h 212"/>
                <a:gd name="T24" fmla="*/ 126 w 395"/>
                <a:gd name="T25" fmla="*/ 26 h 212"/>
                <a:gd name="T26" fmla="*/ 82 w 395"/>
                <a:gd name="T27" fmla="*/ 34 h 212"/>
                <a:gd name="T28" fmla="*/ 43 w 395"/>
                <a:gd name="T29" fmla="*/ 44 h 212"/>
                <a:gd name="T30" fmla="*/ 33 w 395"/>
                <a:gd name="T31" fmla="*/ 71 h 212"/>
                <a:gd name="T32" fmla="*/ 48 w 395"/>
                <a:gd name="T33" fmla="*/ 109 h 212"/>
                <a:gd name="T34" fmla="*/ 69 w 395"/>
                <a:gd name="T35" fmla="*/ 144 h 212"/>
                <a:gd name="T36" fmla="*/ 95 w 395"/>
                <a:gd name="T37" fmla="*/ 176 h 212"/>
                <a:gd name="T38" fmla="*/ 113 w 395"/>
                <a:gd name="T39" fmla="*/ 194 h 212"/>
                <a:gd name="T40" fmla="*/ 113 w 395"/>
                <a:gd name="T41" fmla="*/ 204 h 212"/>
                <a:gd name="T42" fmla="*/ 105 w 395"/>
                <a:gd name="T43" fmla="*/ 212 h 212"/>
                <a:gd name="T44" fmla="*/ 96 w 395"/>
                <a:gd name="T45" fmla="*/ 212 h 212"/>
                <a:gd name="T46" fmla="*/ 77 w 395"/>
                <a:gd name="T47" fmla="*/ 192 h 212"/>
                <a:gd name="T48" fmla="*/ 48 w 395"/>
                <a:gd name="T49" fmla="*/ 155 h 212"/>
                <a:gd name="T50" fmla="*/ 25 w 395"/>
                <a:gd name="T51" fmla="*/ 114 h 212"/>
                <a:gd name="T52" fmla="*/ 8 w 395"/>
                <a:gd name="T53" fmla="*/ 71 h 212"/>
                <a:gd name="T54" fmla="*/ 0 w 395"/>
                <a:gd name="T55" fmla="*/ 44 h 212"/>
                <a:gd name="T56" fmla="*/ 4 w 395"/>
                <a:gd name="T57" fmla="*/ 37 h 212"/>
                <a:gd name="T58" fmla="*/ 26 w 395"/>
                <a:gd name="T59" fmla="*/ 26 h 212"/>
                <a:gd name="T60" fmla="*/ 69 w 395"/>
                <a:gd name="T61" fmla="*/ 12 h 212"/>
                <a:gd name="T62" fmla="*/ 121 w 395"/>
                <a:gd name="T63" fmla="*/ 3 h 212"/>
                <a:gd name="T64" fmla="*/ 176 w 395"/>
                <a:gd name="T65" fmla="*/ 0 h 212"/>
                <a:gd name="T66" fmla="*/ 231 w 395"/>
                <a:gd name="T67" fmla="*/ 2 h 212"/>
                <a:gd name="T68" fmla="*/ 286 w 395"/>
                <a:gd name="T69" fmla="*/ 7 h 212"/>
                <a:gd name="T70" fmla="*/ 334 w 395"/>
                <a:gd name="T71" fmla="*/ 15 h 212"/>
                <a:gd name="T72" fmla="*/ 373 w 395"/>
                <a:gd name="T73" fmla="*/ 28 h 212"/>
                <a:gd name="T74" fmla="*/ 393 w 395"/>
                <a:gd name="T75" fmla="*/ 37 h 212"/>
                <a:gd name="T76" fmla="*/ 395 w 395"/>
                <a:gd name="T77" fmla="*/ 44 h 212"/>
                <a:gd name="T78" fmla="*/ 388 w 395"/>
                <a:gd name="T79" fmla="*/ 74 h 212"/>
                <a:gd name="T80" fmla="*/ 371 w 395"/>
                <a:gd name="T81" fmla="*/ 120 h 212"/>
                <a:gd name="T82" fmla="*/ 351 w 395"/>
                <a:gd name="T83" fmla="*/ 160 h 212"/>
                <a:gd name="T84" fmla="*/ 325 w 395"/>
                <a:gd name="T85" fmla="*/ 193 h 212"/>
                <a:gd name="T86" fmla="*/ 307 w 395"/>
                <a:gd name="T87" fmla="*/ 21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5" h="212">
                  <a:moveTo>
                    <a:pt x="303" y="210"/>
                  </a:moveTo>
                  <a:lnTo>
                    <a:pt x="298" y="210"/>
                  </a:lnTo>
                  <a:lnTo>
                    <a:pt x="294" y="209"/>
                  </a:lnTo>
                  <a:lnTo>
                    <a:pt x="292" y="204"/>
                  </a:lnTo>
                  <a:lnTo>
                    <a:pt x="290" y="200"/>
                  </a:lnTo>
                  <a:lnTo>
                    <a:pt x="292" y="196"/>
                  </a:lnTo>
                  <a:lnTo>
                    <a:pt x="294" y="191"/>
                  </a:lnTo>
                  <a:lnTo>
                    <a:pt x="307" y="177"/>
                  </a:lnTo>
                  <a:lnTo>
                    <a:pt x="318" y="162"/>
                  </a:lnTo>
                  <a:lnTo>
                    <a:pt x="329" y="147"/>
                  </a:lnTo>
                  <a:lnTo>
                    <a:pt x="339" y="131"/>
                  </a:lnTo>
                  <a:lnTo>
                    <a:pt x="347" y="113"/>
                  </a:lnTo>
                  <a:lnTo>
                    <a:pt x="356" y="94"/>
                  </a:lnTo>
                  <a:lnTo>
                    <a:pt x="363" y="73"/>
                  </a:lnTo>
                  <a:lnTo>
                    <a:pt x="370" y="51"/>
                  </a:lnTo>
                  <a:lnTo>
                    <a:pt x="353" y="45"/>
                  </a:lnTo>
                  <a:lnTo>
                    <a:pt x="335" y="40"/>
                  </a:lnTo>
                  <a:lnTo>
                    <a:pt x="315" y="35"/>
                  </a:lnTo>
                  <a:lnTo>
                    <a:pt x="293" y="31"/>
                  </a:lnTo>
                  <a:lnTo>
                    <a:pt x="271" y="28"/>
                  </a:lnTo>
                  <a:lnTo>
                    <a:pt x="247" y="25"/>
                  </a:lnTo>
                  <a:lnTo>
                    <a:pt x="223" y="24"/>
                  </a:lnTo>
                  <a:lnTo>
                    <a:pt x="198" y="23"/>
                  </a:lnTo>
                  <a:lnTo>
                    <a:pt x="173" y="24"/>
                  </a:lnTo>
                  <a:lnTo>
                    <a:pt x="150" y="24"/>
                  </a:lnTo>
                  <a:lnTo>
                    <a:pt x="126" y="26"/>
                  </a:lnTo>
                  <a:lnTo>
                    <a:pt x="103" y="29"/>
                  </a:lnTo>
                  <a:lnTo>
                    <a:pt x="82" y="34"/>
                  </a:lnTo>
                  <a:lnTo>
                    <a:pt x="62" y="37"/>
                  </a:lnTo>
                  <a:lnTo>
                    <a:pt x="43" y="44"/>
                  </a:lnTo>
                  <a:lnTo>
                    <a:pt x="27" y="51"/>
                  </a:lnTo>
                  <a:lnTo>
                    <a:pt x="33" y="71"/>
                  </a:lnTo>
                  <a:lnTo>
                    <a:pt x="41" y="91"/>
                  </a:lnTo>
                  <a:lnTo>
                    <a:pt x="48" y="109"/>
                  </a:lnTo>
                  <a:lnTo>
                    <a:pt x="58" y="126"/>
                  </a:lnTo>
                  <a:lnTo>
                    <a:pt x="69" y="144"/>
                  </a:lnTo>
                  <a:lnTo>
                    <a:pt x="82" y="160"/>
                  </a:lnTo>
                  <a:lnTo>
                    <a:pt x="95" y="176"/>
                  </a:lnTo>
                  <a:lnTo>
                    <a:pt x="110" y="191"/>
                  </a:lnTo>
                  <a:lnTo>
                    <a:pt x="113" y="194"/>
                  </a:lnTo>
                  <a:lnTo>
                    <a:pt x="113" y="199"/>
                  </a:lnTo>
                  <a:lnTo>
                    <a:pt x="113" y="204"/>
                  </a:lnTo>
                  <a:lnTo>
                    <a:pt x="110" y="209"/>
                  </a:lnTo>
                  <a:lnTo>
                    <a:pt x="105" y="212"/>
                  </a:lnTo>
                  <a:lnTo>
                    <a:pt x="101" y="212"/>
                  </a:lnTo>
                  <a:lnTo>
                    <a:pt x="96" y="212"/>
                  </a:lnTo>
                  <a:lnTo>
                    <a:pt x="93" y="209"/>
                  </a:lnTo>
                  <a:lnTo>
                    <a:pt x="77" y="192"/>
                  </a:lnTo>
                  <a:lnTo>
                    <a:pt x="62" y="173"/>
                  </a:lnTo>
                  <a:lnTo>
                    <a:pt x="48" y="155"/>
                  </a:lnTo>
                  <a:lnTo>
                    <a:pt x="36" y="135"/>
                  </a:lnTo>
                  <a:lnTo>
                    <a:pt x="25" y="114"/>
                  </a:lnTo>
                  <a:lnTo>
                    <a:pt x="15" y="93"/>
                  </a:lnTo>
                  <a:lnTo>
                    <a:pt x="8" y="71"/>
                  </a:lnTo>
                  <a:lnTo>
                    <a:pt x="1" y="49"/>
                  </a:lnTo>
                  <a:lnTo>
                    <a:pt x="0" y="44"/>
                  </a:lnTo>
                  <a:lnTo>
                    <a:pt x="1" y="40"/>
                  </a:lnTo>
                  <a:lnTo>
                    <a:pt x="4" y="37"/>
                  </a:lnTo>
                  <a:lnTo>
                    <a:pt x="8" y="35"/>
                  </a:lnTo>
                  <a:lnTo>
                    <a:pt x="26" y="26"/>
                  </a:lnTo>
                  <a:lnTo>
                    <a:pt x="47" y="18"/>
                  </a:lnTo>
                  <a:lnTo>
                    <a:pt x="69" y="12"/>
                  </a:lnTo>
                  <a:lnTo>
                    <a:pt x="94" y="7"/>
                  </a:lnTo>
                  <a:lnTo>
                    <a:pt x="121" y="3"/>
                  </a:lnTo>
                  <a:lnTo>
                    <a:pt x="148" y="0"/>
                  </a:lnTo>
                  <a:lnTo>
                    <a:pt x="176" y="0"/>
                  </a:lnTo>
                  <a:lnTo>
                    <a:pt x="204" y="0"/>
                  </a:lnTo>
                  <a:lnTo>
                    <a:pt x="231" y="2"/>
                  </a:lnTo>
                  <a:lnTo>
                    <a:pt x="258" y="3"/>
                  </a:lnTo>
                  <a:lnTo>
                    <a:pt x="286" y="7"/>
                  </a:lnTo>
                  <a:lnTo>
                    <a:pt x="310" y="10"/>
                  </a:lnTo>
                  <a:lnTo>
                    <a:pt x="334" y="15"/>
                  </a:lnTo>
                  <a:lnTo>
                    <a:pt x="355" y="21"/>
                  </a:lnTo>
                  <a:lnTo>
                    <a:pt x="373" y="28"/>
                  </a:lnTo>
                  <a:lnTo>
                    <a:pt x="389" y="35"/>
                  </a:lnTo>
                  <a:lnTo>
                    <a:pt x="393" y="37"/>
                  </a:lnTo>
                  <a:lnTo>
                    <a:pt x="395" y="40"/>
                  </a:lnTo>
                  <a:lnTo>
                    <a:pt x="395" y="44"/>
                  </a:lnTo>
                  <a:lnTo>
                    <a:pt x="395" y="49"/>
                  </a:lnTo>
                  <a:lnTo>
                    <a:pt x="388" y="74"/>
                  </a:lnTo>
                  <a:lnTo>
                    <a:pt x="379" y="98"/>
                  </a:lnTo>
                  <a:lnTo>
                    <a:pt x="371" y="120"/>
                  </a:lnTo>
                  <a:lnTo>
                    <a:pt x="361" y="140"/>
                  </a:lnTo>
                  <a:lnTo>
                    <a:pt x="351" y="160"/>
                  </a:lnTo>
                  <a:lnTo>
                    <a:pt x="339" y="177"/>
                  </a:lnTo>
                  <a:lnTo>
                    <a:pt x="325" y="193"/>
                  </a:lnTo>
                  <a:lnTo>
                    <a:pt x="311" y="209"/>
                  </a:lnTo>
                  <a:lnTo>
                    <a:pt x="307" y="210"/>
                  </a:lnTo>
                  <a:lnTo>
                    <a:pt x="303" y="21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 106"/>
            <p:cNvSpPr>
              <a:spLocks/>
            </p:cNvSpPr>
            <p:nvPr/>
          </p:nvSpPr>
          <p:spPr bwMode="auto">
            <a:xfrm>
              <a:off x="7346950" y="9175750"/>
              <a:ext cx="344488" cy="295275"/>
            </a:xfrm>
            <a:custGeom>
              <a:avLst/>
              <a:gdLst>
                <a:gd name="T0" fmla="*/ 591 w 869"/>
                <a:gd name="T1" fmla="*/ 27 h 746"/>
                <a:gd name="T2" fmla="*/ 635 w 869"/>
                <a:gd name="T3" fmla="*/ 69 h 746"/>
                <a:gd name="T4" fmla="*/ 661 w 869"/>
                <a:gd name="T5" fmla="*/ 98 h 746"/>
                <a:gd name="T6" fmla="*/ 686 w 869"/>
                <a:gd name="T7" fmla="*/ 131 h 746"/>
                <a:gd name="T8" fmla="*/ 709 w 869"/>
                <a:gd name="T9" fmla="*/ 163 h 746"/>
                <a:gd name="T10" fmla="*/ 739 w 869"/>
                <a:gd name="T11" fmla="*/ 213 h 746"/>
                <a:gd name="T12" fmla="*/ 772 w 869"/>
                <a:gd name="T13" fmla="*/ 287 h 746"/>
                <a:gd name="T14" fmla="*/ 798 w 869"/>
                <a:gd name="T15" fmla="*/ 368 h 746"/>
                <a:gd name="T16" fmla="*/ 817 w 869"/>
                <a:gd name="T17" fmla="*/ 454 h 746"/>
                <a:gd name="T18" fmla="*/ 829 w 869"/>
                <a:gd name="T19" fmla="*/ 548 h 746"/>
                <a:gd name="T20" fmla="*/ 840 w 869"/>
                <a:gd name="T21" fmla="*/ 608 h 746"/>
                <a:gd name="T22" fmla="*/ 853 w 869"/>
                <a:gd name="T23" fmla="*/ 629 h 746"/>
                <a:gd name="T24" fmla="*/ 862 w 869"/>
                <a:gd name="T25" fmla="*/ 660 h 746"/>
                <a:gd name="T26" fmla="*/ 869 w 869"/>
                <a:gd name="T27" fmla="*/ 705 h 746"/>
                <a:gd name="T28" fmla="*/ 858 w 869"/>
                <a:gd name="T29" fmla="*/ 718 h 746"/>
                <a:gd name="T30" fmla="*/ 819 w 869"/>
                <a:gd name="T31" fmla="*/ 725 h 746"/>
                <a:gd name="T32" fmla="*/ 798 w 869"/>
                <a:gd name="T33" fmla="*/ 725 h 746"/>
                <a:gd name="T34" fmla="*/ 775 w 869"/>
                <a:gd name="T35" fmla="*/ 721 h 746"/>
                <a:gd name="T36" fmla="*/ 750 w 869"/>
                <a:gd name="T37" fmla="*/ 713 h 746"/>
                <a:gd name="T38" fmla="*/ 728 w 869"/>
                <a:gd name="T39" fmla="*/ 712 h 746"/>
                <a:gd name="T40" fmla="*/ 703 w 869"/>
                <a:gd name="T41" fmla="*/ 721 h 746"/>
                <a:gd name="T42" fmla="*/ 655 w 869"/>
                <a:gd name="T43" fmla="*/ 731 h 746"/>
                <a:gd name="T44" fmla="*/ 575 w 869"/>
                <a:gd name="T45" fmla="*/ 741 h 746"/>
                <a:gd name="T46" fmla="*/ 483 w 869"/>
                <a:gd name="T47" fmla="*/ 746 h 746"/>
                <a:gd name="T48" fmla="*/ 387 w 869"/>
                <a:gd name="T49" fmla="*/ 746 h 746"/>
                <a:gd name="T50" fmla="*/ 294 w 869"/>
                <a:gd name="T51" fmla="*/ 741 h 746"/>
                <a:gd name="T52" fmla="*/ 214 w 869"/>
                <a:gd name="T53" fmla="*/ 731 h 746"/>
                <a:gd name="T54" fmla="*/ 166 w 869"/>
                <a:gd name="T55" fmla="*/ 721 h 746"/>
                <a:gd name="T56" fmla="*/ 141 w 869"/>
                <a:gd name="T57" fmla="*/ 712 h 746"/>
                <a:gd name="T58" fmla="*/ 119 w 869"/>
                <a:gd name="T59" fmla="*/ 713 h 746"/>
                <a:gd name="T60" fmla="*/ 94 w 869"/>
                <a:gd name="T61" fmla="*/ 721 h 746"/>
                <a:gd name="T62" fmla="*/ 71 w 869"/>
                <a:gd name="T63" fmla="*/ 725 h 746"/>
                <a:gd name="T64" fmla="*/ 50 w 869"/>
                <a:gd name="T65" fmla="*/ 725 h 746"/>
                <a:gd name="T66" fmla="*/ 11 w 869"/>
                <a:gd name="T67" fmla="*/ 718 h 746"/>
                <a:gd name="T68" fmla="*/ 0 w 869"/>
                <a:gd name="T69" fmla="*/ 705 h 746"/>
                <a:gd name="T70" fmla="*/ 6 w 869"/>
                <a:gd name="T71" fmla="*/ 660 h 746"/>
                <a:gd name="T72" fmla="*/ 17 w 869"/>
                <a:gd name="T73" fmla="*/ 629 h 746"/>
                <a:gd name="T74" fmla="*/ 29 w 869"/>
                <a:gd name="T75" fmla="*/ 608 h 746"/>
                <a:gd name="T76" fmla="*/ 40 w 869"/>
                <a:gd name="T77" fmla="*/ 548 h 746"/>
                <a:gd name="T78" fmla="*/ 53 w 869"/>
                <a:gd name="T79" fmla="*/ 454 h 746"/>
                <a:gd name="T80" fmla="*/ 72 w 869"/>
                <a:gd name="T81" fmla="*/ 368 h 746"/>
                <a:gd name="T82" fmla="*/ 98 w 869"/>
                <a:gd name="T83" fmla="*/ 287 h 746"/>
                <a:gd name="T84" fmla="*/ 131 w 869"/>
                <a:gd name="T85" fmla="*/ 213 h 746"/>
                <a:gd name="T86" fmla="*/ 161 w 869"/>
                <a:gd name="T87" fmla="*/ 163 h 746"/>
                <a:gd name="T88" fmla="*/ 183 w 869"/>
                <a:gd name="T89" fmla="*/ 131 h 746"/>
                <a:gd name="T90" fmla="*/ 208 w 869"/>
                <a:gd name="T91" fmla="*/ 98 h 746"/>
                <a:gd name="T92" fmla="*/ 235 w 869"/>
                <a:gd name="T93" fmla="*/ 69 h 746"/>
                <a:gd name="T94" fmla="*/ 279 w 869"/>
                <a:gd name="T95" fmla="*/ 27 h 746"/>
                <a:gd name="T96" fmla="*/ 557 w 869"/>
                <a:gd name="T97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9" h="746">
                  <a:moveTo>
                    <a:pt x="557" y="0"/>
                  </a:moveTo>
                  <a:lnTo>
                    <a:pt x="591" y="27"/>
                  </a:lnTo>
                  <a:lnTo>
                    <a:pt x="620" y="54"/>
                  </a:lnTo>
                  <a:lnTo>
                    <a:pt x="635" y="69"/>
                  </a:lnTo>
                  <a:lnTo>
                    <a:pt x="649" y="84"/>
                  </a:lnTo>
                  <a:lnTo>
                    <a:pt x="661" y="98"/>
                  </a:lnTo>
                  <a:lnTo>
                    <a:pt x="675" y="114"/>
                  </a:lnTo>
                  <a:lnTo>
                    <a:pt x="686" y="131"/>
                  </a:lnTo>
                  <a:lnTo>
                    <a:pt x="698" y="147"/>
                  </a:lnTo>
                  <a:lnTo>
                    <a:pt x="709" y="163"/>
                  </a:lnTo>
                  <a:lnTo>
                    <a:pt x="719" y="179"/>
                  </a:lnTo>
                  <a:lnTo>
                    <a:pt x="739" y="213"/>
                  </a:lnTo>
                  <a:lnTo>
                    <a:pt x="756" y="249"/>
                  </a:lnTo>
                  <a:lnTo>
                    <a:pt x="772" y="287"/>
                  </a:lnTo>
                  <a:lnTo>
                    <a:pt x="786" y="326"/>
                  </a:lnTo>
                  <a:lnTo>
                    <a:pt x="798" y="368"/>
                  </a:lnTo>
                  <a:lnTo>
                    <a:pt x="808" y="410"/>
                  </a:lnTo>
                  <a:lnTo>
                    <a:pt x="817" y="454"/>
                  </a:lnTo>
                  <a:lnTo>
                    <a:pt x="824" y="500"/>
                  </a:lnTo>
                  <a:lnTo>
                    <a:pt x="829" y="548"/>
                  </a:lnTo>
                  <a:lnTo>
                    <a:pt x="834" y="599"/>
                  </a:lnTo>
                  <a:lnTo>
                    <a:pt x="840" y="608"/>
                  </a:lnTo>
                  <a:lnTo>
                    <a:pt x="846" y="620"/>
                  </a:lnTo>
                  <a:lnTo>
                    <a:pt x="853" y="629"/>
                  </a:lnTo>
                  <a:lnTo>
                    <a:pt x="856" y="641"/>
                  </a:lnTo>
                  <a:lnTo>
                    <a:pt x="862" y="660"/>
                  </a:lnTo>
                  <a:lnTo>
                    <a:pt x="866" y="678"/>
                  </a:lnTo>
                  <a:lnTo>
                    <a:pt x="869" y="705"/>
                  </a:lnTo>
                  <a:lnTo>
                    <a:pt x="869" y="716"/>
                  </a:lnTo>
                  <a:lnTo>
                    <a:pt x="858" y="718"/>
                  </a:lnTo>
                  <a:lnTo>
                    <a:pt x="829" y="725"/>
                  </a:lnTo>
                  <a:lnTo>
                    <a:pt x="819" y="725"/>
                  </a:lnTo>
                  <a:lnTo>
                    <a:pt x="809" y="726"/>
                  </a:lnTo>
                  <a:lnTo>
                    <a:pt x="798" y="725"/>
                  </a:lnTo>
                  <a:lnTo>
                    <a:pt x="787" y="723"/>
                  </a:lnTo>
                  <a:lnTo>
                    <a:pt x="775" y="721"/>
                  </a:lnTo>
                  <a:lnTo>
                    <a:pt x="762" y="718"/>
                  </a:lnTo>
                  <a:lnTo>
                    <a:pt x="750" y="713"/>
                  </a:lnTo>
                  <a:lnTo>
                    <a:pt x="738" y="707"/>
                  </a:lnTo>
                  <a:lnTo>
                    <a:pt x="728" y="712"/>
                  </a:lnTo>
                  <a:lnTo>
                    <a:pt x="717" y="716"/>
                  </a:lnTo>
                  <a:lnTo>
                    <a:pt x="703" y="721"/>
                  </a:lnTo>
                  <a:lnTo>
                    <a:pt x="688" y="725"/>
                  </a:lnTo>
                  <a:lnTo>
                    <a:pt x="655" y="731"/>
                  </a:lnTo>
                  <a:lnTo>
                    <a:pt x="617" y="736"/>
                  </a:lnTo>
                  <a:lnTo>
                    <a:pt x="575" y="741"/>
                  </a:lnTo>
                  <a:lnTo>
                    <a:pt x="530" y="743"/>
                  </a:lnTo>
                  <a:lnTo>
                    <a:pt x="483" y="746"/>
                  </a:lnTo>
                  <a:lnTo>
                    <a:pt x="435" y="746"/>
                  </a:lnTo>
                  <a:lnTo>
                    <a:pt x="387" y="746"/>
                  </a:lnTo>
                  <a:lnTo>
                    <a:pt x="340" y="743"/>
                  </a:lnTo>
                  <a:lnTo>
                    <a:pt x="294" y="741"/>
                  </a:lnTo>
                  <a:lnTo>
                    <a:pt x="252" y="736"/>
                  </a:lnTo>
                  <a:lnTo>
                    <a:pt x="214" y="731"/>
                  </a:lnTo>
                  <a:lnTo>
                    <a:pt x="180" y="725"/>
                  </a:lnTo>
                  <a:lnTo>
                    <a:pt x="166" y="721"/>
                  </a:lnTo>
                  <a:lnTo>
                    <a:pt x="153" y="716"/>
                  </a:lnTo>
                  <a:lnTo>
                    <a:pt x="141" y="712"/>
                  </a:lnTo>
                  <a:lnTo>
                    <a:pt x="132" y="707"/>
                  </a:lnTo>
                  <a:lnTo>
                    <a:pt x="119" y="713"/>
                  </a:lnTo>
                  <a:lnTo>
                    <a:pt x="106" y="718"/>
                  </a:lnTo>
                  <a:lnTo>
                    <a:pt x="94" y="721"/>
                  </a:lnTo>
                  <a:lnTo>
                    <a:pt x="83" y="723"/>
                  </a:lnTo>
                  <a:lnTo>
                    <a:pt x="71" y="725"/>
                  </a:lnTo>
                  <a:lnTo>
                    <a:pt x="61" y="726"/>
                  </a:lnTo>
                  <a:lnTo>
                    <a:pt x="50" y="725"/>
                  </a:lnTo>
                  <a:lnTo>
                    <a:pt x="41" y="725"/>
                  </a:lnTo>
                  <a:lnTo>
                    <a:pt x="11" y="718"/>
                  </a:lnTo>
                  <a:lnTo>
                    <a:pt x="0" y="716"/>
                  </a:lnTo>
                  <a:lnTo>
                    <a:pt x="0" y="705"/>
                  </a:lnTo>
                  <a:lnTo>
                    <a:pt x="3" y="678"/>
                  </a:lnTo>
                  <a:lnTo>
                    <a:pt x="6" y="660"/>
                  </a:lnTo>
                  <a:lnTo>
                    <a:pt x="12" y="641"/>
                  </a:lnTo>
                  <a:lnTo>
                    <a:pt x="17" y="629"/>
                  </a:lnTo>
                  <a:lnTo>
                    <a:pt x="22" y="620"/>
                  </a:lnTo>
                  <a:lnTo>
                    <a:pt x="29" y="608"/>
                  </a:lnTo>
                  <a:lnTo>
                    <a:pt x="36" y="599"/>
                  </a:lnTo>
                  <a:lnTo>
                    <a:pt x="40" y="548"/>
                  </a:lnTo>
                  <a:lnTo>
                    <a:pt x="46" y="500"/>
                  </a:lnTo>
                  <a:lnTo>
                    <a:pt x="53" y="454"/>
                  </a:lnTo>
                  <a:lnTo>
                    <a:pt x="62" y="410"/>
                  </a:lnTo>
                  <a:lnTo>
                    <a:pt x="72" y="368"/>
                  </a:lnTo>
                  <a:lnTo>
                    <a:pt x="84" y="326"/>
                  </a:lnTo>
                  <a:lnTo>
                    <a:pt x="98" y="287"/>
                  </a:lnTo>
                  <a:lnTo>
                    <a:pt x="113" y="249"/>
                  </a:lnTo>
                  <a:lnTo>
                    <a:pt x="131" y="213"/>
                  </a:lnTo>
                  <a:lnTo>
                    <a:pt x="150" y="179"/>
                  </a:lnTo>
                  <a:lnTo>
                    <a:pt x="161" y="163"/>
                  </a:lnTo>
                  <a:lnTo>
                    <a:pt x="172" y="147"/>
                  </a:lnTo>
                  <a:lnTo>
                    <a:pt x="183" y="131"/>
                  </a:lnTo>
                  <a:lnTo>
                    <a:pt x="195" y="114"/>
                  </a:lnTo>
                  <a:lnTo>
                    <a:pt x="208" y="98"/>
                  </a:lnTo>
                  <a:lnTo>
                    <a:pt x="221" y="84"/>
                  </a:lnTo>
                  <a:lnTo>
                    <a:pt x="235" y="69"/>
                  </a:lnTo>
                  <a:lnTo>
                    <a:pt x="250" y="54"/>
                  </a:lnTo>
                  <a:lnTo>
                    <a:pt x="279" y="27"/>
                  </a:lnTo>
                  <a:lnTo>
                    <a:pt x="313" y="0"/>
                  </a:lnTo>
                  <a:lnTo>
                    <a:pt x="557" y="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reeform 107"/>
            <p:cNvSpPr>
              <a:spLocks noEditPoints="1"/>
            </p:cNvSpPr>
            <p:nvPr/>
          </p:nvSpPr>
          <p:spPr bwMode="auto">
            <a:xfrm>
              <a:off x="7342188" y="9170988"/>
              <a:ext cx="354013" cy="304800"/>
            </a:xfrm>
            <a:custGeom>
              <a:avLst/>
              <a:gdLst>
                <a:gd name="T0" fmla="*/ 446 w 892"/>
                <a:gd name="T1" fmla="*/ 771 h 771"/>
                <a:gd name="T2" fmla="*/ 267 w 892"/>
                <a:gd name="T3" fmla="*/ 761 h 771"/>
                <a:gd name="T4" fmla="*/ 166 w 892"/>
                <a:gd name="T5" fmla="*/ 742 h 771"/>
                <a:gd name="T6" fmla="*/ 117 w 892"/>
                <a:gd name="T7" fmla="*/ 744 h 771"/>
                <a:gd name="T8" fmla="*/ 69 w 892"/>
                <a:gd name="T9" fmla="*/ 750 h 771"/>
                <a:gd name="T10" fmla="*/ 20 w 892"/>
                <a:gd name="T11" fmla="*/ 744 h 771"/>
                <a:gd name="T12" fmla="*/ 2 w 892"/>
                <a:gd name="T13" fmla="*/ 735 h 771"/>
                <a:gd name="T14" fmla="*/ 1 w 892"/>
                <a:gd name="T15" fmla="*/ 689 h 771"/>
                <a:gd name="T16" fmla="*/ 22 w 892"/>
                <a:gd name="T17" fmla="*/ 629 h 771"/>
                <a:gd name="T18" fmla="*/ 46 w 892"/>
                <a:gd name="T19" fmla="*/ 505 h 771"/>
                <a:gd name="T20" fmla="*/ 86 w 892"/>
                <a:gd name="T21" fmla="*/ 328 h 771"/>
                <a:gd name="T22" fmla="*/ 154 w 892"/>
                <a:gd name="T23" fmla="*/ 181 h 771"/>
                <a:gd name="T24" fmla="*/ 253 w 892"/>
                <a:gd name="T25" fmla="*/ 57 h 771"/>
                <a:gd name="T26" fmla="*/ 325 w 892"/>
                <a:gd name="T27" fmla="*/ 0 h 771"/>
                <a:gd name="T28" fmla="*/ 335 w 892"/>
                <a:gd name="T29" fmla="*/ 14 h 771"/>
                <a:gd name="T30" fmla="*/ 271 w 892"/>
                <a:gd name="T31" fmla="*/ 74 h 771"/>
                <a:gd name="T32" fmla="*/ 174 w 892"/>
                <a:gd name="T33" fmla="*/ 194 h 771"/>
                <a:gd name="T34" fmla="*/ 107 w 892"/>
                <a:gd name="T35" fmla="*/ 339 h 771"/>
                <a:gd name="T36" fmla="*/ 69 w 892"/>
                <a:gd name="T37" fmla="*/ 513 h 771"/>
                <a:gd name="T38" fmla="*/ 57 w 892"/>
                <a:gd name="T39" fmla="*/ 618 h 771"/>
                <a:gd name="T40" fmla="*/ 28 w 892"/>
                <a:gd name="T41" fmla="*/ 678 h 771"/>
                <a:gd name="T42" fmla="*/ 23 w 892"/>
                <a:gd name="T43" fmla="*/ 720 h 771"/>
                <a:gd name="T44" fmla="*/ 68 w 892"/>
                <a:gd name="T45" fmla="*/ 726 h 771"/>
                <a:gd name="T46" fmla="*/ 119 w 892"/>
                <a:gd name="T47" fmla="*/ 718 h 771"/>
                <a:gd name="T48" fmla="*/ 143 w 892"/>
                <a:gd name="T49" fmla="*/ 708 h 771"/>
                <a:gd name="T50" fmla="*/ 169 w 892"/>
                <a:gd name="T51" fmla="*/ 719 h 771"/>
                <a:gd name="T52" fmla="*/ 267 w 892"/>
                <a:gd name="T53" fmla="*/ 738 h 771"/>
                <a:gd name="T54" fmla="*/ 446 w 892"/>
                <a:gd name="T55" fmla="*/ 746 h 771"/>
                <a:gd name="T56" fmla="*/ 625 w 892"/>
                <a:gd name="T57" fmla="*/ 738 h 771"/>
                <a:gd name="T58" fmla="*/ 723 w 892"/>
                <a:gd name="T59" fmla="*/ 719 h 771"/>
                <a:gd name="T60" fmla="*/ 749 w 892"/>
                <a:gd name="T61" fmla="*/ 708 h 771"/>
                <a:gd name="T62" fmla="*/ 772 w 892"/>
                <a:gd name="T63" fmla="*/ 718 h 771"/>
                <a:gd name="T64" fmla="*/ 824 w 892"/>
                <a:gd name="T65" fmla="*/ 726 h 771"/>
                <a:gd name="T66" fmla="*/ 869 w 892"/>
                <a:gd name="T67" fmla="*/ 720 h 771"/>
                <a:gd name="T68" fmla="*/ 852 w 892"/>
                <a:gd name="T69" fmla="*/ 649 h 771"/>
                <a:gd name="T70" fmla="*/ 833 w 892"/>
                <a:gd name="T71" fmla="*/ 612 h 771"/>
                <a:gd name="T72" fmla="*/ 807 w 892"/>
                <a:gd name="T73" fmla="*/ 421 h 771"/>
                <a:gd name="T74" fmla="*/ 754 w 892"/>
                <a:gd name="T75" fmla="*/ 263 h 771"/>
                <a:gd name="T76" fmla="*/ 673 w 892"/>
                <a:gd name="T77" fmla="*/ 131 h 771"/>
                <a:gd name="T78" fmla="*/ 561 w 892"/>
                <a:gd name="T79" fmla="*/ 21 h 771"/>
                <a:gd name="T80" fmla="*/ 560 w 892"/>
                <a:gd name="T81" fmla="*/ 5 h 771"/>
                <a:gd name="T82" fmla="*/ 576 w 892"/>
                <a:gd name="T83" fmla="*/ 3 h 771"/>
                <a:gd name="T84" fmla="*/ 692 w 892"/>
                <a:gd name="T85" fmla="*/ 116 h 771"/>
                <a:gd name="T86" fmla="*/ 775 w 892"/>
                <a:gd name="T87" fmla="*/ 251 h 771"/>
                <a:gd name="T88" fmla="*/ 829 w 892"/>
                <a:gd name="T89" fmla="*/ 413 h 771"/>
                <a:gd name="T90" fmla="*/ 856 w 892"/>
                <a:gd name="T91" fmla="*/ 607 h 771"/>
                <a:gd name="T92" fmla="*/ 880 w 892"/>
                <a:gd name="T93" fmla="*/ 650 h 771"/>
                <a:gd name="T94" fmla="*/ 892 w 892"/>
                <a:gd name="T95" fmla="*/ 730 h 771"/>
                <a:gd name="T96" fmla="*/ 885 w 892"/>
                <a:gd name="T97" fmla="*/ 739 h 771"/>
                <a:gd name="T98" fmla="*/ 843 w 892"/>
                <a:gd name="T99" fmla="*/ 750 h 771"/>
                <a:gd name="T100" fmla="*/ 799 w 892"/>
                <a:gd name="T101" fmla="*/ 749 h 771"/>
                <a:gd name="T102" fmla="*/ 749 w 892"/>
                <a:gd name="T103" fmla="*/ 734 h 771"/>
                <a:gd name="T104" fmla="*/ 697 w 892"/>
                <a:gd name="T105" fmla="*/ 750 h 771"/>
                <a:gd name="T106" fmla="*/ 539 w 892"/>
                <a:gd name="T107" fmla="*/ 768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2" h="771">
                  <a:moveTo>
                    <a:pt x="880" y="729"/>
                  </a:moveTo>
                  <a:lnTo>
                    <a:pt x="880" y="729"/>
                  </a:lnTo>
                  <a:lnTo>
                    <a:pt x="880" y="729"/>
                  </a:lnTo>
                  <a:close/>
                  <a:moveTo>
                    <a:pt x="446" y="771"/>
                  </a:moveTo>
                  <a:lnTo>
                    <a:pt x="399" y="770"/>
                  </a:lnTo>
                  <a:lnTo>
                    <a:pt x="352" y="768"/>
                  </a:lnTo>
                  <a:lnTo>
                    <a:pt x="309" y="765"/>
                  </a:lnTo>
                  <a:lnTo>
                    <a:pt x="267" y="761"/>
                  </a:lnTo>
                  <a:lnTo>
                    <a:pt x="229" y="756"/>
                  </a:lnTo>
                  <a:lnTo>
                    <a:pt x="194" y="750"/>
                  </a:lnTo>
                  <a:lnTo>
                    <a:pt x="179" y="746"/>
                  </a:lnTo>
                  <a:lnTo>
                    <a:pt x="166" y="742"/>
                  </a:lnTo>
                  <a:lnTo>
                    <a:pt x="153" y="738"/>
                  </a:lnTo>
                  <a:lnTo>
                    <a:pt x="143" y="734"/>
                  </a:lnTo>
                  <a:lnTo>
                    <a:pt x="130" y="739"/>
                  </a:lnTo>
                  <a:lnTo>
                    <a:pt x="117" y="744"/>
                  </a:lnTo>
                  <a:lnTo>
                    <a:pt x="104" y="746"/>
                  </a:lnTo>
                  <a:lnTo>
                    <a:pt x="93" y="749"/>
                  </a:lnTo>
                  <a:lnTo>
                    <a:pt x="80" y="750"/>
                  </a:lnTo>
                  <a:lnTo>
                    <a:pt x="69" y="750"/>
                  </a:lnTo>
                  <a:lnTo>
                    <a:pt x="59" y="750"/>
                  </a:lnTo>
                  <a:lnTo>
                    <a:pt x="49" y="750"/>
                  </a:lnTo>
                  <a:lnTo>
                    <a:pt x="32" y="746"/>
                  </a:lnTo>
                  <a:lnTo>
                    <a:pt x="20" y="744"/>
                  </a:lnTo>
                  <a:lnTo>
                    <a:pt x="11" y="741"/>
                  </a:lnTo>
                  <a:lnTo>
                    <a:pt x="7" y="739"/>
                  </a:lnTo>
                  <a:lnTo>
                    <a:pt x="5" y="738"/>
                  </a:lnTo>
                  <a:lnTo>
                    <a:pt x="2" y="735"/>
                  </a:lnTo>
                  <a:lnTo>
                    <a:pt x="1" y="733"/>
                  </a:lnTo>
                  <a:lnTo>
                    <a:pt x="0" y="730"/>
                  </a:lnTo>
                  <a:lnTo>
                    <a:pt x="0" y="718"/>
                  </a:lnTo>
                  <a:lnTo>
                    <a:pt x="1" y="689"/>
                  </a:lnTo>
                  <a:lnTo>
                    <a:pt x="6" y="671"/>
                  </a:lnTo>
                  <a:lnTo>
                    <a:pt x="12" y="650"/>
                  </a:lnTo>
                  <a:lnTo>
                    <a:pt x="16" y="640"/>
                  </a:lnTo>
                  <a:lnTo>
                    <a:pt x="22" y="629"/>
                  </a:lnTo>
                  <a:lnTo>
                    <a:pt x="28" y="618"/>
                  </a:lnTo>
                  <a:lnTo>
                    <a:pt x="35" y="607"/>
                  </a:lnTo>
                  <a:lnTo>
                    <a:pt x="40" y="555"/>
                  </a:lnTo>
                  <a:lnTo>
                    <a:pt x="46" y="505"/>
                  </a:lnTo>
                  <a:lnTo>
                    <a:pt x="53" y="457"/>
                  </a:lnTo>
                  <a:lnTo>
                    <a:pt x="63" y="413"/>
                  </a:lnTo>
                  <a:lnTo>
                    <a:pt x="74" y="369"/>
                  </a:lnTo>
                  <a:lnTo>
                    <a:pt x="86" y="328"/>
                  </a:lnTo>
                  <a:lnTo>
                    <a:pt x="100" y="288"/>
                  </a:lnTo>
                  <a:lnTo>
                    <a:pt x="116" y="251"/>
                  </a:lnTo>
                  <a:lnTo>
                    <a:pt x="135" y="215"/>
                  </a:lnTo>
                  <a:lnTo>
                    <a:pt x="154" y="181"/>
                  </a:lnTo>
                  <a:lnTo>
                    <a:pt x="177" y="147"/>
                  </a:lnTo>
                  <a:lnTo>
                    <a:pt x="200" y="116"/>
                  </a:lnTo>
                  <a:lnTo>
                    <a:pt x="226" y="87"/>
                  </a:lnTo>
                  <a:lnTo>
                    <a:pt x="253" y="57"/>
                  </a:lnTo>
                  <a:lnTo>
                    <a:pt x="284" y="30"/>
                  </a:lnTo>
                  <a:lnTo>
                    <a:pt x="316" y="3"/>
                  </a:lnTo>
                  <a:lnTo>
                    <a:pt x="320" y="0"/>
                  </a:lnTo>
                  <a:lnTo>
                    <a:pt x="325" y="0"/>
                  </a:lnTo>
                  <a:lnTo>
                    <a:pt x="329" y="1"/>
                  </a:lnTo>
                  <a:lnTo>
                    <a:pt x="332" y="5"/>
                  </a:lnTo>
                  <a:lnTo>
                    <a:pt x="335" y="9"/>
                  </a:lnTo>
                  <a:lnTo>
                    <a:pt x="335" y="14"/>
                  </a:lnTo>
                  <a:lnTo>
                    <a:pt x="334" y="18"/>
                  </a:lnTo>
                  <a:lnTo>
                    <a:pt x="330" y="21"/>
                  </a:lnTo>
                  <a:lnTo>
                    <a:pt x="299" y="47"/>
                  </a:lnTo>
                  <a:lnTo>
                    <a:pt x="271" y="74"/>
                  </a:lnTo>
                  <a:lnTo>
                    <a:pt x="243" y="102"/>
                  </a:lnTo>
                  <a:lnTo>
                    <a:pt x="219" y="131"/>
                  </a:lnTo>
                  <a:lnTo>
                    <a:pt x="195" y="162"/>
                  </a:lnTo>
                  <a:lnTo>
                    <a:pt x="174" y="194"/>
                  </a:lnTo>
                  <a:lnTo>
                    <a:pt x="156" y="227"/>
                  </a:lnTo>
                  <a:lnTo>
                    <a:pt x="137" y="263"/>
                  </a:lnTo>
                  <a:lnTo>
                    <a:pt x="122" y="300"/>
                  </a:lnTo>
                  <a:lnTo>
                    <a:pt x="107" y="339"/>
                  </a:lnTo>
                  <a:lnTo>
                    <a:pt x="96" y="379"/>
                  </a:lnTo>
                  <a:lnTo>
                    <a:pt x="85" y="421"/>
                  </a:lnTo>
                  <a:lnTo>
                    <a:pt x="77" y="466"/>
                  </a:lnTo>
                  <a:lnTo>
                    <a:pt x="69" y="513"/>
                  </a:lnTo>
                  <a:lnTo>
                    <a:pt x="63" y="561"/>
                  </a:lnTo>
                  <a:lnTo>
                    <a:pt x="59" y="612"/>
                  </a:lnTo>
                  <a:lnTo>
                    <a:pt x="58" y="615"/>
                  </a:lnTo>
                  <a:lnTo>
                    <a:pt x="57" y="618"/>
                  </a:lnTo>
                  <a:lnTo>
                    <a:pt x="47" y="634"/>
                  </a:lnTo>
                  <a:lnTo>
                    <a:pt x="38" y="649"/>
                  </a:lnTo>
                  <a:lnTo>
                    <a:pt x="32" y="663"/>
                  </a:lnTo>
                  <a:lnTo>
                    <a:pt x="28" y="678"/>
                  </a:lnTo>
                  <a:lnTo>
                    <a:pt x="26" y="691"/>
                  </a:lnTo>
                  <a:lnTo>
                    <a:pt x="25" y="703"/>
                  </a:lnTo>
                  <a:lnTo>
                    <a:pt x="23" y="713"/>
                  </a:lnTo>
                  <a:lnTo>
                    <a:pt x="23" y="720"/>
                  </a:lnTo>
                  <a:lnTo>
                    <a:pt x="31" y="721"/>
                  </a:lnTo>
                  <a:lnTo>
                    <a:pt x="42" y="724"/>
                  </a:lnTo>
                  <a:lnTo>
                    <a:pt x="54" y="725"/>
                  </a:lnTo>
                  <a:lnTo>
                    <a:pt x="68" y="726"/>
                  </a:lnTo>
                  <a:lnTo>
                    <a:pt x="84" y="725"/>
                  </a:lnTo>
                  <a:lnTo>
                    <a:pt x="101" y="723"/>
                  </a:lnTo>
                  <a:lnTo>
                    <a:pt x="110" y="720"/>
                  </a:lnTo>
                  <a:lnTo>
                    <a:pt x="119" y="718"/>
                  </a:lnTo>
                  <a:lnTo>
                    <a:pt x="128" y="714"/>
                  </a:lnTo>
                  <a:lnTo>
                    <a:pt x="137" y="710"/>
                  </a:lnTo>
                  <a:lnTo>
                    <a:pt x="141" y="709"/>
                  </a:lnTo>
                  <a:lnTo>
                    <a:pt x="143" y="708"/>
                  </a:lnTo>
                  <a:lnTo>
                    <a:pt x="146" y="709"/>
                  </a:lnTo>
                  <a:lnTo>
                    <a:pt x="148" y="710"/>
                  </a:lnTo>
                  <a:lnTo>
                    <a:pt x="158" y="714"/>
                  </a:lnTo>
                  <a:lnTo>
                    <a:pt x="169" y="719"/>
                  </a:lnTo>
                  <a:lnTo>
                    <a:pt x="182" y="723"/>
                  </a:lnTo>
                  <a:lnTo>
                    <a:pt x="196" y="726"/>
                  </a:lnTo>
                  <a:lnTo>
                    <a:pt x="229" y="733"/>
                  </a:lnTo>
                  <a:lnTo>
                    <a:pt x="267" y="738"/>
                  </a:lnTo>
                  <a:lnTo>
                    <a:pt x="308" y="741"/>
                  </a:lnTo>
                  <a:lnTo>
                    <a:pt x="352" y="744"/>
                  </a:lnTo>
                  <a:lnTo>
                    <a:pt x="399" y="746"/>
                  </a:lnTo>
                  <a:lnTo>
                    <a:pt x="446" y="746"/>
                  </a:lnTo>
                  <a:lnTo>
                    <a:pt x="493" y="746"/>
                  </a:lnTo>
                  <a:lnTo>
                    <a:pt x="540" y="744"/>
                  </a:lnTo>
                  <a:lnTo>
                    <a:pt x="583" y="741"/>
                  </a:lnTo>
                  <a:lnTo>
                    <a:pt x="625" y="738"/>
                  </a:lnTo>
                  <a:lnTo>
                    <a:pt x="662" y="733"/>
                  </a:lnTo>
                  <a:lnTo>
                    <a:pt x="696" y="726"/>
                  </a:lnTo>
                  <a:lnTo>
                    <a:pt x="709" y="723"/>
                  </a:lnTo>
                  <a:lnTo>
                    <a:pt x="723" y="719"/>
                  </a:lnTo>
                  <a:lnTo>
                    <a:pt x="734" y="714"/>
                  </a:lnTo>
                  <a:lnTo>
                    <a:pt x="743" y="710"/>
                  </a:lnTo>
                  <a:lnTo>
                    <a:pt x="745" y="709"/>
                  </a:lnTo>
                  <a:lnTo>
                    <a:pt x="749" y="708"/>
                  </a:lnTo>
                  <a:lnTo>
                    <a:pt x="751" y="709"/>
                  </a:lnTo>
                  <a:lnTo>
                    <a:pt x="754" y="710"/>
                  </a:lnTo>
                  <a:lnTo>
                    <a:pt x="764" y="714"/>
                  </a:lnTo>
                  <a:lnTo>
                    <a:pt x="772" y="718"/>
                  </a:lnTo>
                  <a:lnTo>
                    <a:pt x="782" y="720"/>
                  </a:lnTo>
                  <a:lnTo>
                    <a:pt x="791" y="723"/>
                  </a:lnTo>
                  <a:lnTo>
                    <a:pt x="808" y="725"/>
                  </a:lnTo>
                  <a:lnTo>
                    <a:pt x="824" y="726"/>
                  </a:lnTo>
                  <a:lnTo>
                    <a:pt x="838" y="725"/>
                  </a:lnTo>
                  <a:lnTo>
                    <a:pt x="850" y="724"/>
                  </a:lnTo>
                  <a:lnTo>
                    <a:pt x="860" y="721"/>
                  </a:lnTo>
                  <a:lnTo>
                    <a:pt x="869" y="720"/>
                  </a:lnTo>
                  <a:lnTo>
                    <a:pt x="867" y="703"/>
                  </a:lnTo>
                  <a:lnTo>
                    <a:pt x="862" y="678"/>
                  </a:lnTo>
                  <a:lnTo>
                    <a:pt x="859" y="663"/>
                  </a:lnTo>
                  <a:lnTo>
                    <a:pt x="852" y="649"/>
                  </a:lnTo>
                  <a:lnTo>
                    <a:pt x="845" y="634"/>
                  </a:lnTo>
                  <a:lnTo>
                    <a:pt x="835" y="618"/>
                  </a:lnTo>
                  <a:lnTo>
                    <a:pt x="833" y="615"/>
                  </a:lnTo>
                  <a:lnTo>
                    <a:pt x="833" y="612"/>
                  </a:lnTo>
                  <a:lnTo>
                    <a:pt x="828" y="561"/>
                  </a:lnTo>
                  <a:lnTo>
                    <a:pt x="823" y="513"/>
                  </a:lnTo>
                  <a:lnTo>
                    <a:pt x="815" y="466"/>
                  </a:lnTo>
                  <a:lnTo>
                    <a:pt x="807" y="421"/>
                  </a:lnTo>
                  <a:lnTo>
                    <a:pt x="796" y="379"/>
                  </a:lnTo>
                  <a:lnTo>
                    <a:pt x="783" y="339"/>
                  </a:lnTo>
                  <a:lnTo>
                    <a:pt x="770" y="300"/>
                  </a:lnTo>
                  <a:lnTo>
                    <a:pt x="754" y="263"/>
                  </a:lnTo>
                  <a:lnTo>
                    <a:pt x="736" y="227"/>
                  </a:lnTo>
                  <a:lnTo>
                    <a:pt x="718" y="194"/>
                  </a:lnTo>
                  <a:lnTo>
                    <a:pt x="696" y="162"/>
                  </a:lnTo>
                  <a:lnTo>
                    <a:pt x="673" y="131"/>
                  </a:lnTo>
                  <a:lnTo>
                    <a:pt x="649" y="102"/>
                  </a:lnTo>
                  <a:lnTo>
                    <a:pt x="621" y="74"/>
                  </a:lnTo>
                  <a:lnTo>
                    <a:pt x="592" y="47"/>
                  </a:lnTo>
                  <a:lnTo>
                    <a:pt x="561" y="21"/>
                  </a:lnTo>
                  <a:lnTo>
                    <a:pt x="558" y="18"/>
                  </a:lnTo>
                  <a:lnTo>
                    <a:pt x="556" y="14"/>
                  </a:lnTo>
                  <a:lnTo>
                    <a:pt x="557" y="9"/>
                  </a:lnTo>
                  <a:lnTo>
                    <a:pt x="560" y="5"/>
                  </a:lnTo>
                  <a:lnTo>
                    <a:pt x="562" y="1"/>
                  </a:lnTo>
                  <a:lnTo>
                    <a:pt x="567" y="0"/>
                  </a:lnTo>
                  <a:lnTo>
                    <a:pt x="572" y="0"/>
                  </a:lnTo>
                  <a:lnTo>
                    <a:pt x="576" y="3"/>
                  </a:lnTo>
                  <a:lnTo>
                    <a:pt x="608" y="30"/>
                  </a:lnTo>
                  <a:lnTo>
                    <a:pt x="637" y="57"/>
                  </a:lnTo>
                  <a:lnTo>
                    <a:pt x="666" y="87"/>
                  </a:lnTo>
                  <a:lnTo>
                    <a:pt x="692" y="116"/>
                  </a:lnTo>
                  <a:lnTo>
                    <a:pt x="715" y="147"/>
                  </a:lnTo>
                  <a:lnTo>
                    <a:pt x="736" y="181"/>
                  </a:lnTo>
                  <a:lnTo>
                    <a:pt x="757" y="215"/>
                  </a:lnTo>
                  <a:lnTo>
                    <a:pt x="775" y="251"/>
                  </a:lnTo>
                  <a:lnTo>
                    <a:pt x="791" y="288"/>
                  </a:lnTo>
                  <a:lnTo>
                    <a:pt x="806" y="328"/>
                  </a:lnTo>
                  <a:lnTo>
                    <a:pt x="818" y="369"/>
                  </a:lnTo>
                  <a:lnTo>
                    <a:pt x="829" y="413"/>
                  </a:lnTo>
                  <a:lnTo>
                    <a:pt x="838" y="457"/>
                  </a:lnTo>
                  <a:lnTo>
                    <a:pt x="846" y="505"/>
                  </a:lnTo>
                  <a:lnTo>
                    <a:pt x="851" y="555"/>
                  </a:lnTo>
                  <a:lnTo>
                    <a:pt x="856" y="607"/>
                  </a:lnTo>
                  <a:lnTo>
                    <a:pt x="864" y="618"/>
                  </a:lnTo>
                  <a:lnTo>
                    <a:pt x="870" y="629"/>
                  </a:lnTo>
                  <a:lnTo>
                    <a:pt x="875" y="640"/>
                  </a:lnTo>
                  <a:lnTo>
                    <a:pt x="880" y="650"/>
                  </a:lnTo>
                  <a:lnTo>
                    <a:pt x="886" y="671"/>
                  </a:lnTo>
                  <a:lnTo>
                    <a:pt x="890" y="689"/>
                  </a:lnTo>
                  <a:lnTo>
                    <a:pt x="892" y="718"/>
                  </a:lnTo>
                  <a:lnTo>
                    <a:pt x="892" y="730"/>
                  </a:lnTo>
                  <a:lnTo>
                    <a:pt x="891" y="733"/>
                  </a:lnTo>
                  <a:lnTo>
                    <a:pt x="890" y="735"/>
                  </a:lnTo>
                  <a:lnTo>
                    <a:pt x="887" y="738"/>
                  </a:lnTo>
                  <a:lnTo>
                    <a:pt x="885" y="739"/>
                  </a:lnTo>
                  <a:lnTo>
                    <a:pt x="881" y="741"/>
                  </a:lnTo>
                  <a:lnTo>
                    <a:pt x="872" y="744"/>
                  </a:lnTo>
                  <a:lnTo>
                    <a:pt x="859" y="746"/>
                  </a:lnTo>
                  <a:lnTo>
                    <a:pt x="843" y="750"/>
                  </a:lnTo>
                  <a:lnTo>
                    <a:pt x="833" y="750"/>
                  </a:lnTo>
                  <a:lnTo>
                    <a:pt x="822" y="750"/>
                  </a:lnTo>
                  <a:lnTo>
                    <a:pt x="810" y="750"/>
                  </a:lnTo>
                  <a:lnTo>
                    <a:pt x="799" y="749"/>
                  </a:lnTo>
                  <a:lnTo>
                    <a:pt x="787" y="746"/>
                  </a:lnTo>
                  <a:lnTo>
                    <a:pt x="775" y="744"/>
                  </a:lnTo>
                  <a:lnTo>
                    <a:pt x="761" y="739"/>
                  </a:lnTo>
                  <a:lnTo>
                    <a:pt x="749" y="734"/>
                  </a:lnTo>
                  <a:lnTo>
                    <a:pt x="738" y="738"/>
                  </a:lnTo>
                  <a:lnTo>
                    <a:pt x="725" y="742"/>
                  </a:lnTo>
                  <a:lnTo>
                    <a:pt x="712" y="746"/>
                  </a:lnTo>
                  <a:lnTo>
                    <a:pt x="697" y="750"/>
                  </a:lnTo>
                  <a:lnTo>
                    <a:pt x="663" y="756"/>
                  </a:lnTo>
                  <a:lnTo>
                    <a:pt x="625" y="761"/>
                  </a:lnTo>
                  <a:lnTo>
                    <a:pt x="583" y="765"/>
                  </a:lnTo>
                  <a:lnTo>
                    <a:pt x="539" y="768"/>
                  </a:lnTo>
                  <a:lnTo>
                    <a:pt x="493" y="770"/>
                  </a:lnTo>
                  <a:lnTo>
                    <a:pt x="446" y="77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5" name="Freeform 108"/>
            <p:cNvSpPr>
              <a:spLocks/>
            </p:cNvSpPr>
            <p:nvPr/>
          </p:nvSpPr>
          <p:spPr bwMode="auto">
            <a:xfrm>
              <a:off x="7464425" y="9150350"/>
              <a:ext cx="109538" cy="25400"/>
            </a:xfrm>
            <a:custGeom>
              <a:avLst/>
              <a:gdLst>
                <a:gd name="T0" fmla="*/ 246 w 278"/>
                <a:gd name="T1" fmla="*/ 66 h 66"/>
                <a:gd name="T2" fmla="*/ 34 w 278"/>
                <a:gd name="T3" fmla="*/ 66 h 66"/>
                <a:gd name="T4" fmla="*/ 26 w 278"/>
                <a:gd name="T5" fmla="*/ 64 h 66"/>
                <a:gd name="T6" fmla="*/ 20 w 278"/>
                <a:gd name="T7" fmla="*/ 63 h 66"/>
                <a:gd name="T8" fmla="*/ 15 w 278"/>
                <a:gd name="T9" fmla="*/ 59 h 66"/>
                <a:gd name="T10" fmla="*/ 10 w 278"/>
                <a:gd name="T11" fmla="*/ 56 h 66"/>
                <a:gd name="T12" fmla="*/ 7 w 278"/>
                <a:gd name="T13" fmla="*/ 51 h 66"/>
                <a:gd name="T14" fmla="*/ 3 w 278"/>
                <a:gd name="T15" fmla="*/ 46 h 66"/>
                <a:gd name="T16" fmla="*/ 2 w 278"/>
                <a:gd name="T17" fmla="*/ 40 h 66"/>
                <a:gd name="T18" fmla="*/ 0 w 278"/>
                <a:gd name="T19" fmla="*/ 33 h 66"/>
                <a:gd name="T20" fmla="*/ 0 w 278"/>
                <a:gd name="T21" fmla="*/ 33 h 66"/>
                <a:gd name="T22" fmla="*/ 2 w 278"/>
                <a:gd name="T23" fmla="*/ 27 h 66"/>
                <a:gd name="T24" fmla="*/ 3 w 278"/>
                <a:gd name="T25" fmla="*/ 21 h 66"/>
                <a:gd name="T26" fmla="*/ 7 w 278"/>
                <a:gd name="T27" fmla="*/ 15 h 66"/>
                <a:gd name="T28" fmla="*/ 10 w 278"/>
                <a:gd name="T29" fmla="*/ 10 h 66"/>
                <a:gd name="T30" fmla="*/ 15 w 278"/>
                <a:gd name="T31" fmla="*/ 6 h 66"/>
                <a:gd name="T32" fmla="*/ 20 w 278"/>
                <a:gd name="T33" fmla="*/ 3 h 66"/>
                <a:gd name="T34" fmla="*/ 26 w 278"/>
                <a:gd name="T35" fmla="*/ 0 h 66"/>
                <a:gd name="T36" fmla="*/ 34 w 278"/>
                <a:gd name="T37" fmla="*/ 0 h 66"/>
                <a:gd name="T38" fmla="*/ 246 w 278"/>
                <a:gd name="T39" fmla="*/ 0 h 66"/>
                <a:gd name="T40" fmla="*/ 252 w 278"/>
                <a:gd name="T41" fmla="*/ 0 h 66"/>
                <a:gd name="T42" fmla="*/ 259 w 278"/>
                <a:gd name="T43" fmla="*/ 3 h 66"/>
                <a:gd name="T44" fmla="*/ 265 w 278"/>
                <a:gd name="T45" fmla="*/ 6 h 66"/>
                <a:gd name="T46" fmla="*/ 270 w 278"/>
                <a:gd name="T47" fmla="*/ 10 h 66"/>
                <a:gd name="T48" fmla="*/ 273 w 278"/>
                <a:gd name="T49" fmla="*/ 15 h 66"/>
                <a:gd name="T50" fmla="*/ 276 w 278"/>
                <a:gd name="T51" fmla="*/ 21 h 66"/>
                <a:gd name="T52" fmla="*/ 278 w 278"/>
                <a:gd name="T53" fmla="*/ 27 h 66"/>
                <a:gd name="T54" fmla="*/ 278 w 278"/>
                <a:gd name="T55" fmla="*/ 33 h 66"/>
                <a:gd name="T56" fmla="*/ 278 w 278"/>
                <a:gd name="T57" fmla="*/ 33 h 66"/>
                <a:gd name="T58" fmla="*/ 278 w 278"/>
                <a:gd name="T59" fmla="*/ 40 h 66"/>
                <a:gd name="T60" fmla="*/ 276 w 278"/>
                <a:gd name="T61" fmla="*/ 46 h 66"/>
                <a:gd name="T62" fmla="*/ 273 w 278"/>
                <a:gd name="T63" fmla="*/ 51 h 66"/>
                <a:gd name="T64" fmla="*/ 270 w 278"/>
                <a:gd name="T65" fmla="*/ 56 h 66"/>
                <a:gd name="T66" fmla="*/ 265 w 278"/>
                <a:gd name="T67" fmla="*/ 59 h 66"/>
                <a:gd name="T68" fmla="*/ 259 w 278"/>
                <a:gd name="T69" fmla="*/ 63 h 66"/>
                <a:gd name="T70" fmla="*/ 252 w 278"/>
                <a:gd name="T71" fmla="*/ 64 h 66"/>
                <a:gd name="T72" fmla="*/ 246 w 278"/>
                <a:gd name="T7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8" h="66">
                  <a:moveTo>
                    <a:pt x="246" y="66"/>
                  </a:moveTo>
                  <a:lnTo>
                    <a:pt x="34" y="66"/>
                  </a:lnTo>
                  <a:lnTo>
                    <a:pt x="26" y="64"/>
                  </a:lnTo>
                  <a:lnTo>
                    <a:pt x="20" y="63"/>
                  </a:lnTo>
                  <a:lnTo>
                    <a:pt x="15" y="59"/>
                  </a:lnTo>
                  <a:lnTo>
                    <a:pt x="10" y="56"/>
                  </a:lnTo>
                  <a:lnTo>
                    <a:pt x="7" y="51"/>
                  </a:lnTo>
                  <a:lnTo>
                    <a:pt x="3" y="46"/>
                  </a:lnTo>
                  <a:lnTo>
                    <a:pt x="2" y="4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2" y="27"/>
                  </a:lnTo>
                  <a:lnTo>
                    <a:pt x="3" y="21"/>
                  </a:lnTo>
                  <a:lnTo>
                    <a:pt x="7" y="15"/>
                  </a:lnTo>
                  <a:lnTo>
                    <a:pt x="10" y="10"/>
                  </a:lnTo>
                  <a:lnTo>
                    <a:pt x="15" y="6"/>
                  </a:lnTo>
                  <a:lnTo>
                    <a:pt x="20" y="3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9" y="3"/>
                  </a:lnTo>
                  <a:lnTo>
                    <a:pt x="265" y="6"/>
                  </a:lnTo>
                  <a:lnTo>
                    <a:pt x="270" y="10"/>
                  </a:lnTo>
                  <a:lnTo>
                    <a:pt x="273" y="15"/>
                  </a:lnTo>
                  <a:lnTo>
                    <a:pt x="276" y="21"/>
                  </a:lnTo>
                  <a:lnTo>
                    <a:pt x="278" y="27"/>
                  </a:lnTo>
                  <a:lnTo>
                    <a:pt x="278" y="33"/>
                  </a:lnTo>
                  <a:lnTo>
                    <a:pt x="278" y="33"/>
                  </a:lnTo>
                  <a:lnTo>
                    <a:pt x="278" y="40"/>
                  </a:lnTo>
                  <a:lnTo>
                    <a:pt x="276" y="46"/>
                  </a:lnTo>
                  <a:lnTo>
                    <a:pt x="273" y="51"/>
                  </a:lnTo>
                  <a:lnTo>
                    <a:pt x="270" y="56"/>
                  </a:lnTo>
                  <a:lnTo>
                    <a:pt x="265" y="59"/>
                  </a:lnTo>
                  <a:lnTo>
                    <a:pt x="259" y="63"/>
                  </a:lnTo>
                  <a:lnTo>
                    <a:pt x="252" y="64"/>
                  </a:lnTo>
                  <a:lnTo>
                    <a:pt x="246" y="66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6" name="Freeform 109"/>
            <p:cNvSpPr>
              <a:spLocks noEditPoints="1"/>
            </p:cNvSpPr>
            <p:nvPr/>
          </p:nvSpPr>
          <p:spPr bwMode="auto">
            <a:xfrm>
              <a:off x="7459663" y="9145588"/>
              <a:ext cx="119063" cy="34925"/>
            </a:xfrm>
            <a:custGeom>
              <a:avLst/>
              <a:gdLst>
                <a:gd name="T0" fmla="*/ 41 w 303"/>
                <a:gd name="T1" fmla="*/ 22 h 88"/>
                <a:gd name="T2" fmla="*/ 33 w 303"/>
                <a:gd name="T3" fmla="*/ 26 h 88"/>
                <a:gd name="T4" fmla="*/ 28 w 303"/>
                <a:gd name="T5" fmla="*/ 32 h 88"/>
                <a:gd name="T6" fmla="*/ 25 w 303"/>
                <a:gd name="T7" fmla="*/ 41 h 88"/>
                <a:gd name="T8" fmla="*/ 25 w 303"/>
                <a:gd name="T9" fmla="*/ 49 h 88"/>
                <a:gd name="T10" fmla="*/ 28 w 303"/>
                <a:gd name="T11" fmla="*/ 56 h 88"/>
                <a:gd name="T12" fmla="*/ 33 w 303"/>
                <a:gd name="T13" fmla="*/ 62 h 88"/>
                <a:gd name="T14" fmla="*/ 41 w 303"/>
                <a:gd name="T15" fmla="*/ 64 h 88"/>
                <a:gd name="T16" fmla="*/ 258 w 303"/>
                <a:gd name="T17" fmla="*/ 65 h 88"/>
                <a:gd name="T18" fmla="*/ 267 w 303"/>
                <a:gd name="T19" fmla="*/ 63 h 88"/>
                <a:gd name="T20" fmla="*/ 273 w 303"/>
                <a:gd name="T21" fmla="*/ 59 h 88"/>
                <a:gd name="T22" fmla="*/ 277 w 303"/>
                <a:gd name="T23" fmla="*/ 53 h 88"/>
                <a:gd name="T24" fmla="*/ 279 w 303"/>
                <a:gd name="T25" fmla="*/ 44 h 88"/>
                <a:gd name="T26" fmla="*/ 277 w 303"/>
                <a:gd name="T27" fmla="*/ 37 h 88"/>
                <a:gd name="T28" fmla="*/ 273 w 303"/>
                <a:gd name="T29" fmla="*/ 30 h 88"/>
                <a:gd name="T30" fmla="*/ 267 w 303"/>
                <a:gd name="T31" fmla="*/ 25 h 88"/>
                <a:gd name="T32" fmla="*/ 258 w 303"/>
                <a:gd name="T33" fmla="*/ 22 h 88"/>
                <a:gd name="T34" fmla="*/ 258 w 303"/>
                <a:gd name="T35" fmla="*/ 88 h 88"/>
                <a:gd name="T36" fmla="*/ 36 w 303"/>
                <a:gd name="T37" fmla="*/ 86 h 88"/>
                <a:gd name="T38" fmla="*/ 20 w 303"/>
                <a:gd name="T39" fmla="*/ 80 h 88"/>
                <a:gd name="T40" fmla="*/ 9 w 303"/>
                <a:gd name="T41" fmla="*/ 68 h 88"/>
                <a:gd name="T42" fmla="*/ 1 w 303"/>
                <a:gd name="T43" fmla="*/ 53 h 88"/>
                <a:gd name="T44" fmla="*/ 1 w 303"/>
                <a:gd name="T45" fmla="*/ 36 h 88"/>
                <a:gd name="T46" fmla="*/ 9 w 303"/>
                <a:gd name="T47" fmla="*/ 20 h 88"/>
                <a:gd name="T48" fmla="*/ 20 w 303"/>
                <a:gd name="T49" fmla="*/ 7 h 88"/>
                <a:gd name="T50" fmla="*/ 36 w 303"/>
                <a:gd name="T51" fmla="*/ 1 h 88"/>
                <a:gd name="T52" fmla="*/ 258 w 303"/>
                <a:gd name="T53" fmla="*/ 0 h 88"/>
                <a:gd name="T54" fmla="*/ 276 w 303"/>
                <a:gd name="T55" fmla="*/ 4 h 88"/>
                <a:gd name="T56" fmla="*/ 289 w 303"/>
                <a:gd name="T57" fmla="*/ 12 h 88"/>
                <a:gd name="T58" fmla="*/ 299 w 303"/>
                <a:gd name="T59" fmla="*/ 27 h 88"/>
                <a:gd name="T60" fmla="*/ 303 w 303"/>
                <a:gd name="T61" fmla="*/ 44 h 88"/>
                <a:gd name="T62" fmla="*/ 299 w 303"/>
                <a:gd name="T63" fmla="*/ 61 h 88"/>
                <a:gd name="T64" fmla="*/ 289 w 303"/>
                <a:gd name="T65" fmla="*/ 74 h 88"/>
                <a:gd name="T66" fmla="*/ 276 w 303"/>
                <a:gd name="T67" fmla="*/ 84 h 88"/>
                <a:gd name="T68" fmla="*/ 258 w 303"/>
                <a:gd name="T6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3" h="88">
                  <a:moveTo>
                    <a:pt x="46" y="22"/>
                  </a:moveTo>
                  <a:lnTo>
                    <a:pt x="41" y="22"/>
                  </a:lnTo>
                  <a:lnTo>
                    <a:pt x="37" y="25"/>
                  </a:lnTo>
                  <a:lnTo>
                    <a:pt x="33" y="26"/>
                  </a:lnTo>
                  <a:lnTo>
                    <a:pt x="31" y="30"/>
                  </a:lnTo>
                  <a:lnTo>
                    <a:pt x="28" y="32"/>
                  </a:lnTo>
                  <a:lnTo>
                    <a:pt x="26" y="37"/>
                  </a:lnTo>
                  <a:lnTo>
                    <a:pt x="25" y="41"/>
                  </a:lnTo>
                  <a:lnTo>
                    <a:pt x="25" y="44"/>
                  </a:lnTo>
                  <a:lnTo>
                    <a:pt x="25" y="49"/>
                  </a:lnTo>
                  <a:lnTo>
                    <a:pt x="26" y="53"/>
                  </a:lnTo>
                  <a:lnTo>
                    <a:pt x="28" y="56"/>
                  </a:lnTo>
                  <a:lnTo>
                    <a:pt x="31" y="59"/>
                  </a:lnTo>
                  <a:lnTo>
                    <a:pt x="33" y="62"/>
                  </a:lnTo>
                  <a:lnTo>
                    <a:pt x="37" y="63"/>
                  </a:lnTo>
                  <a:lnTo>
                    <a:pt x="41" y="64"/>
                  </a:lnTo>
                  <a:lnTo>
                    <a:pt x="46" y="65"/>
                  </a:lnTo>
                  <a:lnTo>
                    <a:pt x="258" y="65"/>
                  </a:lnTo>
                  <a:lnTo>
                    <a:pt x="263" y="64"/>
                  </a:lnTo>
                  <a:lnTo>
                    <a:pt x="267" y="63"/>
                  </a:lnTo>
                  <a:lnTo>
                    <a:pt x="269" y="62"/>
                  </a:lnTo>
                  <a:lnTo>
                    <a:pt x="273" y="59"/>
                  </a:lnTo>
                  <a:lnTo>
                    <a:pt x="276" y="56"/>
                  </a:lnTo>
                  <a:lnTo>
                    <a:pt x="277" y="53"/>
                  </a:lnTo>
                  <a:lnTo>
                    <a:pt x="278" y="49"/>
                  </a:lnTo>
                  <a:lnTo>
                    <a:pt x="279" y="44"/>
                  </a:lnTo>
                  <a:lnTo>
                    <a:pt x="278" y="41"/>
                  </a:lnTo>
                  <a:lnTo>
                    <a:pt x="277" y="37"/>
                  </a:lnTo>
                  <a:lnTo>
                    <a:pt x="276" y="32"/>
                  </a:lnTo>
                  <a:lnTo>
                    <a:pt x="273" y="30"/>
                  </a:lnTo>
                  <a:lnTo>
                    <a:pt x="269" y="26"/>
                  </a:lnTo>
                  <a:lnTo>
                    <a:pt x="267" y="25"/>
                  </a:lnTo>
                  <a:lnTo>
                    <a:pt x="263" y="22"/>
                  </a:lnTo>
                  <a:lnTo>
                    <a:pt x="258" y="22"/>
                  </a:lnTo>
                  <a:lnTo>
                    <a:pt x="46" y="22"/>
                  </a:lnTo>
                  <a:close/>
                  <a:moveTo>
                    <a:pt x="258" y="88"/>
                  </a:moveTo>
                  <a:lnTo>
                    <a:pt x="46" y="88"/>
                  </a:lnTo>
                  <a:lnTo>
                    <a:pt x="36" y="86"/>
                  </a:lnTo>
                  <a:lnTo>
                    <a:pt x="27" y="84"/>
                  </a:lnTo>
                  <a:lnTo>
                    <a:pt x="20" y="80"/>
                  </a:lnTo>
                  <a:lnTo>
                    <a:pt x="14" y="74"/>
                  </a:lnTo>
                  <a:lnTo>
                    <a:pt x="9" y="68"/>
                  </a:lnTo>
                  <a:lnTo>
                    <a:pt x="4" y="61"/>
                  </a:lnTo>
                  <a:lnTo>
                    <a:pt x="1" y="53"/>
                  </a:lnTo>
                  <a:lnTo>
                    <a:pt x="0" y="44"/>
                  </a:lnTo>
                  <a:lnTo>
                    <a:pt x="1" y="36"/>
                  </a:lnTo>
                  <a:lnTo>
                    <a:pt x="4" y="27"/>
                  </a:lnTo>
                  <a:lnTo>
                    <a:pt x="9" y="20"/>
                  </a:lnTo>
                  <a:lnTo>
                    <a:pt x="14" y="12"/>
                  </a:lnTo>
                  <a:lnTo>
                    <a:pt x="20" y="7"/>
                  </a:lnTo>
                  <a:lnTo>
                    <a:pt x="27" y="4"/>
                  </a:lnTo>
                  <a:lnTo>
                    <a:pt x="36" y="1"/>
                  </a:lnTo>
                  <a:lnTo>
                    <a:pt x="46" y="0"/>
                  </a:lnTo>
                  <a:lnTo>
                    <a:pt x="258" y="0"/>
                  </a:lnTo>
                  <a:lnTo>
                    <a:pt x="267" y="1"/>
                  </a:lnTo>
                  <a:lnTo>
                    <a:pt x="276" y="4"/>
                  </a:lnTo>
                  <a:lnTo>
                    <a:pt x="283" y="7"/>
                  </a:lnTo>
                  <a:lnTo>
                    <a:pt x="289" y="12"/>
                  </a:lnTo>
                  <a:lnTo>
                    <a:pt x="295" y="20"/>
                  </a:lnTo>
                  <a:lnTo>
                    <a:pt x="299" y="27"/>
                  </a:lnTo>
                  <a:lnTo>
                    <a:pt x="301" y="36"/>
                  </a:lnTo>
                  <a:lnTo>
                    <a:pt x="303" y="44"/>
                  </a:lnTo>
                  <a:lnTo>
                    <a:pt x="301" y="53"/>
                  </a:lnTo>
                  <a:lnTo>
                    <a:pt x="299" y="61"/>
                  </a:lnTo>
                  <a:lnTo>
                    <a:pt x="295" y="68"/>
                  </a:lnTo>
                  <a:lnTo>
                    <a:pt x="289" y="74"/>
                  </a:lnTo>
                  <a:lnTo>
                    <a:pt x="283" y="80"/>
                  </a:lnTo>
                  <a:lnTo>
                    <a:pt x="276" y="84"/>
                  </a:lnTo>
                  <a:lnTo>
                    <a:pt x="267" y="86"/>
                  </a:lnTo>
                  <a:lnTo>
                    <a:pt x="258" y="88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7" name="Freeform 110"/>
            <p:cNvSpPr>
              <a:spLocks noEditPoints="1"/>
            </p:cNvSpPr>
            <p:nvPr/>
          </p:nvSpPr>
          <p:spPr bwMode="auto">
            <a:xfrm>
              <a:off x="7445375" y="9231313"/>
              <a:ext cx="147638" cy="207963"/>
            </a:xfrm>
            <a:custGeom>
              <a:avLst/>
              <a:gdLst>
                <a:gd name="T0" fmla="*/ 233 w 374"/>
                <a:gd name="T1" fmla="*/ 73 h 524"/>
                <a:gd name="T2" fmla="*/ 254 w 374"/>
                <a:gd name="T3" fmla="*/ 79 h 524"/>
                <a:gd name="T4" fmla="*/ 272 w 374"/>
                <a:gd name="T5" fmla="*/ 91 h 524"/>
                <a:gd name="T6" fmla="*/ 287 w 374"/>
                <a:gd name="T7" fmla="*/ 107 h 524"/>
                <a:gd name="T8" fmla="*/ 297 w 374"/>
                <a:gd name="T9" fmla="*/ 126 h 524"/>
                <a:gd name="T10" fmla="*/ 301 w 374"/>
                <a:gd name="T11" fmla="*/ 150 h 524"/>
                <a:gd name="T12" fmla="*/ 297 w 374"/>
                <a:gd name="T13" fmla="*/ 172 h 524"/>
                <a:gd name="T14" fmla="*/ 287 w 374"/>
                <a:gd name="T15" fmla="*/ 193 h 524"/>
                <a:gd name="T16" fmla="*/ 272 w 374"/>
                <a:gd name="T17" fmla="*/ 209 h 524"/>
                <a:gd name="T18" fmla="*/ 254 w 374"/>
                <a:gd name="T19" fmla="*/ 220 h 524"/>
                <a:gd name="T20" fmla="*/ 233 w 374"/>
                <a:gd name="T21" fmla="*/ 225 h 524"/>
                <a:gd name="T22" fmla="*/ 138 w 374"/>
                <a:gd name="T23" fmla="*/ 73 h 524"/>
                <a:gd name="T24" fmla="*/ 255 w 374"/>
                <a:gd name="T25" fmla="*/ 296 h 524"/>
                <a:gd name="T26" fmla="*/ 296 w 374"/>
                <a:gd name="T27" fmla="*/ 281 h 524"/>
                <a:gd name="T28" fmla="*/ 330 w 374"/>
                <a:gd name="T29" fmla="*/ 255 h 524"/>
                <a:gd name="T30" fmla="*/ 355 w 374"/>
                <a:gd name="T31" fmla="*/ 220 h 524"/>
                <a:gd name="T32" fmla="*/ 371 w 374"/>
                <a:gd name="T33" fmla="*/ 179 h 524"/>
                <a:gd name="T34" fmla="*/ 372 w 374"/>
                <a:gd name="T35" fmla="*/ 134 h 524"/>
                <a:gd name="T36" fmla="*/ 362 w 374"/>
                <a:gd name="T37" fmla="*/ 91 h 524"/>
                <a:gd name="T38" fmla="*/ 339 w 374"/>
                <a:gd name="T39" fmla="*/ 55 h 524"/>
                <a:gd name="T40" fmla="*/ 308 w 374"/>
                <a:gd name="T41" fmla="*/ 26 h 524"/>
                <a:gd name="T42" fmla="*/ 269 w 374"/>
                <a:gd name="T43" fmla="*/ 8 h 524"/>
                <a:gd name="T44" fmla="*/ 224 w 374"/>
                <a:gd name="T45" fmla="*/ 0 h 524"/>
                <a:gd name="T46" fmla="*/ 87 w 374"/>
                <a:gd name="T47" fmla="*/ 4 h 524"/>
                <a:gd name="T48" fmla="*/ 71 w 374"/>
                <a:gd name="T49" fmla="*/ 16 h 524"/>
                <a:gd name="T50" fmla="*/ 65 w 374"/>
                <a:gd name="T51" fmla="*/ 37 h 524"/>
                <a:gd name="T52" fmla="*/ 29 w 374"/>
                <a:gd name="T53" fmla="*/ 226 h 524"/>
                <a:gd name="T54" fmla="*/ 10 w 374"/>
                <a:gd name="T55" fmla="*/ 236 h 524"/>
                <a:gd name="T56" fmla="*/ 0 w 374"/>
                <a:gd name="T57" fmla="*/ 255 h 524"/>
                <a:gd name="T58" fmla="*/ 3 w 374"/>
                <a:gd name="T59" fmla="*/ 276 h 524"/>
                <a:gd name="T60" fmla="*/ 15 w 374"/>
                <a:gd name="T61" fmla="*/ 292 h 524"/>
                <a:gd name="T62" fmla="*/ 36 w 374"/>
                <a:gd name="T63" fmla="*/ 298 h 524"/>
                <a:gd name="T64" fmla="*/ 36 w 374"/>
                <a:gd name="T65" fmla="*/ 340 h 524"/>
                <a:gd name="T66" fmla="*/ 15 w 374"/>
                <a:gd name="T67" fmla="*/ 346 h 524"/>
                <a:gd name="T68" fmla="*/ 3 w 374"/>
                <a:gd name="T69" fmla="*/ 362 h 524"/>
                <a:gd name="T70" fmla="*/ 0 w 374"/>
                <a:gd name="T71" fmla="*/ 384 h 524"/>
                <a:gd name="T72" fmla="*/ 10 w 374"/>
                <a:gd name="T73" fmla="*/ 403 h 524"/>
                <a:gd name="T74" fmla="*/ 29 w 374"/>
                <a:gd name="T75" fmla="*/ 413 h 524"/>
                <a:gd name="T76" fmla="*/ 65 w 374"/>
                <a:gd name="T77" fmla="*/ 487 h 524"/>
                <a:gd name="T78" fmla="*/ 71 w 374"/>
                <a:gd name="T79" fmla="*/ 508 h 524"/>
                <a:gd name="T80" fmla="*/ 87 w 374"/>
                <a:gd name="T81" fmla="*/ 520 h 524"/>
                <a:gd name="T82" fmla="*/ 108 w 374"/>
                <a:gd name="T83" fmla="*/ 523 h 524"/>
                <a:gd name="T84" fmla="*/ 126 w 374"/>
                <a:gd name="T85" fmla="*/ 513 h 524"/>
                <a:gd name="T86" fmla="*/ 138 w 374"/>
                <a:gd name="T87" fmla="*/ 494 h 524"/>
                <a:gd name="T88" fmla="*/ 257 w 374"/>
                <a:gd name="T89" fmla="*/ 413 h 524"/>
                <a:gd name="T90" fmla="*/ 277 w 374"/>
                <a:gd name="T91" fmla="*/ 407 h 524"/>
                <a:gd name="T92" fmla="*/ 291 w 374"/>
                <a:gd name="T93" fmla="*/ 391 h 524"/>
                <a:gd name="T94" fmla="*/ 293 w 374"/>
                <a:gd name="T95" fmla="*/ 370 h 524"/>
                <a:gd name="T96" fmla="*/ 283 w 374"/>
                <a:gd name="T97" fmla="*/ 351 h 524"/>
                <a:gd name="T98" fmla="*/ 265 w 374"/>
                <a:gd name="T99" fmla="*/ 341 h 524"/>
                <a:gd name="T100" fmla="*/ 138 w 374"/>
                <a:gd name="T101" fmla="*/ 298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74" h="524">
                  <a:moveTo>
                    <a:pt x="138" y="73"/>
                  </a:moveTo>
                  <a:lnTo>
                    <a:pt x="224" y="73"/>
                  </a:lnTo>
                  <a:lnTo>
                    <a:pt x="233" y="73"/>
                  </a:lnTo>
                  <a:lnTo>
                    <a:pt x="240" y="74"/>
                  </a:lnTo>
                  <a:lnTo>
                    <a:pt x="248" y="77"/>
                  </a:lnTo>
                  <a:lnTo>
                    <a:pt x="254" y="79"/>
                  </a:lnTo>
                  <a:lnTo>
                    <a:pt x="261" y="82"/>
                  </a:lnTo>
                  <a:lnTo>
                    <a:pt x="267" y="86"/>
                  </a:lnTo>
                  <a:lnTo>
                    <a:pt x="272" y="91"/>
                  </a:lnTo>
                  <a:lnTo>
                    <a:pt x="278" y="95"/>
                  </a:lnTo>
                  <a:lnTo>
                    <a:pt x="283" y="100"/>
                  </a:lnTo>
                  <a:lnTo>
                    <a:pt x="287" y="107"/>
                  </a:lnTo>
                  <a:lnTo>
                    <a:pt x="291" y="113"/>
                  </a:lnTo>
                  <a:lnTo>
                    <a:pt x="294" y="119"/>
                  </a:lnTo>
                  <a:lnTo>
                    <a:pt x="297" y="126"/>
                  </a:lnTo>
                  <a:lnTo>
                    <a:pt x="299" y="134"/>
                  </a:lnTo>
                  <a:lnTo>
                    <a:pt x="301" y="141"/>
                  </a:lnTo>
                  <a:lnTo>
                    <a:pt x="301" y="150"/>
                  </a:lnTo>
                  <a:lnTo>
                    <a:pt x="301" y="157"/>
                  </a:lnTo>
                  <a:lnTo>
                    <a:pt x="299" y="165"/>
                  </a:lnTo>
                  <a:lnTo>
                    <a:pt x="297" y="172"/>
                  </a:lnTo>
                  <a:lnTo>
                    <a:pt x="294" y="179"/>
                  </a:lnTo>
                  <a:lnTo>
                    <a:pt x="291" y="186"/>
                  </a:lnTo>
                  <a:lnTo>
                    <a:pt x="287" y="193"/>
                  </a:lnTo>
                  <a:lnTo>
                    <a:pt x="283" y="198"/>
                  </a:lnTo>
                  <a:lnTo>
                    <a:pt x="278" y="204"/>
                  </a:lnTo>
                  <a:lnTo>
                    <a:pt x="272" y="209"/>
                  </a:lnTo>
                  <a:lnTo>
                    <a:pt x="267" y="213"/>
                  </a:lnTo>
                  <a:lnTo>
                    <a:pt x="261" y="216"/>
                  </a:lnTo>
                  <a:lnTo>
                    <a:pt x="254" y="220"/>
                  </a:lnTo>
                  <a:lnTo>
                    <a:pt x="248" y="223"/>
                  </a:lnTo>
                  <a:lnTo>
                    <a:pt x="240" y="224"/>
                  </a:lnTo>
                  <a:lnTo>
                    <a:pt x="233" y="225"/>
                  </a:lnTo>
                  <a:lnTo>
                    <a:pt x="224" y="226"/>
                  </a:lnTo>
                  <a:lnTo>
                    <a:pt x="138" y="226"/>
                  </a:lnTo>
                  <a:lnTo>
                    <a:pt x="138" y="73"/>
                  </a:lnTo>
                  <a:close/>
                  <a:moveTo>
                    <a:pt x="224" y="298"/>
                  </a:moveTo>
                  <a:lnTo>
                    <a:pt x="240" y="298"/>
                  </a:lnTo>
                  <a:lnTo>
                    <a:pt x="255" y="296"/>
                  </a:lnTo>
                  <a:lnTo>
                    <a:pt x="269" y="292"/>
                  </a:lnTo>
                  <a:lnTo>
                    <a:pt x="282" y="287"/>
                  </a:lnTo>
                  <a:lnTo>
                    <a:pt x="296" y="281"/>
                  </a:lnTo>
                  <a:lnTo>
                    <a:pt x="308" y="272"/>
                  </a:lnTo>
                  <a:lnTo>
                    <a:pt x="319" y="263"/>
                  </a:lnTo>
                  <a:lnTo>
                    <a:pt x="330" y="255"/>
                  </a:lnTo>
                  <a:lnTo>
                    <a:pt x="339" y="244"/>
                  </a:lnTo>
                  <a:lnTo>
                    <a:pt x="348" y="233"/>
                  </a:lnTo>
                  <a:lnTo>
                    <a:pt x="355" y="220"/>
                  </a:lnTo>
                  <a:lnTo>
                    <a:pt x="362" y="207"/>
                  </a:lnTo>
                  <a:lnTo>
                    <a:pt x="367" y="193"/>
                  </a:lnTo>
                  <a:lnTo>
                    <a:pt x="371" y="179"/>
                  </a:lnTo>
                  <a:lnTo>
                    <a:pt x="372" y="165"/>
                  </a:lnTo>
                  <a:lnTo>
                    <a:pt x="374" y="150"/>
                  </a:lnTo>
                  <a:lnTo>
                    <a:pt x="372" y="134"/>
                  </a:lnTo>
                  <a:lnTo>
                    <a:pt x="371" y="119"/>
                  </a:lnTo>
                  <a:lnTo>
                    <a:pt x="367" y="105"/>
                  </a:lnTo>
                  <a:lnTo>
                    <a:pt x="362" y="91"/>
                  </a:lnTo>
                  <a:lnTo>
                    <a:pt x="355" y="78"/>
                  </a:lnTo>
                  <a:lnTo>
                    <a:pt x="348" y="66"/>
                  </a:lnTo>
                  <a:lnTo>
                    <a:pt x="339" y="55"/>
                  </a:lnTo>
                  <a:lnTo>
                    <a:pt x="330" y="44"/>
                  </a:lnTo>
                  <a:lnTo>
                    <a:pt x="319" y="35"/>
                  </a:lnTo>
                  <a:lnTo>
                    <a:pt x="308" y="26"/>
                  </a:lnTo>
                  <a:lnTo>
                    <a:pt x="296" y="19"/>
                  </a:lnTo>
                  <a:lnTo>
                    <a:pt x="282" y="13"/>
                  </a:lnTo>
                  <a:lnTo>
                    <a:pt x="269" y="8"/>
                  </a:lnTo>
                  <a:lnTo>
                    <a:pt x="255" y="4"/>
                  </a:lnTo>
                  <a:lnTo>
                    <a:pt x="240" y="2"/>
                  </a:lnTo>
                  <a:lnTo>
                    <a:pt x="224" y="0"/>
                  </a:lnTo>
                  <a:lnTo>
                    <a:pt x="100" y="0"/>
                  </a:lnTo>
                  <a:lnTo>
                    <a:pt x="94" y="2"/>
                  </a:lnTo>
                  <a:lnTo>
                    <a:pt x="87" y="4"/>
                  </a:lnTo>
                  <a:lnTo>
                    <a:pt x="81" y="7"/>
                  </a:lnTo>
                  <a:lnTo>
                    <a:pt x="76" y="12"/>
                  </a:lnTo>
                  <a:lnTo>
                    <a:pt x="71" y="16"/>
                  </a:lnTo>
                  <a:lnTo>
                    <a:pt x="67" y="23"/>
                  </a:lnTo>
                  <a:lnTo>
                    <a:pt x="66" y="30"/>
                  </a:lnTo>
                  <a:lnTo>
                    <a:pt x="65" y="37"/>
                  </a:lnTo>
                  <a:lnTo>
                    <a:pt x="65" y="226"/>
                  </a:lnTo>
                  <a:lnTo>
                    <a:pt x="36" y="226"/>
                  </a:lnTo>
                  <a:lnTo>
                    <a:pt x="29" y="226"/>
                  </a:lnTo>
                  <a:lnTo>
                    <a:pt x="23" y="229"/>
                  </a:lnTo>
                  <a:lnTo>
                    <a:pt x="15" y="233"/>
                  </a:lnTo>
                  <a:lnTo>
                    <a:pt x="10" y="236"/>
                  </a:lnTo>
                  <a:lnTo>
                    <a:pt x="7" y="241"/>
                  </a:lnTo>
                  <a:lnTo>
                    <a:pt x="3" y="247"/>
                  </a:lnTo>
                  <a:lnTo>
                    <a:pt x="0" y="255"/>
                  </a:lnTo>
                  <a:lnTo>
                    <a:pt x="0" y="262"/>
                  </a:lnTo>
                  <a:lnTo>
                    <a:pt x="0" y="270"/>
                  </a:lnTo>
                  <a:lnTo>
                    <a:pt x="3" y="276"/>
                  </a:lnTo>
                  <a:lnTo>
                    <a:pt x="7" y="282"/>
                  </a:lnTo>
                  <a:lnTo>
                    <a:pt x="10" y="288"/>
                  </a:lnTo>
                  <a:lnTo>
                    <a:pt x="15" y="292"/>
                  </a:lnTo>
                  <a:lnTo>
                    <a:pt x="23" y="296"/>
                  </a:lnTo>
                  <a:lnTo>
                    <a:pt x="29" y="298"/>
                  </a:lnTo>
                  <a:lnTo>
                    <a:pt x="36" y="298"/>
                  </a:lnTo>
                  <a:lnTo>
                    <a:pt x="65" y="298"/>
                  </a:lnTo>
                  <a:lnTo>
                    <a:pt x="65" y="340"/>
                  </a:lnTo>
                  <a:lnTo>
                    <a:pt x="36" y="340"/>
                  </a:lnTo>
                  <a:lnTo>
                    <a:pt x="29" y="341"/>
                  </a:lnTo>
                  <a:lnTo>
                    <a:pt x="23" y="344"/>
                  </a:lnTo>
                  <a:lnTo>
                    <a:pt x="15" y="346"/>
                  </a:lnTo>
                  <a:lnTo>
                    <a:pt x="10" y="351"/>
                  </a:lnTo>
                  <a:lnTo>
                    <a:pt x="7" y="356"/>
                  </a:lnTo>
                  <a:lnTo>
                    <a:pt x="3" y="362"/>
                  </a:lnTo>
                  <a:lnTo>
                    <a:pt x="0" y="370"/>
                  </a:lnTo>
                  <a:lnTo>
                    <a:pt x="0" y="377"/>
                  </a:lnTo>
                  <a:lnTo>
                    <a:pt x="0" y="384"/>
                  </a:lnTo>
                  <a:lnTo>
                    <a:pt x="3" y="391"/>
                  </a:lnTo>
                  <a:lnTo>
                    <a:pt x="7" y="397"/>
                  </a:lnTo>
                  <a:lnTo>
                    <a:pt x="10" y="403"/>
                  </a:lnTo>
                  <a:lnTo>
                    <a:pt x="15" y="407"/>
                  </a:lnTo>
                  <a:lnTo>
                    <a:pt x="23" y="410"/>
                  </a:lnTo>
                  <a:lnTo>
                    <a:pt x="29" y="413"/>
                  </a:lnTo>
                  <a:lnTo>
                    <a:pt x="36" y="413"/>
                  </a:lnTo>
                  <a:lnTo>
                    <a:pt x="65" y="413"/>
                  </a:lnTo>
                  <a:lnTo>
                    <a:pt x="65" y="487"/>
                  </a:lnTo>
                  <a:lnTo>
                    <a:pt x="66" y="494"/>
                  </a:lnTo>
                  <a:lnTo>
                    <a:pt x="67" y="502"/>
                  </a:lnTo>
                  <a:lnTo>
                    <a:pt x="71" y="508"/>
                  </a:lnTo>
                  <a:lnTo>
                    <a:pt x="76" y="513"/>
                  </a:lnTo>
                  <a:lnTo>
                    <a:pt x="81" y="518"/>
                  </a:lnTo>
                  <a:lnTo>
                    <a:pt x="87" y="520"/>
                  </a:lnTo>
                  <a:lnTo>
                    <a:pt x="94" y="523"/>
                  </a:lnTo>
                  <a:lnTo>
                    <a:pt x="100" y="524"/>
                  </a:lnTo>
                  <a:lnTo>
                    <a:pt x="108" y="523"/>
                  </a:lnTo>
                  <a:lnTo>
                    <a:pt x="115" y="520"/>
                  </a:lnTo>
                  <a:lnTo>
                    <a:pt x="122" y="518"/>
                  </a:lnTo>
                  <a:lnTo>
                    <a:pt x="126" y="513"/>
                  </a:lnTo>
                  <a:lnTo>
                    <a:pt x="131" y="508"/>
                  </a:lnTo>
                  <a:lnTo>
                    <a:pt x="135" y="502"/>
                  </a:lnTo>
                  <a:lnTo>
                    <a:pt x="138" y="494"/>
                  </a:lnTo>
                  <a:lnTo>
                    <a:pt x="138" y="487"/>
                  </a:lnTo>
                  <a:lnTo>
                    <a:pt x="138" y="413"/>
                  </a:lnTo>
                  <a:lnTo>
                    <a:pt x="257" y="413"/>
                  </a:lnTo>
                  <a:lnTo>
                    <a:pt x="265" y="413"/>
                  </a:lnTo>
                  <a:lnTo>
                    <a:pt x="271" y="410"/>
                  </a:lnTo>
                  <a:lnTo>
                    <a:pt x="277" y="407"/>
                  </a:lnTo>
                  <a:lnTo>
                    <a:pt x="283" y="403"/>
                  </a:lnTo>
                  <a:lnTo>
                    <a:pt x="287" y="397"/>
                  </a:lnTo>
                  <a:lnTo>
                    <a:pt x="291" y="391"/>
                  </a:lnTo>
                  <a:lnTo>
                    <a:pt x="293" y="384"/>
                  </a:lnTo>
                  <a:lnTo>
                    <a:pt x="294" y="377"/>
                  </a:lnTo>
                  <a:lnTo>
                    <a:pt x="293" y="370"/>
                  </a:lnTo>
                  <a:lnTo>
                    <a:pt x="291" y="362"/>
                  </a:lnTo>
                  <a:lnTo>
                    <a:pt x="287" y="356"/>
                  </a:lnTo>
                  <a:lnTo>
                    <a:pt x="283" y="351"/>
                  </a:lnTo>
                  <a:lnTo>
                    <a:pt x="277" y="346"/>
                  </a:lnTo>
                  <a:lnTo>
                    <a:pt x="271" y="344"/>
                  </a:lnTo>
                  <a:lnTo>
                    <a:pt x="265" y="341"/>
                  </a:lnTo>
                  <a:lnTo>
                    <a:pt x="257" y="340"/>
                  </a:lnTo>
                  <a:lnTo>
                    <a:pt x="138" y="340"/>
                  </a:lnTo>
                  <a:lnTo>
                    <a:pt x="138" y="298"/>
                  </a:lnTo>
                  <a:lnTo>
                    <a:pt x="224" y="2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8" name="Freeform 111"/>
            <p:cNvSpPr>
              <a:spLocks noEditPoints="1"/>
            </p:cNvSpPr>
            <p:nvPr/>
          </p:nvSpPr>
          <p:spPr bwMode="auto">
            <a:xfrm>
              <a:off x="7440613" y="9226550"/>
              <a:ext cx="157163" cy="217488"/>
            </a:xfrm>
            <a:custGeom>
              <a:avLst/>
              <a:gdLst>
                <a:gd name="T0" fmla="*/ 282 w 398"/>
                <a:gd name="T1" fmla="*/ 206 h 547"/>
                <a:gd name="T2" fmla="*/ 300 w 398"/>
                <a:gd name="T3" fmla="*/ 162 h 547"/>
                <a:gd name="T4" fmla="*/ 282 w 398"/>
                <a:gd name="T5" fmla="*/ 115 h 547"/>
                <a:gd name="T6" fmla="*/ 236 w 398"/>
                <a:gd name="T7" fmla="*/ 96 h 547"/>
                <a:gd name="T8" fmla="*/ 141 w 398"/>
                <a:gd name="T9" fmla="*/ 246 h 547"/>
                <a:gd name="T10" fmla="*/ 145 w 398"/>
                <a:gd name="T11" fmla="*/ 74 h 547"/>
                <a:gd name="T12" fmla="*/ 271 w 398"/>
                <a:gd name="T13" fmla="*/ 80 h 547"/>
                <a:gd name="T14" fmla="*/ 310 w 398"/>
                <a:gd name="T15" fmla="*/ 112 h 547"/>
                <a:gd name="T16" fmla="*/ 325 w 398"/>
                <a:gd name="T17" fmla="*/ 162 h 547"/>
                <a:gd name="T18" fmla="*/ 310 w 398"/>
                <a:gd name="T19" fmla="*/ 211 h 547"/>
                <a:gd name="T20" fmla="*/ 271 w 398"/>
                <a:gd name="T21" fmla="*/ 242 h 547"/>
                <a:gd name="T22" fmla="*/ 43 w 398"/>
                <a:gd name="T23" fmla="*/ 364 h 547"/>
                <a:gd name="T24" fmla="*/ 25 w 398"/>
                <a:gd name="T25" fmla="*/ 384 h 547"/>
                <a:gd name="T26" fmla="*/ 35 w 398"/>
                <a:gd name="T27" fmla="*/ 409 h 547"/>
                <a:gd name="T28" fmla="*/ 85 w 398"/>
                <a:gd name="T29" fmla="*/ 417 h 547"/>
                <a:gd name="T30" fmla="*/ 93 w 398"/>
                <a:gd name="T31" fmla="*/ 513 h 547"/>
                <a:gd name="T32" fmla="*/ 119 w 398"/>
                <a:gd name="T33" fmla="*/ 524 h 547"/>
                <a:gd name="T34" fmla="*/ 137 w 398"/>
                <a:gd name="T35" fmla="*/ 504 h 547"/>
                <a:gd name="T36" fmla="*/ 150 w 398"/>
                <a:gd name="T37" fmla="*/ 414 h 547"/>
                <a:gd name="T38" fmla="*/ 289 w 398"/>
                <a:gd name="T39" fmla="*/ 403 h 547"/>
                <a:gd name="T40" fmla="*/ 289 w 398"/>
                <a:gd name="T41" fmla="*/ 375 h 547"/>
                <a:gd name="T42" fmla="*/ 150 w 398"/>
                <a:gd name="T43" fmla="*/ 364 h 547"/>
                <a:gd name="T44" fmla="*/ 138 w 398"/>
                <a:gd name="T45" fmla="*/ 306 h 547"/>
                <a:gd name="T46" fmla="*/ 264 w 398"/>
                <a:gd name="T47" fmla="*/ 295 h 547"/>
                <a:gd name="T48" fmla="*/ 334 w 398"/>
                <a:gd name="T49" fmla="*/ 258 h 547"/>
                <a:gd name="T50" fmla="*/ 371 w 398"/>
                <a:gd name="T51" fmla="*/ 189 h 547"/>
                <a:gd name="T52" fmla="*/ 363 w 398"/>
                <a:gd name="T53" fmla="*/ 107 h 547"/>
                <a:gd name="T54" fmla="*/ 313 w 398"/>
                <a:gd name="T55" fmla="*/ 47 h 547"/>
                <a:gd name="T56" fmla="*/ 236 w 398"/>
                <a:gd name="T57" fmla="*/ 25 h 547"/>
                <a:gd name="T58" fmla="*/ 93 w 398"/>
                <a:gd name="T59" fmla="*/ 35 h 547"/>
                <a:gd name="T60" fmla="*/ 85 w 398"/>
                <a:gd name="T61" fmla="*/ 246 h 547"/>
                <a:gd name="T62" fmla="*/ 35 w 398"/>
                <a:gd name="T63" fmla="*/ 253 h 547"/>
                <a:gd name="T64" fmla="*/ 25 w 398"/>
                <a:gd name="T65" fmla="*/ 279 h 547"/>
                <a:gd name="T66" fmla="*/ 43 w 398"/>
                <a:gd name="T67" fmla="*/ 298 h 547"/>
                <a:gd name="T68" fmla="*/ 89 w 398"/>
                <a:gd name="T69" fmla="*/ 310 h 547"/>
                <a:gd name="T70" fmla="*/ 48 w 398"/>
                <a:gd name="T71" fmla="*/ 364 h 547"/>
                <a:gd name="T72" fmla="*/ 73 w 398"/>
                <a:gd name="T73" fmla="*/ 526 h 547"/>
                <a:gd name="T74" fmla="*/ 38 w 398"/>
                <a:gd name="T75" fmla="*/ 436 h 547"/>
                <a:gd name="T76" fmla="*/ 1 w 398"/>
                <a:gd name="T77" fmla="*/ 399 h 547"/>
                <a:gd name="T78" fmla="*/ 21 w 398"/>
                <a:gd name="T79" fmla="*/ 348 h 547"/>
                <a:gd name="T80" fmla="*/ 48 w 398"/>
                <a:gd name="T81" fmla="*/ 322 h 547"/>
                <a:gd name="T82" fmla="*/ 4 w 398"/>
                <a:gd name="T83" fmla="*/ 293 h 547"/>
                <a:gd name="T84" fmla="*/ 14 w 398"/>
                <a:gd name="T85" fmla="*/ 240 h 547"/>
                <a:gd name="T86" fmla="*/ 66 w 398"/>
                <a:gd name="T87" fmla="*/ 49 h 547"/>
                <a:gd name="T88" fmla="*/ 94 w 398"/>
                <a:gd name="T89" fmla="*/ 4 h 547"/>
                <a:gd name="T90" fmla="*/ 284 w 398"/>
                <a:gd name="T91" fmla="*/ 7 h 547"/>
                <a:gd name="T92" fmla="*/ 361 w 398"/>
                <a:gd name="T93" fmla="*/ 59 h 547"/>
                <a:gd name="T94" fmla="*/ 397 w 398"/>
                <a:gd name="T95" fmla="*/ 146 h 547"/>
                <a:gd name="T96" fmla="*/ 378 w 398"/>
                <a:gd name="T97" fmla="*/ 237 h 547"/>
                <a:gd name="T98" fmla="*/ 313 w 398"/>
                <a:gd name="T99" fmla="*/ 303 h 547"/>
                <a:gd name="T100" fmla="*/ 162 w 398"/>
                <a:gd name="T101" fmla="*/ 322 h 547"/>
                <a:gd name="T102" fmla="*/ 304 w 398"/>
                <a:gd name="T103" fmla="*/ 354 h 547"/>
                <a:gd name="T104" fmla="*/ 314 w 398"/>
                <a:gd name="T105" fmla="*/ 408 h 547"/>
                <a:gd name="T106" fmla="*/ 269 w 398"/>
                <a:gd name="T107" fmla="*/ 437 h 547"/>
                <a:gd name="T108" fmla="*/ 147 w 398"/>
                <a:gd name="T109" fmla="*/ 534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8" h="547">
                  <a:moveTo>
                    <a:pt x="162" y="225"/>
                  </a:moveTo>
                  <a:lnTo>
                    <a:pt x="236" y="225"/>
                  </a:lnTo>
                  <a:lnTo>
                    <a:pt x="250" y="224"/>
                  </a:lnTo>
                  <a:lnTo>
                    <a:pt x="262" y="220"/>
                  </a:lnTo>
                  <a:lnTo>
                    <a:pt x="272" y="214"/>
                  </a:lnTo>
                  <a:lnTo>
                    <a:pt x="282" y="206"/>
                  </a:lnTo>
                  <a:lnTo>
                    <a:pt x="290" y="198"/>
                  </a:lnTo>
                  <a:lnTo>
                    <a:pt x="295" y="187"/>
                  </a:lnTo>
                  <a:lnTo>
                    <a:pt x="298" y="180"/>
                  </a:lnTo>
                  <a:lnTo>
                    <a:pt x="299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300" y="154"/>
                  </a:lnTo>
                  <a:lnTo>
                    <a:pt x="299" y="148"/>
                  </a:lnTo>
                  <a:lnTo>
                    <a:pt x="298" y="142"/>
                  </a:lnTo>
                  <a:lnTo>
                    <a:pt x="295" y="136"/>
                  </a:lnTo>
                  <a:lnTo>
                    <a:pt x="290" y="125"/>
                  </a:lnTo>
                  <a:lnTo>
                    <a:pt x="282" y="115"/>
                  </a:lnTo>
                  <a:lnTo>
                    <a:pt x="272" y="107"/>
                  </a:lnTo>
                  <a:lnTo>
                    <a:pt x="262" y="101"/>
                  </a:lnTo>
                  <a:lnTo>
                    <a:pt x="256" y="99"/>
                  </a:lnTo>
                  <a:lnTo>
                    <a:pt x="250" y="98"/>
                  </a:lnTo>
                  <a:lnTo>
                    <a:pt x="243" y="96"/>
                  </a:lnTo>
                  <a:lnTo>
                    <a:pt x="236" y="96"/>
                  </a:lnTo>
                  <a:lnTo>
                    <a:pt x="162" y="96"/>
                  </a:lnTo>
                  <a:lnTo>
                    <a:pt x="162" y="225"/>
                  </a:lnTo>
                  <a:close/>
                  <a:moveTo>
                    <a:pt x="236" y="249"/>
                  </a:moveTo>
                  <a:lnTo>
                    <a:pt x="150" y="249"/>
                  </a:lnTo>
                  <a:lnTo>
                    <a:pt x="145" y="248"/>
                  </a:lnTo>
                  <a:lnTo>
                    <a:pt x="141" y="246"/>
                  </a:lnTo>
                  <a:lnTo>
                    <a:pt x="138" y="242"/>
                  </a:lnTo>
                  <a:lnTo>
                    <a:pt x="138" y="238"/>
                  </a:lnTo>
                  <a:lnTo>
                    <a:pt x="138" y="85"/>
                  </a:lnTo>
                  <a:lnTo>
                    <a:pt x="138" y="80"/>
                  </a:lnTo>
                  <a:lnTo>
                    <a:pt x="141" y="77"/>
                  </a:lnTo>
                  <a:lnTo>
                    <a:pt x="145" y="74"/>
                  </a:lnTo>
                  <a:lnTo>
                    <a:pt x="150" y="74"/>
                  </a:lnTo>
                  <a:lnTo>
                    <a:pt x="236" y="74"/>
                  </a:lnTo>
                  <a:lnTo>
                    <a:pt x="246" y="74"/>
                  </a:lnTo>
                  <a:lnTo>
                    <a:pt x="255" y="75"/>
                  </a:lnTo>
                  <a:lnTo>
                    <a:pt x="263" y="78"/>
                  </a:lnTo>
                  <a:lnTo>
                    <a:pt x="271" y="80"/>
                  </a:lnTo>
                  <a:lnTo>
                    <a:pt x="278" y="84"/>
                  </a:lnTo>
                  <a:lnTo>
                    <a:pt x="285" y="89"/>
                  </a:lnTo>
                  <a:lnTo>
                    <a:pt x="293" y="94"/>
                  </a:lnTo>
                  <a:lnTo>
                    <a:pt x="299" y="99"/>
                  </a:lnTo>
                  <a:lnTo>
                    <a:pt x="304" y="105"/>
                  </a:lnTo>
                  <a:lnTo>
                    <a:pt x="310" y="112"/>
                  </a:lnTo>
                  <a:lnTo>
                    <a:pt x="314" y="119"/>
                  </a:lnTo>
                  <a:lnTo>
                    <a:pt x="318" y="127"/>
                  </a:lnTo>
                  <a:lnTo>
                    <a:pt x="321" y="135"/>
                  </a:lnTo>
                  <a:lnTo>
                    <a:pt x="323" y="143"/>
                  </a:lnTo>
                  <a:lnTo>
                    <a:pt x="324" y="152"/>
                  </a:lnTo>
                  <a:lnTo>
                    <a:pt x="325" y="162"/>
                  </a:lnTo>
                  <a:lnTo>
                    <a:pt x="324" y="170"/>
                  </a:lnTo>
                  <a:lnTo>
                    <a:pt x="323" y="179"/>
                  </a:lnTo>
                  <a:lnTo>
                    <a:pt x="321" y="188"/>
                  </a:lnTo>
                  <a:lnTo>
                    <a:pt x="318" y="196"/>
                  </a:lnTo>
                  <a:lnTo>
                    <a:pt x="314" y="204"/>
                  </a:lnTo>
                  <a:lnTo>
                    <a:pt x="310" y="211"/>
                  </a:lnTo>
                  <a:lnTo>
                    <a:pt x="304" y="217"/>
                  </a:lnTo>
                  <a:lnTo>
                    <a:pt x="299" y="224"/>
                  </a:lnTo>
                  <a:lnTo>
                    <a:pt x="293" y="230"/>
                  </a:lnTo>
                  <a:lnTo>
                    <a:pt x="285" y="235"/>
                  </a:lnTo>
                  <a:lnTo>
                    <a:pt x="278" y="238"/>
                  </a:lnTo>
                  <a:lnTo>
                    <a:pt x="271" y="242"/>
                  </a:lnTo>
                  <a:lnTo>
                    <a:pt x="263" y="246"/>
                  </a:lnTo>
                  <a:lnTo>
                    <a:pt x="255" y="247"/>
                  </a:lnTo>
                  <a:lnTo>
                    <a:pt x="246" y="248"/>
                  </a:lnTo>
                  <a:lnTo>
                    <a:pt x="236" y="249"/>
                  </a:lnTo>
                  <a:close/>
                  <a:moveTo>
                    <a:pt x="48" y="364"/>
                  </a:moveTo>
                  <a:lnTo>
                    <a:pt x="43" y="364"/>
                  </a:lnTo>
                  <a:lnTo>
                    <a:pt x="38" y="367"/>
                  </a:lnTo>
                  <a:lnTo>
                    <a:pt x="35" y="368"/>
                  </a:lnTo>
                  <a:lnTo>
                    <a:pt x="31" y="372"/>
                  </a:lnTo>
                  <a:lnTo>
                    <a:pt x="28" y="375"/>
                  </a:lnTo>
                  <a:lnTo>
                    <a:pt x="26" y="379"/>
                  </a:lnTo>
                  <a:lnTo>
                    <a:pt x="25" y="384"/>
                  </a:lnTo>
                  <a:lnTo>
                    <a:pt x="24" y="389"/>
                  </a:lnTo>
                  <a:lnTo>
                    <a:pt x="25" y="394"/>
                  </a:lnTo>
                  <a:lnTo>
                    <a:pt x="26" y="398"/>
                  </a:lnTo>
                  <a:lnTo>
                    <a:pt x="28" y="403"/>
                  </a:lnTo>
                  <a:lnTo>
                    <a:pt x="31" y="406"/>
                  </a:lnTo>
                  <a:lnTo>
                    <a:pt x="35" y="409"/>
                  </a:lnTo>
                  <a:lnTo>
                    <a:pt x="38" y="411"/>
                  </a:lnTo>
                  <a:lnTo>
                    <a:pt x="43" y="413"/>
                  </a:lnTo>
                  <a:lnTo>
                    <a:pt x="48" y="414"/>
                  </a:lnTo>
                  <a:lnTo>
                    <a:pt x="77" y="414"/>
                  </a:lnTo>
                  <a:lnTo>
                    <a:pt x="82" y="414"/>
                  </a:lnTo>
                  <a:lnTo>
                    <a:pt x="85" y="417"/>
                  </a:lnTo>
                  <a:lnTo>
                    <a:pt x="88" y="421"/>
                  </a:lnTo>
                  <a:lnTo>
                    <a:pt x="89" y="425"/>
                  </a:lnTo>
                  <a:lnTo>
                    <a:pt x="89" y="499"/>
                  </a:lnTo>
                  <a:lnTo>
                    <a:pt x="89" y="504"/>
                  </a:lnTo>
                  <a:lnTo>
                    <a:pt x="91" y="509"/>
                  </a:lnTo>
                  <a:lnTo>
                    <a:pt x="93" y="513"/>
                  </a:lnTo>
                  <a:lnTo>
                    <a:pt x="96" y="516"/>
                  </a:lnTo>
                  <a:lnTo>
                    <a:pt x="100" y="520"/>
                  </a:lnTo>
                  <a:lnTo>
                    <a:pt x="104" y="521"/>
                  </a:lnTo>
                  <a:lnTo>
                    <a:pt x="109" y="524"/>
                  </a:lnTo>
                  <a:lnTo>
                    <a:pt x="112" y="524"/>
                  </a:lnTo>
                  <a:lnTo>
                    <a:pt x="119" y="524"/>
                  </a:lnTo>
                  <a:lnTo>
                    <a:pt x="122" y="521"/>
                  </a:lnTo>
                  <a:lnTo>
                    <a:pt x="127" y="520"/>
                  </a:lnTo>
                  <a:lnTo>
                    <a:pt x="131" y="516"/>
                  </a:lnTo>
                  <a:lnTo>
                    <a:pt x="134" y="513"/>
                  </a:lnTo>
                  <a:lnTo>
                    <a:pt x="136" y="509"/>
                  </a:lnTo>
                  <a:lnTo>
                    <a:pt x="137" y="504"/>
                  </a:lnTo>
                  <a:lnTo>
                    <a:pt x="138" y="499"/>
                  </a:lnTo>
                  <a:lnTo>
                    <a:pt x="138" y="425"/>
                  </a:lnTo>
                  <a:lnTo>
                    <a:pt x="138" y="421"/>
                  </a:lnTo>
                  <a:lnTo>
                    <a:pt x="141" y="417"/>
                  </a:lnTo>
                  <a:lnTo>
                    <a:pt x="145" y="414"/>
                  </a:lnTo>
                  <a:lnTo>
                    <a:pt x="150" y="414"/>
                  </a:lnTo>
                  <a:lnTo>
                    <a:pt x="269" y="414"/>
                  </a:lnTo>
                  <a:lnTo>
                    <a:pt x="274" y="413"/>
                  </a:lnTo>
                  <a:lnTo>
                    <a:pt x="279" y="411"/>
                  </a:lnTo>
                  <a:lnTo>
                    <a:pt x="283" y="409"/>
                  </a:lnTo>
                  <a:lnTo>
                    <a:pt x="287" y="406"/>
                  </a:lnTo>
                  <a:lnTo>
                    <a:pt x="289" y="403"/>
                  </a:lnTo>
                  <a:lnTo>
                    <a:pt x="292" y="398"/>
                  </a:lnTo>
                  <a:lnTo>
                    <a:pt x="293" y="394"/>
                  </a:lnTo>
                  <a:lnTo>
                    <a:pt x="294" y="389"/>
                  </a:lnTo>
                  <a:lnTo>
                    <a:pt x="293" y="384"/>
                  </a:lnTo>
                  <a:lnTo>
                    <a:pt x="292" y="379"/>
                  </a:lnTo>
                  <a:lnTo>
                    <a:pt x="289" y="375"/>
                  </a:lnTo>
                  <a:lnTo>
                    <a:pt x="287" y="372"/>
                  </a:lnTo>
                  <a:lnTo>
                    <a:pt x="283" y="368"/>
                  </a:lnTo>
                  <a:lnTo>
                    <a:pt x="279" y="367"/>
                  </a:lnTo>
                  <a:lnTo>
                    <a:pt x="274" y="364"/>
                  </a:lnTo>
                  <a:lnTo>
                    <a:pt x="269" y="364"/>
                  </a:lnTo>
                  <a:lnTo>
                    <a:pt x="150" y="364"/>
                  </a:lnTo>
                  <a:lnTo>
                    <a:pt x="145" y="363"/>
                  </a:lnTo>
                  <a:lnTo>
                    <a:pt x="141" y="361"/>
                  </a:lnTo>
                  <a:lnTo>
                    <a:pt x="138" y="357"/>
                  </a:lnTo>
                  <a:lnTo>
                    <a:pt x="138" y="352"/>
                  </a:lnTo>
                  <a:lnTo>
                    <a:pt x="138" y="310"/>
                  </a:lnTo>
                  <a:lnTo>
                    <a:pt x="138" y="306"/>
                  </a:lnTo>
                  <a:lnTo>
                    <a:pt x="141" y="301"/>
                  </a:lnTo>
                  <a:lnTo>
                    <a:pt x="145" y="299"/>
                  </a:lnTo>
                  <a:lnTo>
                    <a:pt x="150" y="299"/>
                  </a:lnTo>
                  <a:lnTo>
                    <a:pt x="236" y="299"/>
                  </a:lnTo>
                  <a:lnTo>
                    <a:pt x="251" y="298"/>
                  </a:lnTo>
                  <a:lnTo>
                    <a:pt x="264" y="295"/>
                  </a:lnTo>
                  <a:lnTo>
                    <a:pt x="277" y="293"/>
                  </a:lnTo>
                  <a:lnTo>
                    <a:pt x="290" y="288"/>
                  </a:lnTo>
                  <a:lnTo>
                    <a:pt x="302" y="282"/>
                  </a:lnTo>
                  <a:lnTo>
                    <a:pt x="313" y="275"/>
                  </a:lnTo>
                  <a:lnTo>
                    <a:pt x="324" y="268"/>
                  </a:lnTo>
                  <a:lnTo>
                    <a:pt x="334" y="258"/>
                  </a:lnTo>
                  <a:lnTo>
                    <a:pt x="342" y="249"/>
                  </a:lnTo>
                  <a:lnTo>
                    <a:pt x="350" y="238"/>
                  </a:lnTo>
                  <a:lnTo>
                    <a:pt x="357" y="227"/>
                  </a:lnTo>
                  <a:lnTo>
                    <a:pt x="363" y="215"/>
                  </a:lnTo>
                  <a:lnTo>
                    <a:pt x="367" y="203"/>
                  </a:lnTo>
                  <a:lnTo>
                    <a:pt x="371" y="189"/>
                  </a:lnTo>
                  <a:lnTo>
                    <a:pt x="373" y="175"/>
                  </a:lnTo>
                  <a:lnTo>
                    <a:pt x="373" y="162"/>
                  </a:lnTo>
                  <a:lnTo>
                    <a:pt x="373" y="147"/>
                  </a:lnTo>
                  <a:lnTo>
                    <a:pt x="371" y="133"/>
                  </a:lnTo>
                  <a:lnTo>
                    <a:pt x="367" y="120"/>
                  </a:lnTo>
                  <a:lnTo>
                    <a:pt x="363" y="107"/>
                  </a:lnTo>
                  <a:lnTo>
                    <a:pt x="357" y="95"/>
                  </a:lnTo>
                  <a:lnTo>
                    <a:pt x="350" y="84"/>
                  </a:lnTo>
                  <a:lnTo>
                    <a:pt x="342" y="74"/>
                  </a:lnTo>
                  <a:lnTo>
                    <a:pt x="334" y="64"/>
                  </a:lnTo>
                  <a:lnTo>
                    <a:pt x="324" y="56"/>
                  </a:lnTo>
                  <a:lnTo>
                    <a:pt x="313" y="47"/>
                  </a:lnTo>
                  <a:lnTo>
                    <a:pt x="302" y="41"/>
                  </a:lnTo>
                  <a:lnTo>
                    <a:pt x="290" y="35"/>
                  </a:lnTo>
                  <a:lnTo>
                    <a:pt x="277" y="31"/>
                  </a:lnTo>
                  <a:lnTo>
                    <a:pt x="264" y="27"/>
                  </a:lnTo>
                  <a:lnTo>
                    <a:pt x="251" y="25"/>
                  </a:lnTo>
                  <a:lnTo>
                    <a:pt x="236" y="25"/>
                  </a:lnTo>
                  <a:lnTo>
                    <a:pt x="112" y="25"/>
                  </a:lnTo>
                  <a:lnTo>
                    <a:pt x="109" y="25"/>
                  </a:lnTo>
                  <a:lnTo>
                    <a:pt x="104" y="26"/>
                  </a:lnTo>
                  <a:lnTo>
                    <a:pt x="100" y="28"/>
                  </a:lnTo>
                  <a:lnTo>
                    <a:pt x="96" y="32"/>
                  </a:lnTo>
                  <a:lnTo>
                    <a:pt x="93" y="35"/>
                  </a:lnTo>
                  <a:lnTo>
                    <a:pt x="91" y="40"/>
                  </a:lnTo>
                  <a:lnTo>
                    <a:pt x="89" y="44"/>
                  </a:lnTo>
                  <a:lnTo>
                    <a:pt x="89" y="49"/>
                  </a:lnTo>
                  <a:lnTo>
                    <a:pt x="89" y="238"/>
                  </a:lnTo>
                  <a:lnTo>
                    <a:pt x="88" y="242"/>
                  </a:lnTo>
                  <a:lnTo>
                    <a:pt x="85" y="246"/>
                  </a:lnTo>
                  <a:lnTo>
                    <a:pt x="82" y="248"/>
                  </a:lnTo>
                  <a:lnTo>
                    <a:pt x="77" y="249"/>
                  </a:lnTo>
                  <a:lnTo>
                    <a:pt x="48" y="249"/>
                  </a:lnTo>
                  <a:lnTo>
                    <a:pt x="43" y="249"/>
                  </a:lnTo>
                  <a:lnTo>
                    <a:pt x="38" y="251"/>
                  </a:lnTo>
                  <a:lnTo>
                    <a:pt x="35" y="253"/>
                  </a:lnTo>
                  <a:lnTo>
                    <a:pt x="31" y="257"/>
                  </a:lnTo>
                  <a:lnTo>
                    <a:pt x="28" y="261"/>
                  </a:lnTo>
                  <a:lnTo>
                    <a:pt x="26" y="264"/>
                  </a:lnTo>
                  <a:lnTo>
                    <a:pt x="25" y="269"/>
                  </a:lnTo>
                  <a:lnTo>
                    <a:pt x="24" y="274"/>
                  </a:lnTo>
                  <a:lnTo>
                    <a:pt x="25" y="279"/>
                  </a:lnTo>
                  <a:lnTo>
                    <a:pt x="26" y="283"/>
                  </a:lnTo>
                  <a:lnTo>
                    <a:pt x="28" y="288"/>
                  </a:lnTo>
                  <a:lnTo>
                    <a:pt x="31" y="291"/>
                  </a:lnTo>
                  <a:lnTo>
                    <a:pt x="35" y="294"/>
                  </a:lnTo>
                  <a:lnTo>
                    <a:pt x="38" y="296"/>
                  </a:lnTo>
                  <a:lnTo>
                    <a:pt x="43" y="298"/>
                  </a:lnTo>
                  <a:lnTo>
                    <a:pt x="48" y="299"/>
                  </a:lnTo>
                  <a:lnTo>
                    <a:pt x="77" y="299"/>
                  </a:lnTo>
                  <a:lnTo>
                    <a:pt x="82" y="299"/>
                  </a:lnTo>
                  <a:lnTo>
                    <a:pt x="85" y="301"/>
                  </a:lnTo>
                  <a:lnTo>
                    <a:pt x="88" y="306"/>
                  </a:lnTo>
                  <a:lnTo>
                    <a:pt x="89" y="310"/>
                  </a:lnTo>
                  <a:lnTo>
                    <a:pt x="89" y="352"/>
                  </a:lnTo>
                  <a:lnTo>
                    <a:pt x="88" y="357"/>
                  </a:lnTo>
                  <a:lnTo>
                    <a:pt x="85" y="361"/>
                  </a:lnTo>
                  <a:lnTo>
                    <a:pt x="82" y="363"/>
                  </a:lnTo>
                  <a:lnTo>
                    <a:pt x="77" y="364"/>
                  </a:lnTo>
                  <a:lnTo>
                    <a:pt x="48" y="364"/>
                  </a:lnTo>
                  <a:close/>
                  <a:moveTo>
                    <a:pt x="112" y="547"/>
                  </a:moveTo>
                  <a:lnTo>
                    <a:pt x="104" y="547"/>
                  </a:lnTo>
                  <a:lnTo>
                    <a:pt x="94" y="543"/>
                  </a:lnTo>
                  <a:lnTo>
                    <a:pt x="87" y="540"/>
                  </a:lnTo>
                  <a:lnTo>
                    <a:pt x="79" y="534"/>
                  </a:lnTo>
                  <a:lnTo>
                    <a:pt x="73" y="526"/>
                  </a:lnTo>
                  <a:lnTo>
                    <a:pt x="69" y="517"/>
                  </a:lnTo>
                  <a:lnTo>
                    <a:pt x="66" y="509"/>
                  </a:lnTo>
                  <a:lnTo>
                    <a:pt x="66" y="499"/>
                  </a:lnTo>
                  <a:lnTo>
                    <a:pt x="66" y="437"/>
                  </a:lnTo>
                  <a:lnTo>
                    <a:pt x="48" y="437"/>
                  </a:lnTo>
                  <a:lnTo>
                    <a:pt x="38" y="436"/>
                  </a:lnTo>
                  <a:lnTo>
                    <a:pt x="30" y="433"/>
                  </a:lnTo>
                  <a:lnTo>
                    <a:pt x="21" y="429"/>
                  </a:lnTo>
                  <a:lnTo>
                    <a:pt x="14" y="424"/>
                  </a:lnTo>
                  <a:lnTo>
                    <a:pt x="9" y="416"/>
                  </a:lnTo>
                  <a:lnTo>
                    <a:pt x="4" y="408"/>
                  </a:lnTo>
                  <a:lnTo>
                    <a:pt x="1" y="399"/>
                  </a:lnTo>
                  <a:lnTo>
                    <a:pt x="0" y="389"/>
                  </a:lnTo>
                  <a:lnTo>
                    <a:pt x="1" y="379"/>
                  </a:lnTo>
                  <a:lnTo>
                    <a:pt x="4" y="371"/>
                  </a:lnTo>
                  <a:lnTo>
                    <a:pt x="9" y="362"/>
                  </a:lnTo>
                  <a:lnTo>
                    <a:pt x="14" y="354"/>
                  </a:lnTo>
                  <a:lnTo>
                    <a:pt x="21" y="348"/>
                  </a:lnTo>
                  <a:lnTo>
                    <a:pt x="30" y="345"/>
                  </a:lnTo>
                  <a:lnTo>
                    <a:pt x="38" y="341"/>
                  </a:lnTo>
                  <a:lnTo>
                    <a:pt x="48" y="341"/>
                  </a:lnTo>
                  <a:lnTo>
                    <a:pt x="66" y="341"/>
                  </a:lnTo>
                  <a:lnTo>
                    <a:pt x="66" y="322"/>
                  </a:lnTo>
                  <a:lnTo>
                    <a:pt x="48" y="322"/>
                  </a:lnTo>
                  <a:lnTo>
                    <a:pt x="38" y="321"/>
                  </a:lnTo>
                  <a:lnTo>
                    <a:pt x="30" y="319"/>
                  </a:lnTo>
                  <a:lnTo>
                    <a:pt x="21" y="314"/>
                  </a:lnTo>
                  <a:lnTo>
                    <a:pt x="14" y="309"/>
                  </a:lnTo>
                  <a:lnTo>
                    <a:pt x="9" y="301"/>
                  </a:lnTo>
                  <a:lnTo>
                    <a:pt x="4" y="293"/>
                  </a:lnTo>
                  <a:lnTo>
                    <a:pt x="1" y="284"/>
                  </a:lnTo>
                  <a:lnTo>
                    <a:pt x="0" y="274"/>
                  </a:lnTo>
                  <a:lnTo>
                    <a:pt x="1" y="264"/>
                  </a:lnTo>
                  <a:lnTo>
                    <a:pt x="4" y="254"/>
                  </a:lnTo>
                  <a:lnTo>
                    <a:pt x="9" y="246"/>
                  </a:lnTo>
                  <a:lnTo>
                    <a:pt x="14" y="240"/>
                  </a:lnTo>
                  <a:lnTo>
                    <a:pt x="21" y="233"/>
                  </a:lnTo>
                  <a:lnTo>
                    <a:pt x="30" y="228"/>
                  </a:lnTo>
                  <a:lnTo>
                    <a:pt x="38" y="226"/>
                  </a:lnTo>
                  <a:lnTo>
                    <a:pt x="48" y="225"/>
                  </a:lnTo>
                  <a:lnTo>
                    <a:pt x="66" y="225"/>
                  </a:lnTo>
                  <a:lnTo>
                    <a:pt x="66" y="49"/>
                  </a:lnTo>
                  <a:lnTo>
                    <a:pt x="66" y="40"/>
                  </a:lnTo>
                  <a:lnTo>
                    <a:pt x="69" y="30"/>
                  </a:lnTo>
                  <a:lnTo>
                    <a:pt x="73" y="21"/>
                  </a:lnTo>
                  <a:lnTo>
                    <a:pt x="79" y="14"/>
                  </a:lnTo>
                  <a:lnTo>
                    <a:pt x="87" y="7"/>
                  </a:lnTo>
                  <a:lnTo>
                    <a:pt x="94" y="4"/>
                  </a:lnTo>
                  <a:lnTo>
                    <a:pt x="104" y="0"/>
                  </a:lnTo>
                  <a:lnTo>
                    <a:pt x="112" y="0"/>
                  </a:lnTo>
                  <a:lnTo>
                    <a:pt x="236" y="0"/>
                  </a:lnTo>
                  <a:lnTo>
                    <a:pt x="253" y="0"/>
                  </a:lnTo>
                  <a:lnTo>
                    <a:pt x="269" y="3"/>
                  </a:lnTo>
                  <a:lnTo>
                    <a:pt x="284" y="7"/>
                  </a:lnTo>
                  <a:lnTo>
                    <a:pt x="299" y="12"/>
                  </a:lnTo>
                  <a:lnTo>
                    <a:pt x="313" y="20"/>
                  </a:lnTo>
                  <a:lnTo>
                    <a:pt x="326" y="27"/>
                  </a:lnTo>
                  <a:lnTo>
                    <a:pt x="339" y="37"/>
                  </a:lnTo>
                  <a:lnTo>
                    <a:pt x="351" y="47"/>
                  </a:lnTo>
                  <a:lnTo>
                    <a:pt x="361" y="59"/>
                  </a:lnTo>
                  <a:lnTo>
                    <a:pt x="369" y="72"/>
                  </a:lnTo>
                  <a:lnTo>
                    <a:pt x="378" y="85"/>
                  </a:lnTo>
                  <a:lnTo>
                    <a:pt x="386" y="99"/>
                  </a:lnTo>
                  <a:lnTo>
                    <a:pt x="390" y="114"/>
                  </a:lnTo>
                  <a:lnTo>
                    <a:pt x="394" y="130"/>
                  </a:lnTo>
                  <a:lnTo>
                    <a:pt x="397" y="146"/>
                  </a:lnTo>
                  <a:lnTo>
                    <a:pt x="398" y="162"/>
                  </a:lnTo>
                  <a:lnTo>
                    <a:pt x="397" y="178"/>
                  </a:lnTo>
                  <a:lnTo>
                    <a:pt x="394" y="194"/>
                  </a:lnTo>
                  <a:lnTo>
                    <a:pt x="390" y="209"/>
                  </a:lnTo>
                  <a:lnTo>
                    <a:pt x="386" y="224"/>
                  </a:lnTo>
                  <a:lnTo>
                    <a:pt x="378" y="237"/>
                  </a:lnTo>
                  <a:lnTo>
                    <a:pt x="369" y="251"/>
                  </a:lnTo>
                  <a:lnTo>
                    <a:pt x="361" y="263"/>
                  </a:lnTo>
                  <a:lnTo>
                    <a:pt x="351" y="275"/>
                  </a:lnTo>
                  <a:lnTo>
                    <a:pt x="339" y="285"/>
                  </a:lnTo>
                  <a:lnTo>
                    <a:pt x="326" y="295"/>
                  </a:lnTo>
                  <a:lnTo>
                    <a:pt x="313" y="303"/>
                  </a:lnTo>
                  <a:lnTo>
                    <a:pt x="299" y="310"/>
                  </a:lnTo>
                  <a:lnTo>
                    <a:pt x="284" y="315"/>
                  </a:lnTo>
                  <a:lnTo>
                    <a:pt x="269" y="319"/>
                  </a:lnTo>
                  <a:lnTo>
                    <a:pt x="253" y="321"/>
                  </a:lnTo>
                  <a:lnTo>
                    <a:pt x="236" y="322"/>
                  </a:lnTo>
                  <a:lnTo>
                    <a:pt x="162" y="322"/>
                  </a:lnTo>
                  <a:lnTo>
                    <a:pt x="162" y="341"/>
                  </a:lnTo>
                  <a:lnTo>
                    <a:pt x="269" y="341"/>
                  </a:lnTo>
                  <a:lnTo>
                    <a:pt x="279" y="341"/>
                  </a:lnTo>
                  <a:lnTo>
                    <a:pt x="288" y="345"/>
                  </a:lnTo>
                  <a:lnTo>
                    <a:pt x="297" y="348"/>
                  </a:lnTo>
                  <a:lnTo>
                    <a:pt x="304" y="354"/>
                  </a:lnTo>
                  <a:lnTo>
                    <a:pt x="309" y="362"/>
                  </a:lnTo>
                  <a:lnTo>
                    <a:pt x="314" y="371"/>
                  </a:lnTo>
                  <a:lnTo>
                    <a:pt x="316" y="379"/>
                  </a:lnTo>
                  <a:lnTo>
                    <a:pt x="318" y="389"/>
                  </a:lnTo>
                  <a:lnTo>
                    <a:pt x="316" y="399"/>
                  </a:lnTo>
                  <a:lnTo>
                    <a:pt x="314" y="408"/>
                  </a:lnTo>
                  <a:lnTo>
                    <a:pt x="309" y="416"/>
                  </a:lnTo>
                  <a:lnTo>
                    <a:pt x="304" y="424"/>
                  </a:lnTo>
                  <a:lnTo>
                    <a:pt x="297" y="429"/>
                  </a:lnTo>
                  <a:lnTo>
                    <a:pt x="288" y="433"/>
                  </a:lnTo>
                  <a:lnTo>
                    <a:pt x="279" y="436"/>
                  </a:lnTo>
                  <a:lnTo>
                    <a:pt x="269" y="437"/>
                  </a:lnTo>
                  <a:lnTo>
                    <a:pt x="162" y="437"/>
                  </a:lnTo>
                  <a:lnTo>
                    <a:pt x="162" y="499"/>
                  </a:lnTo>
                  <a:lnTo>
                    <a:pt x="161" y="509"/>
                  </a:lnTo>
                  <a:lnTo>
                    <a:pt x="158" y="517"/>
                  </a:lnTo>
                  <a:lnTo>
                    <a:pt x="153" y="526"/>
                  </a:lnTo>
                  <a:lnTo>
                    <a:pt x="147" y="534"/>
                  </a:lnTo>
                  <a:lnTo>
                    <a:pt x="141" y="540"/>
                  </a:lnTo>
                  <a:lnTo>
                    <a:pt x="132" y="543"/>
                  </a:lnTo>
                  <a:lnTo>
                    <a:pt x="122" y="547"/>
                  </a:lnTo>
                  <a:lnTo>
                    <a:pt x="112" y="547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69" name="soglasovanie_z"/>
          <p:cNvGrpSpPr>
            <a:grpSpLocks noChangeAspect="1"/>
          </p:cNvGrpSpPr>
          <p:nvPr/>
        </p:nvGrpSpPr>
        <p:grpSpPr>
          <a:xfrm>
            <a:off x="2050299" y="3397805"/>
            <a:ext cx="257886" cy="233916"/>
            <a:chOff x="7716838" y="2057400"/>
            <a:chExt cx="495300" cy="449263"/>
          </a:xfrm>
        </p:grpSpPr>
        <p:sp>
          <p:nvSpPr>
            <p:cNvPr id="70" name="Rectangle 64"/>
            <p:cNvSpPr>
              <a:spLocks noChangeArrowheads="1"/>
            </p:cNvSpPr>
            <p:nvPr/>
          </p:nvSpPr>
          <p:spPr bwMode="auto">
            <a:xfrm>
              <a:off x="7721600" y="2062163"/>
              <a:ext cx="315913" cy="439738"/>
            </a:xfrm>
            <a:prstGeom prst="rect">
              <a:avLst/>
            </a:pr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1" name="Freeform 65"/>
            <p:cNvSpPr>
              <a:spLocks noEditPoints="1"/>
            </p:cNvSpPr>
            <p:nvPr/>
          </p:nvSpPr>
          <p:spPr bwMode="auto">
            <a:xfrm>
              <a:off x="7716838" y="2057400"/>
              <a:ext cx="325438" cy="449263"/>
            </a:xfrm>
            <a:custGeom>
              <a:avLst/>
              <a:gdLst>
                <a:gd name="T0" fmla="*/ 24 w 824"/>
                <a:gd name="T1" fmla="*/ 1109 h 1133"/>
                <a:gd name="T2" fmla="*/ 801 w 824"/>
                <a:gd name="T3" fmla="*/ 1109 h 1133"/>
                <a:gd name="T4" fmla="*/ 801 w 824"/>
                <a:gd name="T5" fmla="*/ 24 h 1133"/>
                <a:gd name="T6" fmla="*/ 24 w 824"/>
                <a:gd name="T7" fmla="*/ 24 h 1133"/>
                <a:gd name="T8" fmla="*/ 24 w 824"/>
                <a:gd name="T9" fmla="*/ 1109 h 1133"/>
                <a:gd name="T10" fmla="*/ 812 w 824"/>
                <a:gd name="T11" fmla="*/ 1133 h 1133"/>
                <a:gd name="T12" fmla="*/ 12 w 824"/>
                <a:gd name="T13" fmla="*/ 1133 h 1133"/>
                <a:gd name="T14" fmla="*/ 7 w 824"/>
                <a:gd name="T15" fmla="*/ 1132 h 1133"/>
                <a:gd name="T16" fmla="*/ 4 w 824"/>
                <a:gd name="T17" fmla="*/ 1130 h 1133"/>
                <a:gd name="T18" fmla="*/ 1 w 824"/>
                <a:gd name="T19" fmla="*/ 1126 h 1133"/>
                <a:gd name="T20" fmla="*/ 0 w 824"/>
                <a:gd name="T21" fmla="*/ 1121 h 1133"/>
                <a:gd name="T22" fmla="*/ 0 w 824"/>
                <a:gd name="T23" fmla="*/ 12 h 1133"/>
                <a:gd name="T24" fmla="*/ 1 w 824"/>
                <a:gd name="T25" fmla="*/ 8 h 1133"/>
                <a:gd name="T26" fmla="*/ 4 w 824"/>
                <a:gd name="T27" fmla="*/ 4 h 1133"/>
                <a:gd name="T28" fmla="*/ 7 w 824"/>
                <a:gd name="T29" fmla="*/ 2 h 1133"/>
                <a:gd name="T30" fmla="*/ 12 w 824"/>
                <a:gd name="T31" fmla="*/ 0 h 1133"/>
                <a:gd name="T32" fmla="*/ 812 w 824"/>
                <a:gd name="T33" fmla="*/ 0 h 1133"/>
                <a:gd name="T34" fmla="*/ 817 w 824"/>
                <a:gd name="T35" fmla="*/ 2 h 1133"/>
                <a:gd name="T36" fmla="*/ 820 w 824"/>
                <a:gd name="T37" fmla="*/ 4 h 1133"/>
                <a:gd name="T38" fmla="*/ 824 w 824"/>
                <a:gd name="T39" fmla="*/ 8 h 1133"/>
                <a:gd name="T40" fmla="*/ 824 w 824"/>
                <a:gd name="T41" fmla="*/ 12 h 1133"/>
                <a:gd name="T42" fmla="*/ 824 w 824"/>
                <a:gd name="T43" fmla="*/ 1121 h 1133"/>
                <a:gd name="T44" fmla="*/ 824 w 824"/>
                <a:gd name="T45" fmla="*/ 1126 h 1133"/>
                <a:gd name="T46" fmla="*/ 820 w 824"/>
                <a:gd name="T47" fmla="*/ 1130 h 1133"/>
                <a:gd name="T48" fmla="*/ 817 w 824"/>
                <a:gd name="T49" fmla="*/ 1132 h 1133"/>
                <a:gd name="T50" fmla="*/ 812 w 824"/>
                <a:gd name="T51" fmla="*/ 1133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24" h="1133">
                  <a:moveTo>
                    <a:pt x="24" y="1109"/>
                  </a:moveTo>
                  <a:lnTo>
                    <a:pt x="801" y="1109"/>
                  </a:lnTo>
                  <a:lnTo>
                    <a:pt x="801" y="24"/>
                  </a:lnTo>
                  <a:lnTo>
                    <a:pt x="24" y="24"/>
                  </a:lnTo>
                  <a:lnTo>
                    <a:pt x="24" y="1109"/>
                  </a:lnTo>
                  <a:close/>
                  <a:moveTo>
                    <a:pt x="812" y="1133"/>
                  </a:moveTo>
                  <a:lnTo>
                    <a:pt x="12" y="1133"/>
                  </a:lnTo>
                  <a:lnTo>
                    <a:pt x="7" y="1132"/>
                  </a:lnTo>
                  <a:lnTo>
                    <a:pt x="4" y="1130"/>
                  </a:lnTo>
                  <a:lnTo>
                    <a:pt x="1" y="1126"/>
                  </a:lnTo>
                  <a:lnTo>
                    <a:pt x="0" y="1121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812" y="0"/>
                  </a:lnTo>
                  <a:lnTo>
                    <a:pt x="817" y="2"/>
                  </a:lnTo>
                  <a:lnTo>
                    <a:pt x="820" y="4"/>
                  </a:lnTo>
                  <a:lnTo>
                    <a:pt x="824" y="8"/>
                  </a:lnTo>
                  <a:lnTo>
                    <a:pt x="824" y="12"/>
                  </a:lnTo>
                  <a:lnTo>
                    <a:pt x="824" y="1121"/>
                  </a:lnTo>
                  <a:lnTo>
                    <a:pt x="824" y="1126"/>
                  </a:lnTo>
                  <a:lnTo>
                    <a:pt x="820" y="1130"/>
                  </a:lnTo>
                  <a:lnTo>
                    <a:pt x="817" y="1132"/>
                  </a:lnTo>
                  <a:lnTo>
                    <a:pt x="812" y="1133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2" name="Freeform 66"/>
            <p:cNvSpPr>
              <a:spLocks/>
            </p:cNvSpPr>
            <p:nvPr/>
          </p:nvSpPr>
          <p:spPr bwMode="auto">
            <a:xfrm>
              <a:off x="7797800" y="2089150"/>
              <a:ext cx="409575" cy="361950"/>
            </a:xfrm>
            <a:custGeom>
              <a:avLst/>
              <a:gdLst>
                <a:gd name="T0" fmla="*/ 473 w 1031"/>
                <a:gd name="T1" fmla="*/ 911 h 911"/>
                <a:gd name="T2" fmla="*/ 0 w 1031"/>
                <a:gd name="T3" fmla="*/ 424 h 911"/>
                <a:gd name="T4" fmla="*/ 160 w 1031"/>
                <a:gd name="T5" fmla="*/ 268 h 911"/>
                <a:gd name="T6" fmla="*/ 447 w 1031"/>
                <a:gd name="T7" fmla="*/ 563 h 911"/>
                <a:gd name="T8" fmla="*/ 849 w 1031"/>
                <a:gd name="T9" fmla="*/ 0 h 911"/>
                <a:gd name="T10" fmla="*/ 1031 w 1031"/>
                <a:gd name="T11" fmla="*/ 131 h 911"/>
                <a:gd name="T12" fmla="*/ 473 w 1031"/>
                <a:gd name="T13" fmla="*/ 911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1" h="911">
                  <a:moveTo>
                    <a:pt x="473" y="911"/>
                  </a:moveTo>
                  <a:lnTo>
                    <a:pt x="0" y="424"/>
                  </a:lnTo>
                  <a:lnTo>
                    <a:pt x="160" y="268"/>
                  </a:lnTo>
                  <a:lnTo>
                    <a:pt x="447" y="563"/>
                  </a:lnTo>
                  <a:lnTo>
                    <a:pt x="849" y="0"/>
                  </a:lnTo>
                  <a:lnTo>
                    <a:pt x="1031" y="131"/>
                  </a:lnTo>
                  <a:lnTo>
                    <a:pt x="473" y="911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3" name="Freeform 67"/>
            <p:cNvSpPr>
              <a:spLocks/>
            </p:cNvSpPr>
            <p:nvPr/>
          </p:nvSpPr>
          <p:spPr bwMode="auto">
            <a:xfrm>
              <a:off x="7793038" y="2084388"/>
              <a:ext cx="419100" cy="371475"/>
            </a:xfrm>
            <a:custGeom>
              <a:avLst/>
              <a:gdLst>
                <a:gd name="T0" fmla="*/ 485 w 1055"/>
                <a:gd name="T1" fmla="*/ 923 h 935"/>
                <a:gd name="T2" fmla="*/ 494 w 1055"/>
                <a:gd name="T3" fmla="*/ 915 h 935"/>
                <a:gd name="T4" fmla="*/ 29 w 1055"/>
                <a:gd name="T5" fmla="*/ 436 h 935"/>
                <a:gd name="T6" fmla="*/ 172 w 1055"/>
                <a:gd name="T7" fmla="*/ 297 h 935"/>
                <a:gd name="T8" fmla="*/ 450 w 1055"/>
                <a:gd name="T9" fmla="*/ 584 h 935"/>
                <a:gd name="T10" fmla="*/ 455 w 1055"/>
                <a:gd name="T11" fmla="*/ 586 h 935"/>
                <a:gd name="T12" fmla="*/ 460 w 1055"/>
                <a:gd name="T13" fmla="*/ 587 h 935"/>
                <a:gd name="T14" fmla="*/ 465 w 1055"/>
                <a:gd name="T15" fmla="*/ 585 h 935"/>
                <a:gd name="T16" fmla="*/ 468 w 1055"/>
                <a:gd name="T17" fmla="*/ 582 h 935"/>
                <a:gd name="T18" fmla="*/ 863 w 1055"/>
                <a:gd name="T19" fmla="*/ 29 h 935"/>
                <a:gd name="T20" fmla="*/ 1026 w 1055"/>
                <a:gd name="T21" fmla="*/ 145 h 935"/>
                <a:gd name="T22" fmla="*/ 476 w 1055"/>
                <a:gd name="T23" fmla="*/ 917 h 935"/>
                <a:gd name="T24" fmla="*/ 485 w 1055"/>
                <a:gd name="T25" fmla="*/ 923 h 935"/>
                <a:gd name="T26" fmla="*/ 494 w 1055"/>
                <a:gd name="T27" fmla="*/ 915 h 935"/>
                <a:gd name="T28" fmla="*/ 485 w 1055"/>
                <a:gd name="T29" fmla="*/ 923 h 935"/>
                <a:gd name="T30" fmla="*/ 495 w 1055"/>
                <a:gd name="T31" fmla="*/ 930 h 935"/>
                <a:gd name="T32" fmla="*/ 1053 w 1055"/>
                <a:gd name="T33" fmla="*/ 149 h 935"/>
                <a:gd name="T34" fmla="*/ 1055 w 1055"/>
                <a:gd name="T35" fmla="*/ 145 h 935"/>
                <a:gd name="T36" fmla="*/ 1055 w 1055"/>
                <a:gd name="T37" fmla="*/ 140 h 935"/>
                <a:gd name="T38" fmla="*/ 1053 w 1055"/>
                <a:gd name="T39" fmla="*/ 137 h 935"/>
                <a:gd name="T40" fmla="*/ 1051 w 1055"/>
                <a:gd name="T41" fmla="*/ 133 h 935"/>
                <a:gd name="T42" fmla="*/ 868 w 1055"/>
                <a:gd name="T43" fmla="*/ 3 h 935"/>
                <a:gd name="T44" fmla="*/ 863 w 1055"/>
                <a:gd name="T45" fmla="*/ 0 h 935"/>
                <a:gd name="T46" fmla="*/ 858 w 1055"/>
                <a:gd name="T47" fmla="*/ 0 h 935"/>
                <a:gd name="T48" fmla="*/ 855 w 1055"/>
                <a:gd name="T49" fmla="*/ 1 h 935"/>
                <a:gd name="T50" fmla="*/ 851 w 1055"/>
                <a:gd name="T51" fmla="*/ 5 h 935"/>
                <a:gd name="T52" fmla="*/ 457 w 1055"/>
                <a:gd name="T53" fmla="*/ 556 h 935"/>
                <a:gd name="T54" fmla="*/ 181 w 1055"/>
                <a:gd name="T55" fmla="*/ 272 h 935"/>
                <a:gd name="T56" fmla="*/ 177 w 1055"/>
                <a:gd name="T57" fmla="*/ 270 h 935"/>
                <a:gd name="T58" fmla="*/ 172 w 1055"/>
                <a:gd name="T59" fmla="*/ 268 h 935"/>
                <a:gd name="T60" fmla="*/ 169 w 1055"/>
                <a:gd name="T61" fmla="*/ 268 h 935"/>
                <a:gd name="T62" fmla="*/ 164 w 1055"/>
                <a:gd name="T63" fmla="*/ 272 h 935"/>
                <a:gd name="T64" fmla="*/ 3 w 1055"/>
                <a:gd name="T65" fmla="*/ 428 h 935"/>
                <a:gd name="T66" fmla="*/ 1 w 1055"/>
                <a:gd name="T67" fmla="*/ 431 h 935"/>
                <a:gd name="T68" fmla="*/ 0 w 1055"/>
                <a:gd name="T69" fmla="*/ 436 h 935"/>
                <a:gd name="T70" fmla="*/ 1 w 1055"/>
                <a:gd name="T71" fmla="*/ 441 h 935"/>
                <a:gd name="T72" fmla="*/ 3 w 1055"/>
                <a:gd name="T73" fmla="*/ 445 h 935"/>
                <a:gd name="T74" fmla="*/ 477 w 1055"/>
                <a:gd name="T75" fmla="*/ 931 h 935"/>
                <a:gd name="T76" fmla="*/ 482 w 1055"/>
                <a:gd name="T77" fmla="*/ 935 h 935"/>
                <a:gd name="T78" fmla="*/ 486 w 1055"/>
                <a:gd name="T79" fmla="*/ 935 h 935"/>
                <a:gd name="T80" fmla="*/ 491 w 1055"/>
                <a:gd name="T81" fmla="*/ 934 h 935"/>
                <a:gd name="T82" fmla="*/ 495 w 1055"/>
                <a:gd name="T83" fmla="*/ 930 h 935"/>
                <a:gd name="T84" fmla="*/ 485 w 1055"/>
                <a:gd name="T85" fmla="*/ 923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5" h="935">
                  <a:moveTo>
                    <a:pt x="485" y="923"/>
                  </a:moveTo>
                  <a:lnTo>
                    <a:pt x="494" y="915"/>
                  </a:lnTo>
                  <a:lnTo>
                    <a:pt x="29" y="436"/>
                  </a:lnTo>
                  <a:lnTo>
                    <a:pt x="172" y="297"/>
                  </a:lnTo>
                  <a:lnTo>
                    <a:pt x="450" y="584"/>
                  </a:lnTo>
                  <a:lnTo>
                    <a:pt x="455" y="586"/>
                  </a:lnTo>
                  <a:lnTo>
                    <a:pt x="460" y="587"/>
                  </a:lnTo>
                  <a:lnTo>
                    <a:pt x="465" y="585"/>
                  </a:lnTo>
                  <a:lnTo>
                    <a:pt x="468" y="582"/>
                  </a:lnTo>
                  <a:lnTo>
                    <a:pt x="863" y="29"/>
                  </a:lnTo>
                  <a:lnTo>
                    <a:pt x="1026" y="145"/>
                  </a:lnTo>
                  <a:lnTo>
                    <a:pt x="476" y="917"/>
                  </a:lnTo>
                  <a:lnTo>
                    <a:pt x="485" y="923"/>
                  </a:lnTo>
                  <a:lnTo>
                    <a:pt x="494" y="915"/>
                  </a:lnTo>
                  <a:lnTo>
                    <a:pt x="485" y="923"/>
                  </a:lnTo>
                  <a:lnTo>
                    <a:pt x="495" y="930"/>
                  </a:lnTo>
                  <a:lnTo>
                    <a:pt x="1053" y="149"/>
                  </a:lnTo>
                  <a:lnTo>
                    <a:pt x="1055" y="145"/>
                  </a:lnTo>
                  <a:lnTo>
                    <a:pt x="1055" y="140"/>
                  </a:lnTo>
                  <a:lnTo>
                    <a:pt x="1053" y="137"/>
                  </a:lnTo>
                  <a:lnTo>
                    <a:pt x="1051" y="133"/>
                  </a:lnTo>
                  <a:lnTo>
                    <a:pt x="868" y="3"/>
                  </a:lnTo>
                  <a:lnTo>
                    <a:pt x="863" y="0"/>
                  </a:lnTo>
                  <a:lnTo>
                    <a:pt x="858" y="0"/>
                  </a:lnTo>
                  <a:lnTo>
                    <a:pt x="855" y="1"/>
                  </a:lnTo>
                  <a:lnTo>
                    <a:pt x="851" y="5"/>
                  </a:lnTo>
                  <a:lnTo>
                    <a:pt x="457" y="556"/>
                  </a:lnTo>
                  <a:lnTo>
                    <a:pt x="181" y="272"/>
                  </a:lnTo>
                  <a:lnTo>
                    <a:pt x="177" y="270"/>
                  </a:lnTo>
                  <a:lnTo>
                    <a:pt x="172" y="268"/>
                  </a:lnTo>
                  <a:lnTo>
                    <a:pt x="169" y="268"/>
                  </a:lnTo>
                  <a:lnTo>
                    <a:pt x="164" y="272"/>
                  </a:lnTo>
                  <a:lnTo>
                    <a:pt x="3" y="428"/>
                  </a:lnTo>
                  <a:lnTo>
                    <a:pt x="1" y="431"/>
                  </a:lnTo>
                  <a:lnTo>
                    <a:pt x="0" y="436"/>
                  </a:lnTo>
                  <a:lnTo>
                    <a:pt x="1" y="441"/>
                  </a:lnTo>
                  <a:lnTo>
                    <a:pt x="3" y="445"/>
                  </a:lnTo>
                  <a:lnTo>
                    <a:pt x="477" y="931"/>
                  </a:lnTo>
                  <a:lnTo>
                    <a:pt x="482" y="935"/>
                  </a:lnTo>
                  <a:lnTo>
                    <a:pt x="486" y="935"/>
                  </a:lnTo>
                  <a:lnTo>
                    <a:pt x="491" y="934"/>
                  </a:lnTo>
                  <a:lnTo>
                    <a:pt x="495" y="930"/>
                  </a:lnTo>
                  <a:lnTo>
                    <a:pt x="485" y="923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74" name="opredel_z"/>
          <p:cNvGrpSpPr>
            <a:grpSpLocks noChangeAspect="1"/>
          </p:cNvGrpSpPr>
          <p:nvPr/>
        </p:nvGrpSpPr>
        <p:grpSpPr>
          <a:xfrm>
            <a:off x="1995159" y="5240629"/>
            <a:ext cx="354658" cy="288635"/>
            <a:chOff x="3517900" y="3314700"/>
            <a:chExt cx="665163" cy="541338"/>
          </a:xfrm>
        </p:grpSpPr>
        <p:sp>
          <p:nvSpPr>
            <p:cNvPr id="75" name="Freeform 58"/>
            <p:cNvSpPr>
              <a:spLocks/>
            </p:cNvSpPr>
            <p:nvPr/>
          </p:nvSpPr>
          <p:spPr bwMode="auto">
            <a:xfrm>
              <a:off x="3559175" y="3406775"/>
              <a:ext cx="449263" cy="350838"/>
            </a:xfrm>
            <a:custGeom>
              <a:avLst/>
              <a:gdLst>
                <a:gd name="T0" fmla="*/ 1413 w 1413"/>
                <a:gd name="T1" fmla="*/ 374 h 1101"/>
                <a:gd name="T2" fmla="*/ 1413 w 1413"/>
                <a:gd name="T3" fmla="*/ 0 h 1101"/>
                <a:gd name="T4" fmla="*/ 0 w 1413"/>
                <a:gd name="T5" fmla="*/ 0 h 1101"/>
                <a:gd name="T6" fmla="*/ 0 w 1413"/>
                <a:gd name="T7" fmla="*/ 1101 h 1101"/>
                <a:gd name="T8" fmla="*/ 737 w 1413"/>
                <a:gd name="T9" fmla="*/ 1101 h 1101"/>
                <a:gd name="T10" fmla="*/ 720 w 1413"/>
                <a:gd name="T11" fmla="*/ 1057 h 1101"/>
                <a:gd name="T12" fmla="*/ 705 w 1413"/>
                <a:gd name="T13" fmla="*/ 1014 h 1101"/>
                <a:gd name="T14" fmla="*/ 695 w 1413"/>
                <a:gd name="T15" fmla="*/ 971 h 1101"/>
                <a:gd name="T16" fmla="*/ 688 w 1413"/>
                <a:gd name="T17" fmla="*/ 928 h 1101"/>
                <a:gd name="T18" fmla="*/ 685 w 1413"/>
                <a:gd name="T19" fmla="*/ 886 h 1101"/>
                <a:gd name="T20" fmla="*/ 685 w 1413"/>
                <a:gd name="T21" fmla="*/ 845 h 1101"/>
                <a:gd name="T22" fmla="*/ 687 w 1413"/>
                <a:gd name="T23" fmla="*/ 805 h 1101"/>
                <a:gd name="T24" fmla="*/ 693 w 1413"/>
                <a:gd name="T25" fmla="*/ 766 h 1101"/>
                <a:gd name="T26" fmla="*/ 702 w 1413"/>
                <a:gd name="T27" fmla="*/ 728 h 1101"/>
                <a:gd name="T28" fmla="*/ 714 w 1413"/>
                <a:gd name="T29" fmla="*/ 691 h 1101"/>
                <a:gd name="T30" fmla="*/ 728 w 1413"/>
                <a:gd name="T31" fmla="*/ 655 h 1101"/>
                <a:gd name="T32" fmla="*/ 744 w 1413"/>
                <a:gd name="T33" fmla="*/ 621 h 1101"/>
                <a:gd name="T34" fmla="*/ 763 w 1413"/>
                <a:gd name="T35" fmla="*/ 588 h 1101"/>
                <a:gd name="T36" fmla="*/ 784 w 1413"/>
                <a:gd name="T37" fmla="*/ 556 h 1101"/>
                <a:gd name="T38" fmla="*/ 808 w 1413"/>
                <a:gd name="T39" fmla="*/ 527 h 1101"/>
                <a:gd name="T40" fmla="*/ 834 w 1413"/>
                <a:gd name="T41" fmla="*/ 499 h 1101"/>
                <a:gd name="T42" fmla="*/ 861 w 1413"/>
                <a:gd name="T43" fmla="*/ 473 h 1101"/>
                <a:gd name="T44" fmla="*/ 890 w 1413"/>
                <a:gd name="T45" fmla="*/ 450 h 1101"/>
                <a:gd name="T46" fmla="*/ 921 w 1413"/>
                <a:gd name="T47" fmla="*/ 428 h 1101"/>
                <a:gd name="T48" fmla="*/ 952 w 1413"/>
                <a:gd name="T49" fmla="*/ 408 h 1101"/>
                <a:gd name="T50" fmla="*/ 986 w 1413"/>
                <a:gd name="T51" fmla="*/ 390 h 1101"/>
                <a:gd name="T52" fmla="*/ 1021 w 1413"/>
                <a:gd name="T53" fmla="*/ 375 h 1101"/>
                <a:gd name="T54" fmla="*/ 1057 w 1413"/>
                <a:gd name="T55" fmla="*/ 362 h 1101"/>
                <a:gd name="T56" fmla="*/ 1094 w 1413"/>
                <a:gd name="T57" fmla="*/ 352 h 1101"/>
                <a:gd name="T58" fmla="*/ 1132 w 1413"/>
                <a:gd name="T59" fmla="*/ 345 h 1101"/>
                <a:gd name="T60" fmla="*/ 1171 w 1413"/>
                <a:gd name="T61" fmla="*/ 340 h 1101"/>
                <a:gd name="T62" fmla="*/ 1211 w 1413"/>
                <a:gd name="T63" fmla="*/ 338 h 1101"/>
                <a:gd name="T64" fmla="*/ 1251 w 1413"/>
                <a:gd name="T65" fmla="*/ 339 h 1101"/>
                <a:gd name="T66" fmla="*/ 1291 w 1413"/>
                <a:gd name="T67" fmla="*/ 343 h 1101"/>
                <a:gd name="T68" fmla="*/ 1331 w 1413"/>
                <a:gd name="T69" fmla="*/ 350 h 1101"/>
                <a:gd name="T70" fmla="*/ 1372 w 1413"/>
                <a:gd name="T71" fmla="*/ 360 h 1101"/>
                <a:gd name="T72" fmla="*/ 1413 w 1413"/>
                <a:gd name="T73" fmla="*/ 374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13" h="1101">
                  <a:moveTo>
                    <a:pt x="1413" y="374"/>
                  </a:moveTo>
                  <a:lnTo>
                    <a:pt x="1413" y="0"/>
                  </a:lnTo>
                  <a:lnTo>
                    <a:pt x="0" y="0"/>
                  </a:lnTo>
                  <a:lnTo>
                    <a:pt x="0" y="1101"/>
                  </a:lnTo>
                  <a:lnTo>
                    <a:pt x="737" y="1101"/>
                  </a:lnTo>
                  <a:lnTo>
                    <a:pt x="720" y="1057"/>
                  </a:lnTo>
                  <a:lnTo>
                    <a:pt x="705" y="1014"/>
                  </a:lnTo>
                  <a:lnTo>
                    <a:pt x="695" y="971"/>
                  </a:lnTo>
                  <a:lnTo>
                    <a:pt x="688" y="928"/>
                  </a:lnTo>
                  <a:lnTo>
                    <a:pt x="685" y="886"/>
                  </a:lnTo>
                  <a:lnTo>
                    <a:pt x="685" y="845"/>
                  </a:lnTo>
                  <a:lnTo>
                    <a:pt x="687" y="805"/>
                  </a:lnTo>
                  <a:lnTo>
                    <a:pt x="693" y="766"/>
                  </a:lnTo>
                  <a:lnTo>
                    <a:pt x="702" y="728"/>
                  </a:lnTo>
                  <a:lnTo>
                    <a:pt x="714" y="691"/>
                  </a:lnTo>
                  <a:lnTo>
                    <a:pt x="728" y="655"/>
                  </a:lnTo>
                  <a:lnTo>
                    <a:pt x="744" y="621"/>
                  </a:lnTo>
                  <a:lnTo>
                    <a:pt x="763" y="588"/>
                  </a:lnTo>
                  <a:lnTo>
                    <a:pt x="784" y="556"/>
                  </a:lnTo>
                  <a:lnTo>
                    <a:pt x="808" y="527"/>
                  </a:lnTo>
                  <a:lnTo>
                    <a:pt x="834" y="499"/>
                  </a:lnTo>
                  <a:lnTo>
                    <a:pt x="861" y="473"/>
                  </a:lnTo>
                  <a:lnTo>
                    <a:pt x="890" y="450"/>
                  </a:lnTo>
                  <a:lnTo>
                    <a:pt x="921" y="428"/>
                  </a:lnTo>
                  <a:lnTo>
                    <a:pt x="952" y="408"/>
                  </a:lnTo>
                  <a:lnTo>
                    <a:pt x="986" y="390"/>
                  </a:lnTo>
                  <a:lnTo>
                    <a:pt x="1021" y="375"/>
                  </a:lnTo>
                  <a:lnTo>
                    <a:pt x="1057" y="362"/>
                  </a:lnTo>
                  <a:lnTo>
                    <a:pt x="1094" y="352"/>
                  </a:lnTo>
                  <a:lnTo>
                    <a:pt x="1132" y="345"/>
                  </a:lnTo>
                  <a:lnTo>
                    <a:pt x="1171" y="340"/>
                  </a:lnTo>
                  <a:lnTo>
                    <a:pt x="1211" y="338"/>
                  </a:lnTo>
                  <a:lnTo>
                    <a:pt x="1251" y="339"/>
                  </a:lnTo>
                  <a:lnTo>
                    <a:pt x="1291" y="343"/>
                  </a:lnTo>
                  <a:lnTo>
                    <a:pt x="1331" y="350"/>
                  </a:lnTo>
                  <a:lnTo>
                    <a:pt x="1372" y="360"/>
                  </a:lnTo>
                  <a:lnTo>
                    <a:pt x="1413" y="374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6" name="Freeform 59"/>
            <p:cNvSpPr>
              <a:spLocks/>
            </p:cNvSpPr>
            <p:nvPr/>
          </p:nvSpPr>
          <p:spPr bwMode="auto">
            <a:xfrm>
              <a:off x="3522663" y="3319463"/>
              <a:ext cx="438150" cy="417513"/>
            </a:xfrm>
            <a:custGeom>
              <a:avLst/>
              <a:gdLst>
                <a:gd name="T0" fmla="*/ 113 w 1376"/>
                <a:gd name="T1" fmla="*/ 277 h 1315"/>
                <a:gd name="T2" fmla="*/ 1376 w 1376"/>
                <a:gd name="T3" fmla="*/ 277 h 1315"/>
                <a:gd name="T4" fmla="*/ 1376 w 1376"/>
                <a:gd name="T5" fmla="*/ 169 h 1315"/>
                <a:gd name="T6" fmla="*/ 631 w 1376"/>
                <a:gd name="T7" fmla="*/ 169 h 1315"/>
                <a:gd name="T8" fmla="*/ 505 w 1376"/>
                <a:gd name="T9" fmla="*/ 0 h 1315"/>
                <a:gd name="T10" fmla="*/ 0 w 1376"/>
                <a:gd name="T11" fmla="*/ 0 h 1315"/>
                <a:gd name="T12" fmla="*/ 0 w 1376"/>
                <a:gd name="T13" fmla="*/ 1315 h 1315"/>
                <a:gd name="T14" fmla="*/ 106 w 1376"/>
                <a:gd name="T15" fmla="*/ 1315 h 1315"/>
                <a:gd name="T16" fmla="*/ 113 w 1376"/>
                <a:gd name="T17" fmla="*/ 1310 h 1315"/>
                <a:gd name="T18" fmla="*/ 113 w 1376"/>
                <a:gd name="T19" fmla="*/ 277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6" h="1315">
                  <a:moveTo>
                    <a:pt x="113" y="277"/>
                  </a:moveTo>
                  <a:lnTo>
                    <a:pt x="1376" y="277"/>
                  </a:lnTo>
                  <a:lnTo>
                    <a:pt x="1376" y="169"/>
                  </a:lnTo>
                  <a:lnTo>
                    <a:pt x="631" y="169"/>
                  </a:lnTo>
                  <a:lnTo>
                    <a:pt x="505" y="0"/>
                  </a:lnTo>
                  <a:lnTo>
                    <a:pt x="0" y="0"/>
                  </a:lnTo>
                  <a:lnTo>
                    <a:pt x="0" y="1315"/>
                  </a:lnTo>
                  <a:lnTo>
                    <a:pt x="106" y="1315"/>
                  </a:lnTo>
                  <a:lnTo>
                    <a:pt x="113" y="1310"/>
                  </a:lnTo>
                  <a:lnTo>
                    <a:pt x="113" y="277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7" name="Freeform 60"/>
            <p:cNvSpPr>
              <a:spLocks/>
            </p:cNvSpPr>
            <p:nvPr/>
          </p:nvSpPr>
          <p:spPr bwMode="auto">
            <a:xfrm>
              <a:off x="4094163" y="3449638"/>
              <a:ext cx="84138" cy="84138"/>
            </a:xfrm>
            <a:custGeom>
              <a:avLst/>
              <a:gdLst>
                <a:gd name="T0" fmla="*/ 267 w 267"/>
                <a:gd name="T1" fmla="*/ 131 h 262"/>
                <a:gd name="T2" fmla="*/ 146 w 267"/>
                <a:gd name="T3" fmla="*/ 121 h 262"/>
                <a:gd name="T4" fmla="*/ 136 w 267"/>
                <a:gd name="T5" fmla="*/ 0 h 262"/>
                <a:gd name="T6" fmla="*/ 0 w 267"/>
                <a:gd name="T7" fmla="*/ 131 h 262"/>
                <a:gd name="T8" fmla="*/ 11 w 267"/>
                <a:gd name="T9" fmla="*/ 252 h 262"/>
                <a:gd name="T10" fmla="*/ 131 w 267"/>
                <a:gd name="T11" fmla="*/ 262 h 262"/>
                <a:gd name="T12" fmla="*/ 267 w 267"/>
                <a:gd name="T13" fmla="*/ 13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7" h="262">
                  <a:moveTo>
                    <a:pt x="267" y="131"/>
                  </a:moveTo>
                  <a:lnTo>
                    <a:pt x="146" y="121"/>
                  </a:lnTo>
                  <a:lnTo>
                    <a:pt x="136" y="0"/>
                  </a:lnTo>
                  <a:lnTo>
                    <a:pt x="0" y="131"/>
                  </a:lnTo>
                  <a:lnTo>
                    <a:pt x="11" y="252"/>
                  </a:lnTo>
                  <a:lnTo>
                    <a:pt x="131" y="262"/>
                  </a:lnTo>
                  <a:lnTo>
                    <a:pt x="267" y="131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8" name="Freeform 61"/>
            <p:cNvSpPr>
              <a:spLocks/>
            </p:cNvSpPr>
            <p:nvPr/>
          </p:nvSpPr>
          <p:spPr bwMode="auto">
            <a:xfrm>
              <a:off x="3517900" y="3314700"/>
              <a:ext cx="447675" cy="427038"/>
            </a:xfrm>
            <a:custGeom>
              <a:avLst/>
              <a:gdLst>
                <a:gd name="T0" fmla="*/ 15 w 1406"/>
                <a:gd name="T1" fmla="*/ 1346 h 1346"/>
                <a:gd name="T2" fmla="*/ 9 w 1406"/>
                <a:gd name="T3" fmla="*/ 1345 h 1346"/>
                <a:gd name="T4" fmla="*/ 5 w 1406"/>
                <a:gd name="T5" fmla="*/ 1342 h 1346"/>
                <a:gd name="T6" fmla="*/ 1 w 1406"/>
                <a:gd name="T7" fmla="*/ 1337 h 1346"/>
                <a:gd name="T8" fmla="*/ 0 w 1406"/>
                <a:gd name="T9" fmla="*/ 1330 h 1346"/>
                <a:gd name="T10" fmla="*/ 0 w 1406"/>
                <a:gd name="T11" fmla="*/ 12 h 1346"/>
                <a:gd name="T12" fmla="*/ 3 w 1406"/>
                <a:gd name="T13" fmla="*/ 7 h 1346"/>
                <a:gd name="T14" fmla="*/ 7 w 1406"/>
                <a:gd name="T15" fmla="*/ 3 h 1346"/>
                <a:gd name="T16" fmla="*/ 12 w 1406"/>
                <a:gd name="T17" fmla="*/ 1 h 1346"/>
                <a:gd name="T18" fmla="*/ 520 w 1406"/>
                <a:gd name="T19" fmla="*/ 0 h 1346"/>
                <a:gd name="T20" fmla="*/ 526 w 1406"/>
                <a:gd name="T21" fmla="*/ 2 h 1346"/>
                <a:gd name="T22" fmla="*/ 532 w 1406"/>
                <a:gd name="T23" fmla="*/ 6 h 1346"/>
                <a:gd name="T24" fmla="*/ 1391 w 1406"/>
                <a:gd name="T25" fmla="*/ 168 h 1346"/>
                <a:gd name="T26" fmla="*/ 1397 w 1406"/>
                <a:gd name="T27" fmla="*/ 169 h 1346"/>
                <a:gd name="T28" fmla="*/ 1401 w 1406"/>
                <a:gd name="T29" fmla="*/ 173 h 1346"/>
                <a:gd name="T30" fmla="*/ 1405 w 1406"/>
                <a:gd name="T31" fmla="*/ 177 h 1346"/>
                <a:gd name="T32" fmla="*/ 1406 w 1406"/>
                <a:gd name="T33" fmla="*/ 184 h 1346"/>
                <a:gd name="T34" fmla="*/ 1405 w 1406"/>
                <a:gd name="T35" fmla="*/ 295 h 1346"/>
                <a:gd name="T36" fmla="*/ 1403 w 1406"/>
                <a:gd name="T37" fmla="*/ 301 h 1346"/>
                <a:gd name="T38" fmla="*/ 1399 w 1406"/>
                <a:gd name="T39" fmla="*/ 305 h 1346"/>
                <a:gd name="T40" fmla="*/ 1394 w 1406"/>
                <a:gd name="T41" fmla="*/ 307 h 1346"/>
                <a:gd name="T42" fmla="*/ 1388 w 1406"/>
                <a:gd name="T43" fmla="*/ 307 h 1346"/>
                <a:gd name="T44" fmla="*/ 1383 w 1406"/>
                <a:gd name="T45" fmla="*/ 305 h 1346"/>
                <a:gd name="T46" fmla="*/ 1379 w 1406"/>
                <a:gd name="T47" fmla="*/ 301 h 1346"/>
                <a:gd name="T48" fmla="*/ 1377 w 1406"/>
                <a:gd name="T49" fmla="*/ 295 h 1346"/>
                <a:gd name="T50" fmla="*/ 1377 w 1406"/>
                <a:gd name="T51" fmla="*/ 199 h 1346"/>
                <a:gd name="T52" fmla="*/ 643 w 1406"/>
                <a:gd name="T53" fmla="*/ 198 h 1346"/>
                <a:gd name="T54" fmla="*/ 637 w 1406"/>
                <a:gd name="T55" fmla="*/ 195 h 1346"/>
                <a:gd name="T56" fmla="*/ 513 w 1406"/>
                <a:gd name="T57" fmla="*/ 30 h 1346"/>
                <a:gd name="T58" fmla="*/ 31 w 1406"/>
                <a:gd name="T59" fmla="*/ 1316 h 1346"/>
                <a:gd name="T60" fmla="*/ 124 w 1406"/>
                <a:gd name="T61" fmla="*/ 1316 h 1346"/>
                <a:gd name="T62" fmla="*/ 130 w 1406"/>
                <a:gd name="T63" fmla="*/ 1318 h 1346"/>
                <a:gd name="T64" fmla="*/ 134 w 1406"/>
                <a:gd name="T65" fmla="*/ 1322 h 1346"/>
                <a:gd name="T66" fmla="*/ 136 w 1406"/>
                <a:gd name="T67" fmla="*/ 1327 h 1346"/>
                <a:gd name="T68" fmla="*/ 136 w 1406"/>
                <a:gd name="T69" fmla="*/ 1333 h 1346"/>
                <a:gd name="T70" fmla="*/ 134 w 1406"/>
                <a:gd name="T71" fmla="*/ 1340 h 1346"/>
                <a:gd name="T72" fmla="*/ 130 w 1406"/>
                <a:gd name="T73" fmla="*/ 1344 h 1346"/>
                <a:gd name="T74" fmla="*/ 124 w 1406"/>
                <a:gd name="T75" fmla="*/ 1346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06" h="1346">
                  <a:moveTo>
                    <a:pt x="121" y="1346"/>
                  </a:moveTo>
                  <a:lnTo>
                    <a:pt x="15" y="1346"/>
                  </a:lnTo>
                  <a:lnTo>
                    <a:pt x="12" y="1346"/>
                  </a:lnTo>
                  <a:lnTo>
                    <a:pt x="9" y="1345"/>
                  </a:lnTo>
                  <a:lnTo>
                    <a:pt x="7" y="1344"/>
                  </a:lnTo>
                  <a:lnTo>
                    <a:pt x="5" y="1342"/>
                  </a:lnTo>
                  <a:lnTo>
                    <a:pt x="3" y="1340"/>
                  </a:lnTo>
                  <a:lnTo>
                    <a:pt x="1" y="1337"/>
                  </a:lnTo>
                  <a:lnTo>
                    <a:pt x="0" y="1333"/>
                  </a:lnTo>
                  <a:lnTo>
                    <a:pt x="0" y="133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7"/>
                  </a:lnTo>
                  <a:lnTo>
                    <a:pt x="5" y="5"/>
                  </a:lnTo>
                  <a:lnTo>
                    <a:pt x="7" y="3"/>
                  </a:lnTo>
                  <a:lnTo>
                    <a:pt x="9" y="1"/>
                  </a:lnTo>
                  <a:lnTo>
                    <a:pt x="12" y="1"/>
                  </a:lnTo>
                  <a:lnTo>
                    <a:pt x="15" y="0"/>
                  </a:lnTo>
                  <a:lnTo>
                    <a:pt x="520" y="0"/>
                  </a:lnTo>
                  <a:lnTo>
                    <a:pt x="523" y="1"/>
                  </a:lnTo>
                  <a:lnTo>
                    <a:pt x="526" y="2"/>
                  </a:lnTo>
                  <a:lnTo>
                    <a:pt x="529" y="4"/>
                  </a:lnTo>
                  <a:lnTo>
                    <a:pt x="532" y="6"/>
                  </a:lnTo>
                  <a:lnTo>
                    <a:pt x="653" y="168"/>
                  </a:lnTo>
                  <a:lnTo>
                    <a:pt x="1391" y="168"/>
                  </a:lnTo>
                  <a:lnTo>
                    <a:pt x="1394" y="169"/>
                  </a:lnTo>
                  <a:lnTo>
                    <a:pt x="1397" y="169"/>
                  </a:lnTo>
                  <a:lnTo>
                    <a:pt x="1399" y="171"/>
                  </a:lnTo>
                  <a:lnTo>
                    <a:pt x="1401" y="173"/>
                  </a:lnTo>
                  <a:lnTo>
                    <a:pt x="1403" y="175"/>
                  </a:lnTo>
                  <a:lnTo>
                    <a:pt x="1405" y="177"/>
                  </a:lnTo>
                  <a:lnTo>
                    <a:pt x="1405" y="180"/>
                  </a:lnTo>
                  <a:lnTo>
                    <a:pt x="1406" y="184"/>
                  </a:lnTo>
                  <a:lnTo>
                    <a:pt x="1406" y="292"/>
                  </a:lnTo>
                  <a:lnTo>
                    <a:pt x="1405" y="295"/>
                  </a:lnTo>
                  <a:lnTo>
                    <a:pt x="1405" y="297"/>
                  </a:lnTo>
                  <a:lnTo>
                    <a:pt x="1403" y="301"/>
                  </a:lnTo>
                  <a:lnTo>
                    <a:pt x="1401" y="303"/>
                  </a:lnTo>
                  <a:lnTo>
                    <a:pt x="1399" y="305"/>
                  </a:lnTo>
                  <a:lnTo>
                    <a:pt x="1397" y="306"/>
                  </a:lnTo>
                  <a:lnTo>
                    <a:pt x="1394" y="307"/>
                  </a:lnTo>
                  <a:lnTo>
                    <a:pt x="1391" y="307"/>
                  </a:lnTo>
                  <a:lnTo>
                    <a:pt x="1388" y="307"/>
                  </a:lnTo>
                  <a:lnTo>
                    <a:pt x="1385" y="306"/>
                  </a:lnTo>
                  <a:lnTo>
                    <a:pt x="1383" y="305"/>
                  </a:lnTo>
                  <a:lnTo>
                    <a:pt x="1381" y="303"/>
                  </a:lnTo>
                  <a:lnTo>
                    <a:pt x="1379" y="301"/>
                  </a:lnTo>
                  <a:lnTo>
                    <a:pt x="1378" y="297"/>
                  </a:lnTo>
                  <a:lnTo>
                    <a:pt x="1377" y="295"/>
                  </a:lnTo>
                  <a:lnTo>
                    <a:pt x="1377" y="292"/>
                  </a:lnTo>
                  <a:lnTo>
                    <a:pt x="1377" y="199"/>
                  </a:lnTo>
                  <a:lnTo>
                    <a:pt x="646" y="199"/>
                  </a:lnTo>
                  <a:lnTo>
                    <a:pt x="643" y="198"/>
                  </a:lnTo>
                  <a:lnTo>
                    <a:pt x="640" y="197"/>
                  </a:lnTo>
                  <a:lnTo>
                    <a:pt x="637" y="195"/>
                  </a:lnTo>
                  <a:lnTo>
                    <a:pt x="635" y="193"/>
                  </a:lnTo>
                  <a:lnTo>
                    <a:pt x="513" y="30"/>
                  </a:lnTo>
                  <a:lnTo>
                    <a:pt x="31" y="30"/>
                  </a:lnTo>
                  <a:lnTo>
                    <a:pt x="31" y="1316"/>
                  </a:lnTo>
                  <a:lnTo>
                    <a:pt x="121" y="1316"/>
                  </a:lnTo>
                  <a:lnTo>
                    <a:pt x="124" y="1316"/>
                  </a:lnTo>
                  <a:lnTo>
                    <a:pt x="127" y="1317"/>
                  </a:lnTo>
                  <a:lnTo>
                    <a:pt x="130" y="1318"/>
                  </a:lnTo>
                  <a:lnTo>
                    <a:pt x="132" y="1320"/>
                  </a:lnTo>
                  <a:lnTo>
                    <a:pt x="134" y="1322"/>
                  </a:lnTo>
                  <a:lnTo>
                    <a:pt x="135" y="1325"/>
                  </a:lnTo>
                  <a:lnTo>
                    <a:pt x="136" y="1327"/>
                  </a:lnTo>
                  <a:lnTo>
                    <a:pt x="136" y="1330"/>
                  </a:lnTo>
                  <a:lnTo>
                    <a:pt x="136" y="1333"/>
                  </a:lnTo>
                  <a:lnTo>
                    <a:pt x="135" y="1337"/>
                  </a:lnTo>
                  <a:lnTo>
                    <a:pt x="134" y="1340"/>
                  </a:lnTo>
                  <a:lnTo>
                    <a:pt x="132" y="1342"/>
                  </a:lnTo>
                  <a:lnTo>
                    <a:pt x="130" y="1344"/>
                  </a:lnTo>
                  <a:lnTo>
                    <a:pt x="127" y="1345"/>
                  </a:lnTo>
                  <a:lnTo>
                    <a:pt x="124" y="1346"/>
                  </a:lnTo>
                  <a:lnTo>
                    <a:pt x="121" y="1346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 62"/>
            <p:cNvSpPr>
              <a:spLocks noEditPoints="1"/>
            </p:cNvSpPr>
            <p:nvPr/>
          </p:nvSpPr>
          <p:spPr bwMode="auto">
            <a:xfrm>
              <a:off x="3776663" y="3514725"/>
              <a:ext cx="336550" cy="338138"/>
            </a:xfrm>
            <a:custGeom>
              <a:avLst/>
              <a:gdLst>
                <a:gd name="T0" fmla="*/ 748 w 1062"/>
                <a:gd name="T1" fmla="*/ 859 h 1063"/>
                <a:gd name="T2" fmla="*/ 661 w 1062"/>
                <a:gd name="T3" fmla="*/ 903 h 1063"/>
                <a:gd name="T4" fmla="*/ 569 w 1062"/>
                <a:gd name="T5" fmla="*/ 922 h 1063"/>
                <a:gd name="T6" fmla="*/ 474 w 1062"/>
                <a:gd name="T7" fmla="*/ 920 h 1063"/>
                <a:gd name="T8" fmla="*/ 383 w 1062"/>
                <a:gd name="T9" fmla="*/ 895 h 1063"/>
                <a:gd name="T10" fmla="*/ 299 w 1062"/>
                <a:gd name="T11" fmla="*/ 848 h 1063"/>
                <a:gd name="T12" fmla="*/ 226 w 1062"/>
                <a:gd name="T13" fmla="*/ 779 h 1063"/>
                <a:gd name="T14" fmla="*/ 175 w 1062"/>
                <a:gd name="T15" fmla="*/ 696 h 1063"/>
                <a:gd name="T16" fmla="*/ 145 w 1062"/>
                <a:gd name="T17" fmla="*/ 606 h 1063"/>
                <a:gd name="T18" fmla="*/ 139 w 1062"/>
                <a:gd name="T19" fmla="*/ 512 h 1063"/>
                <a:gd name="T20" fmla="*/ 155 w 1062"/>
                <a:gd name="T21" fmla="*/ 419 h 1063"/>
                <a:gd name="T22" fmla="*/ 193 w 1062"/>
                <a:gd name="T23" fmla="*/ 331 h 1063"/>
                <a:gd name="T24" fmla="*/ 253 w 1062"/>
                <a:gd name="T25" fmla="*/ 253 h 1063"/>
                <a:gd name="T26" fmla="*/ 331 w 1062"/>
                <a:gd name="T27" fmla="*/ 192 h 1063"/>
                <a:gd name="T28" fmla="*/ 419 w 1062"/>
                <a:gd name="T29" fmla="*/ 154 h 1063"/>
                <a:gd name="T30" fmla="*/ 512 w 1062"/>
                <a:gd name="T31" fmla="*/ 138 h 1063"/>
                <a:gd name="T32" fmla="*/ 607 w 1062"/>
                <a:gd name="T33" fmla="*/ 145 h 1063"/>
                <a:gd name="T34" fmla="*/ 697 w 1062"/>
                <a:gd name="T35" fmla="*/ 174 h 1063"/>
                <a:gd name="T36" fmla="*/ 780 w 1062"/>
                <a:gd name="T37" fmla="*/ 225 h 1063"/>
                <a:gd name="T38" fmla="*/ 849 w 1062"/>
                <a:gd name="T39" fmla="*/ 298 h 1063"/>
                <a:gd name="T40" fmla="*/ 896 w 1062"/>
                <a:gd name="T41" fmla="*/ 383 h 1063"/>
                <a:gd name="T42" fmla="*/ 920 w 1062"/>
                <a:gd name="T43" fmla="*/ 475 h 1063"/>
                <a:gd name="T44" fmla="*/ 922 w 1062"/>
                <a:gd name="T45" fmla="*/ 569 h 1063"/>
                <a:gd name="T46" fmla="*/ 903 w 1062"/>
                <a:gd name="T47" fmla="*/ 661 h 1063"/>
                <a:gd name="T48" fmla="*/ 860 w 1062"/>
                <a:gd name="T49" fmla="*/ 748 h 1063"/>
                <a:gd name="T50" fmla="*/ 907 w 1062"/>
                <a:gd name="T51" fmla="*/ 155 h 1063"/>
                <a:gd name="T52" fmla="*/ 801 w 1062"/>
                <a:gd name="T53" fmla="*/ 73 h 1063"/>
                <a:gd name="T54" fmla="*/ 683 w 1062"/>
                <a:gd name="T55" fmla="*/ 21 h 1063"/>
                <a:gd name="T56" fmla="*/ 557 w 1062"/>
                <a:gd name="T57" fmla="*/ 0 h 1063"/>
                <a:gd name="T58" fmla="*/ 430 w 1062"/>
                <a:gd name="T59" fmla="*/ 9 h 1063"/>
                <a:gd name="T60" fmla="*/ 307 w 1062"/>
                <a:gd name="T61" fmla="*/ 49 h 1063"/>
                <a:gd name="T62" fmla="*/ 196 w 1062"/>
                <a:gd name="T63" fmla="*/ 119 h 1063"/>
                <a:gd name="T64" fmla="*/ 102 w 1062"/>
                <a:gd name="T65" fmla="*/ 216 h 1063"/>
                <a:gd name="T66" fmla="*/ 39 w 1062"/>
                <a:gd name="T67" fmla="*/ 331 h 1063"/>
                <a:gd name="T68" fmla="*/ 6 w 1062"/>
                <a:gd name="T69" fmla="*/ 454 h 1063"/>
                <a:gd name="T70" fmla="*/ 3 w 1062"/>
                <a:gd name="T71" fmla="*/ 582 h 1063"/>
                <a:gd name="T72" fmla="*/ 30 w 1062"/>
                <a:gd name="T73" fmla="*/ 707 h 1063"/>
                <a:gd name="T74" fmla="*/ 88 w 1062"/>
                <a:gd name="T75" fmla="*/ 824 h 1063"/>
                <a:gd name="T76" fmla="*/ 175 w 1062"/>
                <a:gd name="T77" fmla="*/ 926 h 1063"/>
                <a:gd name="T78" fmla="*/ 284 w 1062"/>
                <a:gd name="T79" fmla="*/ 1002 h 1063"/>
                <a:gd name="T80" fmla="*/ 405 w 1062"/>
                <a:gd name="T81" fmla="*/ 1047 h 1063"/>
                <a:gd name="T82" fmla="*/ 531 w 1062"/>
                <a:gd name="T83" fmla="*/ 1063 h 1063"/>
                <a:gd name="T84" fmla="*/ 658 w 1062"/>
                <a:gd name="T85" fmla="*/ 1047 h 1063"/>
                <a:gd name="T86" fmla="*/ 779 w 1062"/>
                <a:gd name="T87" fmla="*/ 1002 h 1063"/>
                <a:gd name="T88" fmla="*/ 888 w 1062"/>
                <a:gd name="T89" fmla="*/ 926 h 1063"/>
                <a:gd name="T90" fmla="*/ 975 w 1062"/>
                <a:gd name="T91" fmla="*/ 824 h 1063"/>
                <a:gd name="T92" fmla="*/ 1032 w 1062"/>
                <a:gd name="T93" fmla="*/ 707 h 1063"/>
                <a:gd name="T94" fmla="*/ 1060 w 1062"/>
                <a:gd name="T95" fmla="*/ 582 h 1063"/>
                <a:gd name="T96" fmla="*/ 1057 w 1062"/>
                <a:gd name="T97" fmla="*/ 454 h 1063"/>
                <a:gd name="T98" fmla="*/ 1024 w 1062"/>
                <a:gd name="T99" fmla="*/ 331 h 1063"/>
                <a:gd name="T100" fmla="*/ 959 w 1062"/>
                <a:gd name="T101" fmla="*/ 216 h 1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62" h="1063">
                  <a:moveTo>
                    <a:pt x="810" y="809"/>
                  </a:moveTo>
                  <a:lnTo>
                    <a:pt x="794" y="824"/>
                  </a:lnTo>
                  <a:lnTo>
                    <a:pt x="780" y="837"/>
                  </a:lnTo>
                  <a:lnTo>
                    <a:pt x="764" y="848"/>
                  </a:lnTo>
                  <a:lnTo>
                    <a:pt x="748" y="859"/>
                  </a:lnTo>
                  <a:lnTo>
                    <a:pt x="731" y="870"/>
                  </a:lnTo>
                  <a:lnTo>
                    <a:pt x="714" y="880"/>
                  </a:lnTo>
                  <a:lnTo>
                    <a:pt x="697" y="888"/>
                  </a:lnTo>
                  <a:lnTo>
                    <a:pt x="679" y="895"/>
                  </a:lnTo>
                  <a:lnTo>
                    <a:pt x="661" y="903"/>
                  </a:lnTo>
                  <a:lnTo>
                    <a:pt x="644" y="909"/>
                  </a:lnTo>
                  <a:lnTo>
                    <a:pt x="625" y="913"/>
                  </a:lnTo>
                  <a:lnTo>
                    <a:pt x="607" y="917"/>
                  </a:lnTo>
                  <a:lnTo>
                    <a:pt x="588" y="920"/>
                  </a:lnTo>
                  <a:lnTo>
                    <a:pt x="569" y="922"/>
                  </a:lnTo>
                  <a:lnTo>
                    <a:pt x="550" y="924"/>
                  </a:lnTo>
                  <a:lnTo>
                    <a:pt x="532" y="924"/>
                  </a:lnTo>
                  <a:lnTo>
                    <a:pt x="512" y="924"/>
                  </a:lnTo>
                  <a:lnTo>
                    <a:pt x="494" y="922"/>
                  </a:lnTo>
                  <a:lnTo>
                    <a:pt x="474" y="920"/>
                  </a:lnTo>
                  <a:lnTo>
                    <a:pt x="456" y="917"/>
                  </a:lnTo>
                  <a:lnTo>
                    <a:pt x="438" y="913"/>
                  </a:lnTo>
                  <a:lnTo>
                    <a:pt x="419" y="908"/>
                  </a:lnTo>
                  <a:lnTo>
                    <a:pt x="402" y="903"/>
                  </a:lnTo>
                  <a:lnTo>
                    <a:pt x="383" y="895"/>
                  </a:lnTo>
                  <a:lnTo>
                    <a:pt x="366" y="888"/>
                  </a:lnTo>
                  <a:lnTo>
                    <a:pt x="348" y="879"/>
                  </a:lnTo>
                  <a:lnTo>
                    <a:pt x="332" y="870"/>
                  </a:lnTo>
                  <a:lnTo>
                    <a:pt x="315" y="859"/>
                  </a:lnTo>
                  <a:lnTo>
                    <a:pt x="299" y="848"/>
                  </a:lnTo>
                  <a:lnTo>
                    <a:pt x="283" y="836"/>
                  </a:lnTo>
                  <a:lnTo>
                    <a:pt x="268" y="824"/>
                  </a:lnTo>
                  <a:lnTo>
                    <a:pt x="253" y="809"/>
                  </a:lnTo>
                  <a:lnTo>
                    <a:pt x="240" y="795"/>
                  </a:lnTo>
                  <a:lnTo>
                    <a:pt x="226" y="779"/>
                  </a:lnTo>
                  <a:lnTo>
                    <a:pt x="214" y="764"/>
                  </a:lnTo>
                  <a:lnTo>
                    <a:pt x="203" y="748"/>
                  </a:lnTo>
                  <a:lnTo>
                    <a:pt x="193" y="731"/>
                  </a:lnTo>
                  <a:lnTo>
                    <a:pt x="183" y="714"/>
                  </a:lnTo>
                  <a:lnTo>
                    <a:pt x="175" y="696"/>
                  </a:lnTo>
                  <a:lnTo>
                    <a:pt x="167" y="679"/>
                  </a:lnTo>
                  <a:lnTo>
                    <a:pt x="161" y="661"/>
                  </a:lnTo>
                  <a:lnTo>
                    <a:pt x="155" y="643"/>
                  </a:lnTo>
                  <a:lnTo>
                    <a:pt x="150" y="625"/>
                  </a:lnTo>
                  <a:lnTo>
                    <a:pt x="145" y="606"/>
                  </a:lnTo>
                  <a:lnTo>
                    <a:pt x="142" y="588"/>
                  </a:lnTo>
                  <a:lnTo>
                    <a:pt x="140" y="569"/>
                  </a:lnTo>
                  <a:lnTo>
                    <a:pt x="139" y="550"/>
                  </a:lnTo>
                  <a:lnTo>
                    <a:pt x="138" y="531"/>
                  </a:lnTo>
                  <a:lnTo>
                    <a:pt x="139" y="512"/>
                  </a:lnTo>
                  <a:lnTo>
                    <a:pt x="140" y="493"/>
                  </a:lnTo>
                  <a:lnTo>
                    <a:pt x="142" y="475"/>
                  </a:lnTo>
                  <a:lnTo>
                    <a:pt x="145" y="456"/>
                  </a:lnTo>
                  <a:lnTo>
                    <a:pt x="150" y="437"/>
                  </a:lnTo>
                  <a:lnTo>
                    <a:pt x="155" y="419"/>
                  </a:lnTo>
                  <a:lnTo>
                    <a:pt x="161" y="401"/>
                  </a:lnTo>
                  <a:lnTo>
                    <a:pt x="167" y="382"/>
                  </a:lnTo>
                  <a:lnTo>
                    <a:pt x="175" y="365"/>
                  </a:lnTo>
                  <a:lnTo>
                    <a:pt x="183" y="348"/>
                  </a:lnTo>
                  <a:lnTo>
                    <a:pt x="193" y="331"/>
                  </a:lnTo>
                  <a:lnTo>
                    <a:pt x="203" y="315"/>
                  </a:lnTo>
                  <a:lnTo>
                    <a:pt x="214" y="298"/>
                  </a:lnTo>
                  <a:lnTo>
                    <a:pt x="226" y="283"/>
                  </a:lnTo>
                  <a:lnTo>
                    <a:pt x="240" y="268"/>
                  </a:lnTo>
                  <a:lnTo>
                    <a:pt x="253" y="253"/>
                  </a:lnTo>
                  <a:lnTo>
                    <a:pt x="268" y="239"/>
                  </a:lnTo>
                  <a:lnTo>
                    <a:pt x="283" y="225"/>
                  </a:lnTo>
                  <a:lnTo>
                    <a:pt x="299" y="214"/>
                  </a:lnTo>
                  <a:lnTo>
                    <a:pt x="315" y="203"/>
                  </a:lnTo>
                  <a:lnTo>
                    <a:pt x="331" y="192"/>
                  </a:lnTo>
                  <a:lnTo>
                    <a:pt x="348" y="182"/>
                  </a:lnTo>
                  <a:lnTo>
                    <a:pt x="366" y="174"/>
                  </a:lnTo>
                  <a:lnTo>
                    <a:pt x="383" y="167"/>
                  </a:lnTo>
                  <a:lnTo>
                    <a:pt x="401" y="160"/>
                  </a:lnTo>
                  <a:lnTo>
                    <a:pt x="419" y="154"/>
                  </a:lnTo>
                  <a:lnTo>
                    <a:pt x="438" y="149"/>
                  </a:lnTo>
                  <a:lnTo>
                    <a:pt x="456" y="144"/>
                  </a:lnTo>
                  <a:lnTo>
                    <a:pt x="474" y="141"/>
                  </a:lnTo>
                  <a:lnTo>
                    <a:pt x="494" y="139"/>
                  </a:lnTo>
                  <a:lnTo>
                    <a:pt x="512" y="138"/>
                  </a:lnTo>
                  <a:lnTo>
                    <a:pt x="531" y="137"/>
                  </a:lnTo>
                  <a:lnTo>
                    <a:pt x="550" y="138"/>
                  </a:lnTo>
                  <a:lnTo>
                    <a:pt x="569" y="139"/>
                  </a:lnTo>
                  <a:lnTo>
                    <a:pt x="587" y="141"/>
                  </a:lnTo>
                  <a:lnTo>
                    <a:pt x="607" y="145"/>
                  </a:lnTo>
                  <a:lnTo>
                    <a:pt x="625" y="149"/>
                  </a:lnTo>
                  <a:lnTo>
                    <a:pt x="644" y="154"/>
                  </a:lnTo>
                  <a:lnTo>
                    <a:pt x="661" y="160"/>
                  </a:lnTo>
                  <a:lnTo>
                    <a:pt x="679" y="167"/>
                  </a:lnTo>
                  <a:lnTo>
                    <a:pt x="697" y="174"/>
                  </a:lnTo>
                  <a:lnTo>
                    <a:pt x="714" y="182"/>
                  </a:lnTo>
                  <a:lnTo>
                    <a:pt x="731" y="193"/>
                  </a:lnTo>
                  <a:lnTo>
                    <a:pt x="748" y="203"/>
                  </a:lnTo>
                  <a:lnTo>
                    <a:pt x="764" y="214"/>
                  </a:lnTo>
                  <a:lnTo>
                    <a:pt x="780" y="225"/>
                  </a:lnTo>
                  <a:lnTo>
                    <a:pt x="794" y="239"/>
                  </a:lnTo>
                  <a:lnTo>
                    <a:pt x="810" y="253"/>
                  </a:lnTo>
                  <a:lnTo>
                    <a:pt x="823" y="268"/>
                  </a:lnTo>
                  <a:lnTo>
                    <a:pt x="836" y="283"/>
                  </a:lnTo>
                  <a:lnTo>
                    <a:pt x="849" y="298"/>
                  </a:lnTo>
                  <a:lnTo>
                    <a:pt x="860" y="315"/>
                  </a:lnTo>
                  <a:lnTo>
                    <a:pt x="870" y="331"/>
                  </a:lnTo>
                  <a:lnTo>
                    <a:pt x="879" y="348"/>
                  </a:lnTo>
                  <a:lnTo>
                    <a:pt x="888" y="365"/>
                  </a:lnTo>
                  <a:lnTo>
                    <a:pt x="896" y="383"/>
                  </a:lnTo>
                  <a:lnTo>
                    <a:pt x="903" y="401"/>
                  </a:lnTo>
                  <a:lnTo>
                    <a:pt x="908" y="419"/>
                  </a:lnTo>
                  <a:lnTo>
                    <a:pt x="913" y="438"/>
                  </a:lnTo>
                  <a:lnTo>
                    <a:pt x="917" y="456"/>
                  </a:lnTo>
                  <a:lnTo>
                    <a:pt x="920" y="475"/>
                  </a:lnTo>
                  <a:lnTo>
                    <a:pt x="922" y="493"/>
                  </a:lnTo>
                  <a:lnTo>
                    <a:pt x="924" y="513"/>
                  </a:lnTo>
                  <a:lnTo>
                    <a:pt x="924" y="531"/>
                  </a:lnTo>
                  <a:lnTo>
                    <a:pt x="924" y="550"/>
                  </a:lnTo>
                  <a:lnTo>
                    <a:pt x="922" y="569"/>
                  </a:lnTo>
                  <a:lnTo>
                    <a:pt x="920" y="588"/>
                  </a:lnTo>
                  <a:lnTo>
                    <a:pt x="917" y="606"/>
                  </a:lnTo>
                  <a:lnTo>
                    <a:pt x="913" y="625"/>
                  </a:lnTo>
                  <a:lnTo>
                    <a:pt x="908" y="643"/>
                  </a:lnTo>
                  <a:lnTo>
                    <a:pt x="903" y="661"/>
                  </a:lnTo>
                  <a:lnTo>
                    <a:pt x="896" y="679"/>
                  </a:lnTo>
                  <a:lnTo>
                    <a:pt x="889" y="697"/>
                  </a:lnTo>
                  <a:lnTo>
                    <a:pt x="879" y="714"/>
                  </a:lnTo>
                  <a:lnTo>
                    <a:pt x="870" y="731"/>
                  </a:lnTo>
                  <a:lnTo>
                    <a:pt x="860" y="748"/>
                  </a:lnTo>
                  <a:lnTo>
                    <a:pt x="849" y="764"/>
                  </a:lnTo>
                  <a:lnTo>
                    <a:pt x="836" y="779"/>
                  </a:lnTo>
                  <a:lnTo>
                    <a:pt x="823" y="795"/>
                  </a:lnTo>
                  <a:lnTo>
                    <a:pt x="810" y="809"/>
                  </a:lnTo>
                  <a:close/>
                  <a:moveTo>
                    <a:pt x="907" y="155"/>
                  </a:moveTo>
                  <a:lnTo>
                    <a:pt x="888" y="136"/>
                  </a:lnTo>
                  <a:lnTo>
                    <a:pt x="867" y="119"/>
                  </a:lnTo>
                  <a:lnTo>
                    <a:pt x="846" y="102"/>
                  </a:lnTo>
                  <a:lnTo>
                    <a:pt x="824" y="87"/>
                  </a:lnTo>
                  <a:lnTo>
                    <a:pt x="801" y="73"/>
                  </a:lnTo>
                  <a:lnTo>
                    <a:pt x="779" y="60"/>
                  </a:lnTo>
                  <a:lnTo>
                    <a:pt x="755" y="49"/>
                  </a:lnTo>
                  <a:lnTo>
                    <a:pt x="732" y="39"/>
                  </a:lnTo>
                  <a:lnTo>
                    <a:pt x="707" y="30"/>
                  </a:lnTo>
                  <a:lnTo>
                    <a:pt x="683" y="21"/>
                  </a:lnTo>
                  <a:lnTo>
                    <a:pt x="658" y="15"/>
                  </a:lnTo>
                  <a:lnTo>
                    <a:pt x="633" y="9"/>
                  </a:lnTo>
                  <a:lnTo>
                    <a:pt x="608" y="5"/>
                  </a:lnTo>
                  <a:lnTo>
                    <a:pt x="582" y="2"/>
                  </a:lnTo>
                  <a:lnTo>
                    <a:pt x="557" y="0"/>
                  </a:lnTo>
                  <a:lnTo>
                    <a:pt x="532" y="0"/>
                  </a:lnTo>
                  <a:lnTo>
                    <a:pt x="506" y="0"/>
                  </a:lnTo>
                  <a:lnTo>
                    <a:pt x="481" y="2"/>
                  </a:lnTo>
                  <a:lnTo>
                    <a:pt x="455" y="5"/>
                  </a:lnTo>
                  <a:lnTo>
                    <a:pt x="430" y="9"/>
                  </a:lnTo>
                  <a:lnTo>
                    <a:pt x="405" y="15"/>
                  </a:lnTo>
                  <a:lnTo>
                    <a:pt x="380" y="21"/>
                  </a:lnTo>
                  <a:lnTo>
                    <a:pt x="356" y="30"/>
                  </a:lnTo>
                  <a:lnTo>
                    <a:pt x="331" y="39"/>
                  </a:lnTo>
                  <a:lnTo>
                    <a:pt x="307" y="49"/>
                  </a:lnTo>
                  <a:lnTo>
                    <a:pt x="284" y="60"/>
                  </a:lnTo>
                  <a:lnTo>
                    <a:pt x="261" y="73"/>
                  </a:lnTo>
                  <a:lnTo>
                    <a:pt x="239" y="87"/>
                  </a:lnTo>
                  <a:lnTo>
                    <a:pt x="217" y="102"/>
                  </a:lnTo>
                  <a:lnTo>
                    <a:pt x="196" y="119"/>
                  </a:lnTo>
                  <a:lnTo>
                    <a:pt x="175" y="136"/>
                  </a:lnTo>
                  <a:lnTo>
                    <a:pt x="156" y="155"/>
                  </a:lnTo>
                  <a:lnTo>
                    <a:pt x="136" y="175"/>
                  </a:lnTo>
                  <a:lnTo>
                    <a:pt x="119" y="196"/>
                  </a:lnTo>
                  <a:lnTo>
                    <a:pt x="102" y="216"/>
                  </a:lnTo>
                  <a:lnTo>
                    <a:pt x="88" y="239"/>
                  </a:lnTo>
                  <a:lnTo>
                    <a:pt x="74" y="260"/>
                  </a:lnTo>
                  <a:lnTo>
                    <a:pt x="61" y="284"/>
                  </a:lnTo>
                  <a:lnTo>
                    <a:pt x="49" y="308"/>
                  </a:lnTo>
                  <a:lnTo>
                    <a:pt x="39" y="331"/>
                  </a:lnTo>
                  <a:lnTo>
                    <a:pt x="30" y="355"/>
                  </a:lnTo>
                  <a:lnTo>
                    <a:pt x="22" y="379"/>
                  </a:lnTo>
                  <a:lnTo>
                    <a:pt x="15" y="404"/>
                  </a:lnTo>
                  <a:lnTo>
                    <a:pt x="10" y="430"/>
                  </a:lnTo>
                  <a:lnTo>
                    <a:pt x="6" y="454"/>
                  </a:lnTo>
                  <a:lnTo>
                    <a:pt x="3" y="480"/>
                  </a:lnTo>
                  <a:lnTo>
                    <a:pt x="1" y="506"/>
                  </a:lnTo>
                  <a:lnTo>
                    <a:pt x="0" y="531"/>
                  </a:lnTo>
                  <a:lnTo>
                    <a:pt x="1" y="557"/>
                  </a:lnTo>
                  <a:lnTo>
                    <a:pt x="3" y="582"/>
                  </a:lnTo>
                  <a:lnTo>
                    <a:pt x="6" y="607"/>
                  </a:lnTo>
                  <a:lnTo>
                    <a:pt x="10" y="633"/>
                  </a:lnTo>
                  <a:lnTo>
                    <a:pt x="15" y="657"/>
                  </a:lnTo>
                  <a:lnTo>
                    <a:pt x="22" y="682"/>
                  </a:lnTo>
                  <a:lnTo>
                    <a:pt x="30" y="707"/>
                  </a:lnTo>
                  <a:lnTo>
                    <a:pt x="39" y="731"/>
                  </a:lnTo>
                  <a:lnTo>
                    <a:pt x="49" y="755"/>
                  </a:lnTo>
                  <a:lnTo>
                    <a:pt x="61" y="778"/>
                  </a:lnTo>
                  <a:lnTo>
                    <a:pt x="74" y="801"/>
                  </a:lnTo>
                  <a:lnTo>
                    <a:pt x="88" y="824"/>
                  </a:lnTo>
                  <a:lnTo>
                    <a:pt x="102" y="845"/>
                  </a:lnTo>
                  <a:lnTo>
                    <a:pt x="119" y="867"/>
                  </a:lnTo>
                  <a:lnTo>
                    <a:pt x="136" y="887"/>
                  </a:lnTo>
                  <a:lnTo>
                    <a:pt x="156" y="907"/>
                  </a:lnTo>
                  <a:lnTo>
                    <a:pt x="175" y="926"/>
                  </a:lnTo>
                  <a:lnTo>
                    <a:pt x="196" y="944"/>
                  </a:lnTo>
                  <a:lnTo>
                    <a:pt x="217" y="960"/>
                  </a:lnTo>
                  <a:lnTo>
                    <a:pt x="239" y="975"/>
                  </a:lnTo>
                  <a:lnTo>
                    <a:pt x="261" y="989"/>
                  </a:lnTo>
                  <a:lnTo>
                    <a:pt x="284" y="1002"/>
                  </a:lnTo>
                  <a:lnTo>
                    <a:pt x="307" y="1013"/>
                  </a:lnTo>
                  <a:lnTo>
                    <a:pt x="331" y="1024"/>
                  </a:lnTo>
                  <a:lnTo>
                    <a:pt x="356" y="1033"/>
                  </a:lnTo>
                  <a:lnTo>
                    <a:pt x="380" y="1041"/>
                  </a:lnTo>
                  <a:lnTo>
                    <a:pt x="405" y="1047"/>
                  </a:lnTo>
                  <a:lnTo>
                    <a:pt x="429" y="1052"/>
                  </a:lnTo>
                  <a:lnTo>
                    <a:pt x="455" y="1057"/>
                  </a:lnTo>
                  <a:lnTo>
                    <a:pt x="481" y="1059"/>
                  </a:lnTo>
                  <a:lnTo>
                    <a:pt x="506" y="1062"/>
                  </a:lnTo>
                  <a:lnTo>
                    <a:pt x="531" y="1063"/>
                  </a:lnTo>
                  <a:lnTo>
                    <a:pt x="556" y="1062"/>
                  </a:lnTo>
                  <a:lnTo>
                    <a:pt x="582" y="1060"/>
                  </a:lnTo>
                  <a:lnTo>
                    <a:pt x="608" y="1057"/>
                  </a:lnTo>
                  <a:lnTo>
                    <a:pt x="633" y="1052"/>
                  </a:lnTo>
                  <a:lnTo>
                    <a:pt x="658" y="1047"/>
                  </a:lnTo>
                  <a:lnTo>
                    <a:pt x="683" y="1041"/>
                  </a:lnTo>
                  <a:lnTo>
                    <a:pt x="707" y="1033"/>
                  </a:lnTo>
                  <a:lnTo>
                    <a:pt x="732" y="1024"/>
                  </a:lnTo>
                  <a:lnTo>
                    <a:pt x="755" y="1013"/>
                  </a:lnTo>
                  <a:lnTo>
                    <a:pt x="779" y="1002"/>
                  </a:lnTo>
                  <a:lnTo>
                    <a:pt x="801" y="989"/>
                  </a:lnTo>
                  <a:lnTo>
                    <a:pt x="824" y="975"/>
                  </a:lnTo>
                  <a:lnTo>
                    <a:pt x="846" y="960"/>
                  </a:lnTo>
                  <a:lnTo>
                    <a:pt x="867" y="944"/>
                  </a:lnTo>
                  <a:lnTo>
                    <a:pt x="888" y="926"/>
                  </a:lnTo>
                  <a:lnTo>
                    <a:pt x="907" y="907"/>
                  </a:lnTo>
                  <a:lnTo>
                    <a:pt x="925" y="887"/>
                  </a:lnTo>
                  <a:lnTo>
                    <a:pt x="943" y="867"/>
                  </a:lnTo>
                  <a:lnTo>
                    <a:pt x="959" y="845"/>
                  </a:lnTo>
                  <a:lnTo>
                    <a:pt x="975" y="824"/>
                  </a:lnTo>
                  <a:lnTo>
                    <a:pt x="989" y="801"/>
                  </a:lnTo>
                  <a:lnTo>
                    <a:pt x="1001" y="778"/>
                  </a:lnTo>
                  <a:lnTo>
                    <a:pt x="1014" y="755"/>
                  </a:lnTo>
                  <a:lnTo>
                    <a:pt x="1024" y="731"/>
                  </a:lnTo>
                  <a:lnTo>
                    <a:pt x="1032" y="707"/>
                  </a:lnTo>
                  <a:lnTo>
                    <a:pt x="1040" y="683"/>
                  </a:lnTo>
                  <a:lnTo>
                    <a:pt x="1047" y="657"/>
                  </a:lnTo>
                  <a:lnTo>
                    <a:pt x="1053" y="633"/>
                  </a:lnTo>
                  <a:lnTo>
                    <a:pt x="1057" y="607"/>
                  </a:lnTo>
                  <a:lnTo>
                    <a:pt x="1060" y="582"/>
                  </a:lnTo>
                  <a:lnTo>
                    <a:pt x="1062" y="557"/>
                  </a:lnTo>
                  <a:lnTo>
                    <a:pt x="1062" y="531"/>
                  </a:lnTo>
                  <a:lnTo>
                    <a:pt x="1062" y="506"/>
                  </a:lnTo>
                  <a:lnTo>
                    <a:pt x="1060" y="480"/>
                  </a:lnTo>
                  <a:lnTo>
                    <a:pt x="1057" y="454"/>
                  </a:lnTo>
                  <a:lnTo>
                    <a:pt x="1053" y="430"/>
                  </a:lnTo>
                  <a:lnTo>
                    <a:pt x="1047" y="404"/>
                  </a:lnTo>
                  <a:lnTo>
                    <a:pt x="1040" y="379"/>
                  </a:lnTo>
                  <a:lnTo>
                    <a:pt x="1032" y="355"/>
                  </a:lnTo>
                  <a:lnTo>
                    <a:pt x="1024" y="331"/>
                  </a:lnTo>
                  <a:lnTo>
                    <a:pt x="1014" y="308"/>
                  </a:lnTo>
                  <a:lnTo>
                    <a:pt x="1001" y="284"/>
                  </a:lnTo>
                  <a:lnTo>
                    <a:pt x="989" y="260"/>
                  </a:lnTo>
                  <a:lnTo>
                    <a:pt x="975" y="239"/>
                  </a:lnTo>
                  <a:lnTo>
                    <a:pt x="959" y="216"/>
                  </a:lnTo>
                  <a:lnTo>
                    <a:pt x="943" y="196"/>
                  </a:lnTo>
                  <a:lnTo>
                    <a:pt x="925" y="175"/>
                  </a:lnTo>
                  <a:lnTo>
                    <a:pt x="907" y="155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reeform 63"/>
            <p:cNvSpPr>
              <a:spLocks noEditPoints="1"/>
            </p:cNvSpPr>
            <p:nvPr/>
          </p:nvSpPr>
          <p:spPr bwMode="auto">
            <a:xfrm>
              <a:off x="3819525" y="3557588"/>
              <a:ext cx="250825" cy="250825"/>
            </a:xfrm>
            <a:custGeom>
              <a:avLst/>
              <a:gdLst>
                <a:gd name="T0" fmla="*/ 538 w 786"/>
                <a:gd name="T1" fmla="*/ 614 h 787"/>
                <a:gd name="T2" fmla="*/ 480 w 786"/>
                <a:gd name="T3" fmla="*/ 641 h 787"/>
                <a:gd name="T4" fmla="*/ 418 w 786"/>
                <a:gd name="T5" fmla="*/ 656 h 787"/>
                <a:gd name="T6" fmla="*/ 356 w 786"/>
                <a:gd name="T7" fmla="*/ 654 h 787"/>
                <a:gd name="T8" fmla="*/ 294 w 786"/>
                <a:gd name="T9" fmla="*/ 637 h 787"/>
                <a:gd name="T10" fmla="*/ 238 w 786"/>
                <a:gd name="T11" fmla="*/ 605 h 787"/>
                <a:gd name="T12" fmla="*/ 190 w 786"/>
                <a:gd name="T13" fmla="*/ 559 h 787"/>
                <a:gd name="T14" fmla="*/ 155 w 786"/>
                <a:gd name="T15" fmla="*/ 505 h 787"/>
                <a:gd name="T16" fmla="*/ 136 w 786"/>
                <a:gd name="T17" fmla="*/ 444 h 787"/>
                <a:gd name="T18" fmla="*/ 131 w 786"/>
                <a:gd name="T19" fmla="*/ 382 h 787"/>
                <a:gd name="T20" fmla="*/ 142 w 786"/>
                <a:gd name="T21" fmla="*/ 319 h 787"/>
                <a:gd name="T22" fmla="*/ 167 w 786"/>
                <a:gd name="T23" fmla="*/ 261 h 787"/>
                <a:gd name="T24" fmla="*/ 208 w 786"/>
                <a:gd name="T25" fmla="*/ 208 h 787"/>
                <a:gd name="T26" fmla="*/ 260 w 786"/>
                <a:gd name="T27" fmla="*/ 167 h 787"/>
                <a:gd name="T28" fmla="*/ 319 w 786"/>
                <a:gd name="T29" fmla="*/ 143 h 787"/>
                <a:gd name="T30" fmla="*/ 381 w 786"/>
                <a:gd name="T31" fmla="*/ 132 h 787"/>
                <a:gd name="T32" fmla="*/ 444 w 786"/>
                <a:gd name="T33" fmla="*/ 137 h 787"/>
                <a:gd name="T34" fmla="*/ 505 w 786"/>
                <a:gd name="T35" fmla="*/ 156 h 787"/>
                <a:gd name="T36" fmla="*/ 559 w 786"/>
                <a:gd name="T37" fmla="*/ 190 h 787"/>
                <a:gd name="T38" fmla="*/ 605 w 786"/>
                <a:gd name="T39" fmla="*/ 239 h 787"/>
                <a:gd name="T40" fmla="*/ 637 w 786"/>
                <a:gd name="T41" fmla="*/ 296 h 787"/>
                <a:gd name="T42" fmla="*/ 653 w 786"/>
                <a:gd name="T43" fmla="*/ 356 h 787"/>
                <a:gd name="T44" fmla="*/ 654 w 786"/>
                <a:gd name="T45" fmla="*/ 419 h 787"/>
                <a:gd name="T46" fmla="*/ 641 w 786"/>
                <a:gd name="T47" fmla="*/ 481 h 787"/>
                <a:gd name="T48" fmla="*/ 612 w 786"/>
                <a:gd name="T49" fmla="*/ 539 h 787"/>
                <a:gd name="T50" fmla="*/ 672 w 786"/>
                <a:gd name="T51" fmla="*/ 116 h 787"/>
                <a:gd name="T52" fmla="*/ 593 w 786"/>
                <a:gd name="T53" fmla="*/ 56 h 787"/>
                <a:gd name="T54" fmla="*/ 506 w 786"/>
                <a:gd name="T55" fmla="*/ 17 h 787"/>
                <a:gd name="T56" fmla="*/ 412 w 786"/>
                <a:gd name="T57" fmla="*/ 1 h 787"/>
                <a:gd name="T58" fmla="*/ 318 w 786"/>
                <a:gd name="T59" fmla="*/ 7 h 787"/>
                <a:gd name="T60" fmla="*/ 228 w 786"/>
                <a:gd name="T61" fmla="*/ 37 h 787"/>
                <a:gd name="T62" fmla="*/ 145 w 786"/>
                <a:gd name="T63" fmla="*/ 88 h 787"/>
                <a:gd name="T64" fmla="*/ 76 w 786"/>
                <a:gd name="T65" fmla="*/ 161 h 787"/>
                <a:gd name="T66" fmla="*/ 29 w 786"/>
                <a:gd name="T67" fmla="*/ 245 h 787"/>
                <a:gd name="T68" fmla="*/ 4 w 786"/>
                <a:gd name="T69" fmla="*/ 338 h 787"/>
                <a:gd name="T70" fmla="*/ 2 w 786"/>
                <a:gd name="T71" fmla="*/ 432 h 787"/>
                <a:gd name="T72" fmla="*/ 23 w 786"/>
                <a:gd name="T73" fmla="*/ 524 h 787"/>
                <a:gd name="T74" fmla="*/ 65 w 786"/>
                <a:gd name="T75" fmla="*/ 611 h 787"/>
                <a:gd name="T76" fmla="*/ 130 w 786"/>
                <a:gd name="T77" fmla="*/ 687 h 787"/>
                <a:gd name="T78" fmla="*/ 210 w 786"/>
                <a:gd name="T79" fmla="*/ 742 h 787"/>
                <a:gd name="T80" fmla="*/ 300 w 786"/>
                <a:gd name="T81" fmla="*/ 776 h 787"/>
                <a:gd name="T82" fmla="*/ 394 w 786"/>
                <a:gd name="T83" fmla="*/ 787 h 787"/>
                <a:gd name="T84" fmla="*/ 487 w 786"/>
                <a:gd name="T85" fmla="*/ 776 h 787"/>
                <a:gd name="T86" fmla="*/ 576 w 786"/>
                <a:gd name="T87" fmla="*/ 743 h 787"/>
                <a:gd name="T88" fmla="*/ 656 w 786"/>
                <a:gd name="T89" fmla="*/ 687 h 787"/>
                <a:gd name="T90" fmla="*/ 722 w 786"/>
                <a:gd name="T91" fmla="*/ 611 h 787"/>
                <a:gd name="T92" fmla="*/ 764 w 786"/>
                <a:gd name="T93" fmla="*/ 524 h 787"/>
                <a:gd name="T94" fmla="*/ 784 w 786"/>
                <a:gd name="T95" fmla="*/ 432 h 787"/>
                <a:gd name="T96" fmla="*/ 782 w 786"/>
                <a:gd name="T97" fmla="*/ 338 h 787"/>
                <a:gd name="T98" fmla="*/ 758 w 786"/>
                <a:gd name="T99" fmla="*/ 246 h 787"/>
                <a:gd name="T100" fmla="*/ 711 w 786"/>
                <a:gd name="T101" fmla="*/ 161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6" h="787">
                  <a:moveTo>
                    <a:pt x="579" y="580"/>
                  </a:moveTo>
                  <a:lnTo>
                    <a:pt x="569" y="589"/>
                  </a:lnTo>
                  <a:lnTo>
                    <a:pt x="559" y="598"/>
                  </a:lnTo>
                  <a:lnTo>
                    <a:pt x="549" y="605"/>
                  </a:lnTo>
                  <a:lnTo>
                    <a:pt x="538" y="614"/>
                  </a:lnTo>
                  <a:lnTo>
                    <a:pt x="527" y="620"/>
                  </a:lnTo>
                  <a:lnTo>
                    <a:pt x="516" y="627"/>
                  </a:lnTo>
                  <a:lnTo>
                    <a:pt x="505" y="632"/>
                  </a:lnTo>
                  <a:lnTo>
                    <a:pt x="492" y="637"/>
                  </a:lnTo>
                  <a:lnTo>
                    <a:pt x="480" y="641"/>
                  </a:lnTo>
                  <a:lnTo>
                    <a:pt x="469" y="645"/>
                  </a:lnTo>
                  <a:lnTo>
                    <a:pt x="456" y="649"/>
                  </a:lnTo>
                  <a:lnTo>
                    <a:pt x="444" y="652"/>
                  </a:lnTo>
                  <a:lnTo>
                    <a:pt x="432" y="654"/>
                  </a:lnTo>
                  <a:lnTo>
                    <a:pt x="418" y="656"/>
                  </a:lnTo>
                  <a:lnTo>
                    <a:pt x="406" y="656"/>
                  </a:lnTo>
                  <a:lnTo>
                    <a:pt x="394" y="657"/>
                  </a:lnTo>
                  <a:lnTo>
                    <a:pt x="381" y="656"/>
                  </a:lnTo>
                  <a:lnTo>
                    <a:pt x="368" y="655"/>
                  </a:lnTo>
                  <a:lnTo>
                    <a:pt x="356" y="654"/>
                  </a:lnTo>
                  <a:lnTo>
                    <a:pt x="344" y="652"/>
                  </a:lnTo>
                  <a:lnTo>
                    <a:pt x="331" y="649"/>
                  </a:lnTo>
                  <a:lnTo>
                    <a:pt x="319" y="645"/>
                  </a:lnTo>
                  <a:lnTo>
                    <a:pt x="307" y="641"/>
                  </a:lnTo>
                  <a:lnTo>
                    <a:pt x="294" y="637"/>
                  </a:lnTo>
                  <a:lnTo>
                    <a:pt x="283" y="632"/>
                  </a:lnTo>
                  <a:lnTo>
                    <a:pt x="272" y="626"/>
                  </a:lnTo>
                  <a:lnTo>
                    <a:pt x="261" y="620"/>
                  </a:lnTo>
                  <a:lnTo>
                    <a:pt x="249" y="614"/>
                  </a:lnTo>
                  <a:lnTo>
                    <a:pt x="238" y="605"/>
                  </a:lnTo>
                  <a:lnTo>
                    <a:pt x="228" y="597"/>
                  </a:lnTo>
                  <a:lnTo>
                    <a:pt x="218" y="589"/>
                  </a:lnTo>
                  <a:lnTo>
                    <a:pt x="208" y="580"/>
                  </a:lnTo>
                  <a:lnTo>
                    <a:pt x="199" y="570"/>
                  </a:lnTo>
                  <a:lnTo>
                    <a:pt x="190" y="559"/>
                  </a:lnTo>
                  <a:lnTo>
                    <a:pt x="182" y="549"/>
                  </a:lnTo>
                  <a:lnTo>
                    <a:pt x="175" y="539"/>
                  </a:lnTo>
                  <a:lnTo>
                    <a:pt x="167" y="528"/>
                  </a:lnTo>
                  <a:lnTo>
                    <a:pt x="161" y="516"/>
                  </a:lnTo>
                  <a:lnTo>
                    <a:pt x="155" y="505"/>
                  </a:lnTo>
                  <a:lnTo>
                    <a:pt x="150" y="493"/>
                  </a:lnTo>
                  <a:lnTo>
                    <a:pt x="146" y="481"/>
                  </a:lnTo>
                  <a:lnTo>
                    <a:pt x="142" y="469"/>
                  </a:lnTo>
                  <a:lnTo>
                    <a:pt x="139" y="457"/>
                  </a:lnTo>
                  <a:lnTo>
                    <a:pt x="136" y="444"/>
                  </a:lnTo>
                  <a:lnTo>
                    <a:pt x="134" y="432"/>
                  </a:lnTo>
                  <a:lnTo>
                    <a:pt x="132" y="419"/>
                  </a:lnTo>
                  <a:lnTo>
                    <a:pt x="131" y="406"/>
                  </a:lnTo>
                  <a:lnTo>
                    <a:pt x="131" y="394"/>
                  </a:lnTo>
                  <a:lnTo>
                    <a:pt x="131" y="382"/>
                  </a:lnTo>
                  <a:lnTo>
                    <a:pt x="132" y="369"/>
                  </a:lnTo>
                  <a:lnTo>
                    <a:pt x="134" y="356"/>
                  </a:lnTo>
                  <a:lnTo>
                    <a:pt x="136" y="344"/>
                  </a:lnTo>
                  <a:lnTo>
                    <a:pt x="139" y="332"/>
                  </a:lnTo>
                  <a:lnTo>
                    <a:pt x="142" y="319"/>
                  </a:lnTo>
                  <a:lnTo>
                    <a:pt x="146" y="307"/>
                  </a:lnTo>
                  <a:lnTo>
                    <a:pt x="150" y="295"/>
                  </a:lnTo>
                  <a:lnTo>
                    <a:pt x="155" y="283"/>
                  </a:lnTo>
                  <a:lnTo>
                    <a:pt x="161" y="272"/>
                  </a:lnTo>
                  <a:lnTo>
                    <a:pt x="167" y="261"/>
                  </a:lnTo>
                  <a:lnTo>
                    <a:pt x="175" y="250"/>
                  </a:lnTo>
                  <a:lnTo>
                    <a:pt x="182" y="238"/>
                  </a:lnTo>
                  <a:lnTo>
                    <a:pt x="190" y="228"/>
                  </a:lnTo>
                  <a:lnTo>
                    <a:pt x="199" y="218"/>
                  </a:lnTo>
                  <a:lnTo>
                    <a:pt x="208" y="208"/>
                  </a:lnTo>
                  <a:lnTo>
                    <a:pt x="218" y="199"/>
                  </a:lnTo>
                  <a:lnTo>
                    <a:pt x="228" y="190"/>
                  </a:lnTo>
                  <a:lnTo>
                    <a:pt x="238" y="182"/>
                  </a:lnTo>
                  <a:lnTo>
                    <a:pt x="249" y="175"/>
                  </a:lnTo>
                  <a:lnTo>
                    <a:pt x="260" y="167"/>
                  </a:lnTo>
                  <a:lnTo>
                    <a:pt x="271" y="161"/>
                  </a:lnTo>
                  <a:lnTo>
                    <a:pt x="283" y="156"/>
                  </a:lnTo>
                  <a:lnTo>
                    <a:pt x="294" y="151"/>
                  </a:lnTo>
                  <a:lnTo>
                    <a:pt x="307" y="146"/>
                  </a:lnTo>
                  <a:lnTo>
                    <a:pt x="319" y="143"/>
                  </a:lnTo>
                  <a:lnTo>
                    <a:pt x="331" y="139"/>
                  </a:lnTo>
                  <a:lnTo>
                    <a:pt x="344" y="137"/>
                  </a:lnTo>
                  <a:lnTo>
                    <a:pt x="356" y="135"/>
                  </a:lnTo>
                  <a:lnTo>
                    <a:pt x="368" y="133"/>
                  </a:lnTo>
                  <a:lnTo>
                    <a:pt x="381" y="132"/>
                  </a:lnTo>
                  <a:lnTo>
                    <a:pt x="394" y="132"/>
                  </a:lnTo>
                  <a:lnTo>
                    <a:pt x="406" y="132"/>
                  </a:lnTo>
                  <a:lnTo>
                    <a:pt x="418" y="133"/>
                  </a:lnTo>
                  <a:lnTo>
                    <a:pt x="431" y="135"/>
                  </a:lnTo>
                  <a:lnTo>
                    <a:pt x="444" y="137"/>
                  </a:lnTo>
                  <a:lnTo>
                    <a:pt x="456" y="139"/>
                  </a:lnTo>
                  <a:lnTo>
                    <a:pt x="469" y="143"/>
                  </a:lnTo>
                  <a:lnTo>
                    <a:pt x="480" y="146"/>
                  </a:lnTo>
                  <a:lnTo>
                    <a:pt x="492" y="151"/>
                  </a:lnTo>
                  <a:lnTo>
                    <a:pt x="505" y="156"/>
                  </a:lnTo>
                  <a:lnTo>
                    <a:pt x="516" y="161"/>
                  </a:lnTo>
                  <a:lnTo>
                    <a:pt x="527" y="167"/>
                  </a:lnTo>
                  <a:lnTo>
                    <a:pt x="538" y="175"/>
                  </a:lnTo>
                  <a:lnTo>
                    <a:pt x="549" y="183"/>
                  </a:lnTo>
                  <a:lnTo>
                    <a:pt x="559" y="190"/>
                  </a:lnTo>
                  <a:lnTo>
                    <a:pt x="569" y="199"/>
                  </a:lnTo>
                  <a:lnTo>
                    <a:pt x="579" y="208"/>
                  </a:lnTo>
                  <a:lnTo>
                    <a:pt x="589" y="218"/>
                  </a:lnTo>
                  <a:lnTo>
                    <a:pt x="597" y="228"/>
                  </a:lnTo>
                  <a:lnTo>
                    <a:pt x="605" y="239"/>
                  </a:lnTo>
                  <a:lnTo>
                    <a:pt x="612" y="250"/>
                  </a:lnTo>
                  <a:lnTo>
                    <a:pt x="619" y="261"/>
                  </a:lnTo>
                  <a:lnTo>
                    <a:pt x="626" y="272"/>
                  </a:lnTo>
                  <a:lnTo>
                    <a:pt x="632" y="283"/>
                  </a:lnTo>
                  <a:lnTo>
                    <a:pt x="637" y="296"/>
                  </a:lnTo>
                  <a:lnTo>
                    <a:pt x="641" y="307"/>
                  </a:lnTo>
                  <a:lnTo>
                    <a:pt x="645" y="319"/>
                  </a:lnTo>
                  <a:lnTo>
                    <a:pt x="648" y="332"/>
                  </a:lnTo>
                  <a:lnTo>
                    <a:pt x="651" y="344"/>
                  </a:lnTo>
                  <a:lnTo>
                    <a:pt x="653" y="356"/>
                  </a:lnTo>
                  <a:lnTo>
                    <a:pt x="654" y="369"/>
                  </a:lnTo>
                  <a:lnTo>
                    <a:pt x="655" y="382"/>
                  </a:lnTo>
                  <a:lnTo>
                    <a:pt x="655" y="394"/>
                  </a:lnTo>
                  <a:lnTo>
                    <a:pt x="655" y="406"/>
                  </a:lnTo>
                  <a:lnTo>
                    <a:pt x="654" y="419"/>
                  </a:lnTo>
                  <a:lnTo>
                    <a:pt x="653" y="432"/>
                  </a:lnTo>
                  <a:lnTo>
                    <a:pt x="651" y="444"/>
                  </a:lnTo>
                  <a:lnTo>
                    <a:pt x="648" y="457"/>
                  </a:lnTo>
                  <a:lnTo>
                    <a:pt x="645" y="469"/>
                  </a:lnTo>
                  <a:lnTo>
                    <a:pt x="641" y="481"/>
                  </a:lnTo>
                  <a:lnTo>
                    <a:pt x="637" y="493"/>
                  </a:lnTo>
                  <a:lnTo>
                    <a:pt x="632" y="505"/>
                  </a:lnTo>
                  <a:lnTo>
                    <a:pt x="626" y="516"/>
                  </a:lnTo>
                  <a:lnTo>
                    <a:pt x="619" y="528"/>
                  </a:lnTo>
                  <a:lnTo>
                    <a:pt x="612" y="539"/>
                  </a:lnTo>
                  <a:lnTo>
                    <a:pt x="605" y="549"/>
                  </a:lnTo>
                  <a:lnTo>
                    <a:pt x="597" y="560"/>
                  </a:lnTo>
                  <a:lnTo>
                    <a:pt x="589" y="570"/>
                  </a:lnTo>
                  <a:lnTo>
                    <a:pt x="579" y="580"/>
                  </a:lnTo>
                  <a:close/>
                  <a:moveTo>
                    <a:pt x="672" y="116"/>
                  </a:moveTo>
                  <a:lnTo>
                    <a:pt x="656" y="102"/>
                  </a:lnTo>
                  <a:lnTo>
                    <a:pt x="642" y="88"/>
                  </a:lnTo>
                  <a:lnTo>
                    <a:pt x="626" y="77"/>
                  </a:lnTo>
                  <a:lnTo>
                    <a:pt x="610" y="66"/>
                  </a:lnTo>
                  <a:lnTo>
                    <a:pt x="593" y="56"/>
                  </a:lnTo>
                  <a:lnTo>
                    <a:pt x="576" y="45"/>
                  </a:lnTo>
                  <a:lnTo>
                    <a:pt x="559" y="37"/>
                  </a:lnTo>
                  <a:lnTo>
                    <a:pt x="541" y="30"/>
                  </a:lnTo>
                  <a:lnTo>
                    <a:pt x="523" y="23"/>
                  </a:lnTo>
                  <a:lnTo>
                    <a:pt x="506" y="17"/>
                  </a:lnTo>
                  <a:lnTo>
                    <a:pt x="487" y="12"/>
                  </a:lnTo>
                  <a:lnTo>
                    <a:pt x="469" y="8"/>
                  </a:lnTo>
                  <a:lnTo>
                    <a:pt x="449" y="4"/>
                  </a:lnTo>
                  <a:lnTo>
                    <a:pt x="431" y="2"/>
                  </a:lnTo>
                  <a:lnTo>
                    <a:pt x="412" y="1"/>
                  </a:lnTo>
                  <a:lnTo>
                    <a:pt x="393" y="0"/>
                  </a:lnTo>
                  <a:lnTo>
                    <a:pt x="374" y="1"/>
                  </a:lnTo>
                  <a:lnTo>
                    <a:pt x="356" y="2"/>
                  </a:lnTo>
                  <a:lnTo>
                    <a:pt x="336" y="4"/>
                  </a:lnTo>
                  <a:lnTo>
                    <a:pt x="318" y="7"/>
                  </a:lnTo>
                  <a:lnTo>
                    <a:pt x="300" y="12"/>
                  </a:lnTo>
                  <a:lnTo>
                    <a:pt x="281" y="17"/>
                  </a:lnTo>
                  <a:lnTo>
                    <a:pt x="263" y="23"/>
                  </a:lnTo>
                  <a:lnTo>
                    <a:pt x="245" y="30"/>
                  </a:lnTo>
                  <a:lnTo>
                    <a:pt x="228" y="37"/>
                  </a:lnTo>
                  <a:lnTo>
                    <a:pt x="210" y="45"/>
                  </a:lnTo>
                  <a:lnTo>
                    <a:pt x="193" y="55"/>
                  </a:lnTo>
                  <a:lnTo>
                    <a:pt x="177" y="66"/>
                  </a:lnTo>
                  <a:lnTo>
                    <a:pt x="161" y="77"/>
                  </a:lnTo>
                  <a:lnTo>
                    <a:pt x="145" y="88"/>
                  </a:lnTo>
                  <a:lnTo>
                    <a:pt x="130" y="102"/>
                  </a:lnTo>
                  <a:lnTo>
                    <a:pt x="115" y="116"/>
                  </a:lnTo>
                  <a:lnTo>
                    <a:pt x="102" y="131"/>
                  </a:lnTo>
                  <a:lnTo>
                    <a:pt x="88" y="146"/>
                  </a:lnTo>
                  <a:lnTo>
                    <a:pt x="76" y="161"/>
                  </a:lnTo>
                  <a:lnTo>
                    <a:pt x="65" y="178"/>
                  </a:lnTo>
                  <a:lnTo>
                    <a:pt x="55" y="194"/>
                  </a:lnTo>
                  <a:lnTo>
                    <a:pt x="45" y="211"/>
                  </a:lnTo>
                  <a:lnTo>
                    <a:pt x="37" y="228"/>
                  </a:lnTo>
                  <a:lnTo>
                    <a:pt x="29" y="245"/>
                  </a:lnTo>
                  <a:lnTo>
                    <a:pt x="23" y="264"/>
                  </a:lnTo>
                  <a:lnTo>
                    <a:pt x="17" y="282"/>
                  </a:lnTo>
                  <a:lnTo>
                    <a:pt x="12" y="300"/>
                  </a:lnTo>
                  <a:lnTo>
                    <a:pt x="7" y="319"/>
                  </a:lnTo>
                  <a:lnTo>
                    <a:pt x="4" y="338"/>
                  </a:lnTo>
                  <a:lnTo>
                    <a:pt x="2" y="356"/>
                  </a:lnTo>
                  <a:lnTo>
                    <a:pt x="1" y="375"/>
                  </a:lnTo>
                  <a:lnTo>
                    <a:pt x="0" y="394"/>
                  </a:lnTo>
                  <a:lnTo>
                    <a:pt x="1" y="413"/>
                  </a:lnTo>
                  <a:lnTo>
                    <a:pt x="2" y="432"/>
                  </a:lnTo>
                  <a:lnTo>
                    <a:pt x="4" y="451"/>
                  </a:lnTo>
                  <a:lnTo>
                    <a:pt x="7" y="469"/>
                  </a:lnTo>
                  <a:lnTo>
                    <a:pt x="12" y="488"/>
                  </a:lnTo>
                  <a:lnTo>
                    <a:pt x="17" y="506"/>
                  </a:lnTo>
                  <a:lnTo>
                    <a:pt x="23" y="524"/>
                  </a:lnTo>
                  <a:lnTo>
                    <a:pt x="29" y="542"/>
                  </a:lnTo>
                  <a:lnTo>
                    <a:pt x="37" y="559"/>
                  </a:lnTo>
                  <a:lnTo>
                    <a:pt x="45" y="577"/>
                  </a:lnTo>
                  <a:lnTo>
                    <a:pt x="55" y="594"/>
                  </a:lnTo>
                  <a:lnTo>
                    <a:pt x="65" y="611"/>
                  </a:lnTo>
                  <a:lnTo>
                    <a:pt x="76" y="627"/>
                  </a:lnTo>
                  <a:lnTo>
                    <a:pt x="88" y="642"/>
                  </a:lnTo>
                  <a:lnTo>
                    <a:pt x="102" y="658"/>
                  </a:lnTo>
                  <a:lnTo>
                    <a:pt x="115" y="672"/>
                  </a:lnTo>
                  <a:lnTo>
                    <a:pt x="130" y="687"/>
                  </a:lnTo>
                  <a:lnTo>
                    <a:pt x="145" y="699"/>
                  </a:lnTo>
                  <a:lnTo>
                    <a:pt x="161" y="711"/>
                  </a:lnTo>
                  <a:lnTo>
                    <a:pt x="177" y="722"/>
                  </a:lnTo>
                  <a:lnTo>
                    <a:pt x="194" y="733"/>
                  </a:lnTo>
                  <a:lnTo>
                    <a:pt x="210" y="742"/>
                  </a:lnTo>
                  <a:lnTo>
                    <a:pt x="228" y="751"/>
                  </a:lnTo>
                  <a:lnTo>
                    <a:pt x="245" y="758"/>
                  </a:lnTo>
                  <a:lnTo>
                    <a:pt x="264" y="766"/>
                  </a:lnTo>
                  <a:lnTo>
                    <a:pt x="281" y="771"/>
                  </a:lnTo>
                  <a:lnTo>
                    <a:pt x="300" y="776"/>
                  </a:lnTo>
                  <a:lnTo>
                    <a:pt x="318" y="780"/>
                  </a:lnTo>
                  <a:lnTo>
                    <a:pt x="336" y="783"/>
                  </a:lnTo>
                  <a:lnTo>
                    <a:pt x="356" y="785"/>
                  </a:lnTo>
                  <a:lnTo>
                    <a:pt x="374" y="787"/>
                  </a:lnTo>
                  <a:lnTo>
                    <a:pt x="394" y="787"/>
                  </a:lnTo>
                  <a:lnTo>
                    <a:pt x="412" y="787"/>
                  </a:lnTo>
                  <a:lnTo>
                    <a:pt x="431" y="785"/>
                  </a:lnTo>
                  <a:lnTo>
                    <a:pt x="450" y="783"/>
                  </a:lnTo>
                  <a:lnTo>
                    <a:pt x="469" y="780"/>
                  </a:lnTo>
                  <a:lnTo>
                    <a:pt x="487" y="776"/>
                  </a:lnTo>
                  <a:lnTo>
                    <a:pt x="506" y="772"/>
                  </a:lnTo>
                  <a:lnTo>
                    <a:pt x="523" y="766"/>
                  </a:lnTo>
                  <a:lnTo>
                    <a:pt x="541" y="758"/>
                  </a:lnTo>
                  <a:lnTo>
                    <a:pt x="559" y="751"/>
                  </a:lnTo>
                  <a:lnTo>
                    <a:pt x="576" y="743"/>
                  </a:lnTo>
                  <a:lnTo>
                    <a:pt x="593" y="733"/>
                  </a:lnTo>
                  <a:lnTo>
                    <a:pt x="610" y="722"/>
                  </a:lnTo>
                  <a:lnTo>
                    <a:pt x="626" y="711"/>
                  </a:lnTo>
                  <a:lnTo>
                    <a:pt x="642" y="700"/>
                  </a:lnTo>
                  <a:lnTo>
                    <a:pt x="656" y="687"/>
                  </a:lnTo>
                  <a:lnTo>
                    <a:pt x="672" y="672"/>
                  </a:lnTo>
                  <a:lnTo>
                    <a:pt x="685" y="658"/>
                  </a:lnTo>
                  <a:lnTo>
                    <a:pt x="698" y="642"/>
                  </a:lnTo>
                  <a:lnTo>
                    <a:pt x="711" y="627"/>
                  </a:lnTo>
                  <a:lnTo>
                    <a:pt x="722" y="611"/>
                  </a:lnTo>
                  <a:lnTo>
                    <a:pt x="732" y="594"/>
                  </a:lnTo>
                  <a:lnTo>
                    <a:pt x="741" y="577"/>
                  </a:lnTo>
                  <a:lnTo>
                    <a:pt x="750" y="560"/>
                  </a:lnTo>
                  <a:lnTo>
                    <a:pt x="758" y="542"/>
                  </a:lnTo>
                  <a:lnTo>
                    <a:pt x="764" y="524"/>
                  </a:lnTo>
                  <a:lnTo>
                    <a:pt x="770" y="506"/>
                  </a:lnTo>
                  <a:lnTo>
                    <a:pt x="775" y="488"/>
                  </a:lnTo>
                  <a:lnTo>
                    <a:pt x="779" y="469"/>
                  </a:lnTo>
                  <a:lnTo>
                    <a:pt x="782" y="451"/>
                  </a:lnTo>
                  <a:lnTo>
                    <a:pt x="784" y="432"/>
                  </a:lnTo>
                  <a:lnTo>
                    <a:pt x="785" y="413"/>
                  </a:lnTo>
                  <a:lnTo>
                    <a:pt x="786" y="394"/>
                  </a:lnTo>
                  <a:lnTo>
                    <a:pt x="785" y="376"/>
                  </a:lnTo>
                  <a:lnTo>
                    <a:pt x="784" y="356"/>
                  </a:lnTo>
                  <a:lnTo>
                    <a:pt x="782" y="338"/>
                  </a:lnTo>
                  <a:lnTo>
                    <a:pt x="779" y="319"/>
                  </a:lnTo>
                  <a:lnTo>
                    <a:pt x="775" y="301"/>
                  </a:lnTo>
                  <a:lnTo>
                    <a:pt x="770" y="282"/>
                  </a:lnTo>
                  <a:lnTo>
                    <a:pt x="764" y="264"/>
                  </a:lnTo>
                  <a:lnTo>
                    <a:pt x="758" y="246"/>
                  </a:lnTo>
                  <a:lnTo>
                    <a:pt x="750" y="228"/>
                  </a:lnTo>
                  <a:lnTo>
                    <a:pt x="741" y="211"/>
                  </a:lnTo>
                  <a:lnTo>
                    <a:pt x="732" y="194"/>
                  </a:lnTo>
                  <a:lnTo>
                    <a:pt x="722" y="178"/>
                  </a:lnTo>
                  <a:lnTo>
                    <a:pt x="711" y="161"/>
                  </a:lnTo>
                  <a:lnTo>
                    <a:pt x="698" y="146"/>
                  </a:lnTo>
                  <a:lnTo>
                    <a:pt x="685" y="131"/>
                  </a:lnTo>
                  <a:lnTo>
                    <a:pt x="672" y="1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1" name="Freeform 64"/>
            <p:cNvSpPr>
              <a:spLocks noEditPoints="1"/>
            </p:cNvSpPr>
            <p:nvPr/>
          </p:nvSpPr>
          <p:spPr bwMode="auto">
            <a:xfrm>
              <a:off x="3862388" y="3600450"/>
              <a:ext cx="165100" cy="166688"/>
            </a:xfrm>
            <a:custGeom>
              <a:avLst/>
              <a:gdLst>
                <a:gd name="T0" fmla="*/ 324 w 524"/>
                <a:gd name="T1" fmla="*/ 380 h 525"/>
                <a:gd name="T2" fmla="*/ 275 w 524"/>
                <a:gd name="T3" fmla="*/ 396 h 525"/>
                <a:gd name="T4" fmla="*/ 224 w 524"/>
                <a:gd name="T5" fmla="*/ 390 h 525"/>
                <a:gd name="T6" fmla="*/ 178 w 524"/>
                <a:gd name="T7" fmla="*/ 366 h 525"/>
                <a:gd name="T8" fmla="*/ 144 w 524"/>
                <a:gd name="T9" fmla="*/ 325 h 525"/>
                <a:gd name="T10" fmla="*/ 130 w 524"/>
                <a:gd name="T11" fmla="*/ 274 h 525"/>
                <a:gd name="T12" fmla="*/ 135 w 524"/>
                <a:gd name="T13" fmla="*/ 224 h 525"/>
                <a:gd name="T14" fmla="*/ 158 w 524"/>
                <a:gd name="T15" fmla="*/ 177 h 525"/>
                <a:gd name="T16" fmla="*/ 200 w 524"/>
                <a:gd name="T17" fmla="*/ 143 h 525"/>
                <a:gd name="T18" fmla="*/ 250 w 524"/>
                <a:gd name="T19" fmla="*/ 129 h 525"/>
                <a:gd name="T20" fmla="*/ 301 w 524"/>
                <a:gd name="T21" fmla="*/ 134 h 525"/>
                <a:gd name="T22" fmla="*/ 347 w 524"/>
                <a:gd name="T23" fmla="*/ 159 h 525"/>
                <a:gd name="T24" fmla="*/ 381 w 524"/>
                <a:gd name="T25" fmla="*/ 200 h 525"/>
                <a:gd name="T26" fmla="*/ 395 w 524"/>
                <a:gd name="T27" fmla="*/ 249 h 525"/>
                <a:gd name="T28" fmla="*/ 391 w 524"/>
                <a:gd name="T29" fmla="*/ 300 h 525"/>
                <a:gd name="T30" fmla="*/ 366 w 524"/>
                <a:gd name="T31" fmla="*/ 346 h 525"/>
                <a:gd name="T32" fmla="*/ 428 w 524"/>
                <a:gd name="T33" fmla="*/ 58 h 525"/>
                <a:gd name="T34" fmla="*/ 385 w 524"/>
                <a:gd name="T35" fmla="*/ 29 h 525"/>
                <a:gd name="T36" fmla="*/ 338 w 524"/>
                <a:gd name="T37" fmla="*/ 11 h 525"/>
                <a:gd name="T38" fmla="*/ 287 w 524"/>
                <a:gd name="T39" fmla="*/ 1 h 525"/>
                <a:gd name="T40" fmla="*/ 237 w 524"/>
                <a:gd name="T41" fmla="*/ 1 h 525"/>
                <a:gd name="T42" fmla="*/ 188 w 524"/>
                <a:gd name="T43" fmla="*/ 11 h 525"/>
                <a:gd name="T44" fmla="*/ 140 w 524"/>
                <a:gd name="T45" fmla="*/ 29 h 525"/>
                <a:gd name="T46" fmla="*/ 97 w 524"/>
                <a:gd name="T47" fmla="*/ 58 h 525"/>
                <a:gd name="T48" fmla="*/ 59 w 524"/>
                <a:gd name="T49" fmla="*/ 96 h 525"/>
                <a:gd name="T50" fmla="*/ 30 w 524"/>
                <a:gd name="T51" fmla="*/ 140 h 525"/>
                <a:gd name="T52" fmla="*/ 11 w 524"/>
                <a:gd name="T53" fmla="*/ 187 h 525"/>
                <a:gd name="T54" fmla="*/ 1 w 524"/>
                <a:gd name="T55" fmla="*/ 237 h 525"/>
                <a:gd name="T56" fmla="*/ 1 w 524"/>
                <a:gd name="T57" fmla="*/ 287 h 525"/>
                <a:gd name="T58" fmla="*/ 11 w 524"/>
                <a:gd name="T59" fmla="*/ 337 h 525"/>
                <a:gd name="T60" fmla="*/ 30 w 524"/>
                <a:gd name="T61" fmla="*/ 384 h 525"/>
                <a:gd name="T62" fmla="*/ 59 w 524"/>
                <a:gd name="T63" fmla="*/ 427 h 525"/>
                <a:gd name="T64" fmla="*/ 97 w 524"/>
                <a:gd name="T65" fmla="*/ 465 h 525"/>
                <a:gd name="T66" fmla="*/ 141 w 524"/>
                <a:gd name="T67" fmla="*/ 494 h 525"/>
                <a:gd name="T68" fmla="*/ 188 w 524"/>
                <a:gd name="T69" fmla="*/ 513 h 525"/>
                <a:gd name="T70" fmla="*/ 237 w 524"/>
                <a:gd name="T71" fmla="*/ 523 h 525"/>
                <a:gd name="T72" fmla="*/ 287 w 524"/>
                <a:gd name="T73" fmla="*/ 524 h 525"/>
                <a:gd name="T74" fmla="*/ 338 w 524"/>
                <a:gd name="T75" fmla="*/ 513 h 525"/>
                <a:gd name="T76" fmla="*/ 385 w 524"/>
                <a:gd name="T77" fmla="*/ 495 h 525"/>
                <a:gd name="T78" fmla="*/ 428 w 524"/>
                <a:gd name="T79" fmla="*/ 466 h 525"/>
                <a:gd name="T80" fmla="*/ 466 w 524"/>
                <a:gd name="T81" fmla="*/ 428 h 525"/>
                <a:gd name="T82" fmla="*/ 495 w 524"/>
                <a:gd name="T83" fmla="*/ 384 h 525"/>
                <a:gd name="T84" fmla="*/ 514 w 524"/>
                <a:gd name="T85" fmla="*/ 337 h 525"/>
                <a:gd name="T86" fmla="*/ 523 w 524"/>
                <a:gd name="T87" fmla="*/ 287 h 525"/>
                <a:gd name="T88" fmla="*/ 523 w 524"/>
                <a:gd name="T89" fmla="*/ 237 h 525"/>
                <a:gd name="T90" fmla="*/ 514 w 524"/>
                <a:gd name="T91" fmla="*/ 187 h 525"/>
                <a:gd name="T92" fmla="*/ 495 w 524"/>
                <a:gd name="T93" fmla="*/ 140 h 525"/>
                <a:gd name="T94" fmla="*/ 466 w 524"/>
                <a:gd name="T95" fmla="*/ 96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24" h="525">
                  <a:moveTo>
                    <a:pt x="357" y="357"/>
                  </a:moveTo>
                  <a:lnTo>
                    <a:pt x="347" y="366"/>
                  </a:lnTo>
                  <a:lnTo>
                    <a:pt x="336" y="374"/>
                  </a:lnTo>
                  <a:lnTo>
                    <a:pt x="324" y="380"/>
                  </a:lnTo>
                  <a:lnTo>
                    <a:pt x="313" y="386"/>
                  </a:lnTo>
                  <a:lnTo>
                    <a:pt x="301" y="390"/>
                  </a:lnTo>
                  <a:lnTo>
                    <a:pt x="287" y="393"/>
                  </a:lnTo>
                  <a:lnTo>
                    <a:pt x="275" y="396"/>
                  </a:lnTo>
                  <a:lnTo>
                    <a:pt x="262" y="396"/>
                  </a:lnTo>
                  <a:lnTo>
                    <a:pt x="250" y="396"/>
                  </a:lnTo>
                  <a:lnTo>
                    <a:pt x="237" y="393"/>
                  </a:lnTo>
                  <a:lnTo>
                    <a:pt x="224" y="390"/>
                  </a:lnTo>
                  <a:lnTo>
                    <a:pt x="212" y="386"/>
                  </a:lnTo>
                  <a:lnTo>
                    <a:pt x="200" y="380"/>
                  </a:lnTo>
                  <a:lnTo>
                    <a:pt x="189" y="374"/>
                  </a:lnTo>
                  <a:lnTo>
                    <a:pt x="178" y="366"/>
                  </a:lnTo>
                  <a:lnTo>
                    <a:pt x="168" y="357"/>
                  </a:lnTo>
                  <a:lnTo>
                    <a:pt x="158" y="346"/>
                  </a:lnTo>
                  <a:lnTo>
                    <a:pt x="150" y="336"/>
                  </a:lnTo>
                  <a:lnTo>
                    <a:pt x="144" y="325"/>
                  </a:lnTo>
                  <a:lnTo>
                    <a:pt x="139" y="312"/>
                  </a:lnTo>
                  <a:lnTo>
                    <a:pt x="135" y="300"/>
                  </a:lnTo>
                  <a:lnTo>
                    <a:pt x="132" y="288"/>
                  </a:lnTo>
                  <a:lnTo>
                    <a:pt x="130" y="274"/>
                  </a:lnTo>
                  <a:lnTo>
                    <a:pt x="129" y="262"/>
                  </a:lnTo>
                  <a:lnTo>
                    <a:pt x="130" y="249"/>
                  </a:lnTo>
                  <a:lnTo>
                    <a:pt x="132" y="237"/>
                  </a:lnTo>
                  <a:lnTo>
                    <a:pt x="135" y="224"/>
                  </a:lnTo>
                  <a:lnTo>
                    <a:pt x="139" y="212"/>
                  </a:lnTo>
                  <a:lnTo>
                    <a:pt x="144" y="200"/>
                  </a:lnTo>
                  <a:lnTo>
                    <a:pt x="150" y="188"/>
                  </a:lnTo>
                  <a:lnTo>
                    <a:pt x="158" y="177"/>
                  </a:lnTo>
                  <a:lnTo>
                    <a:pt x="168" y="168"/>
                  </a:lnTo>
                  <a:lnTo>
                    <a:pt x="178" y="159"/>
                  </a:lnTo>
                  <a:lnTo>
                    <a:pt x="188" y="150"/>
                  </a:lnTo>
                  <a:lnTo>
                    <a:pt x="200" y="143"/>
                  </a:lnTo>
                  <a:lnTo>
                    <a:pt x="212" y="138"/>
                  </a:lnTo>
                  <a:lnTo>
                    <a:pt x="224" y="134"/>
                  </a:lnTo>
                  <a:lnTo>
                    <a:pt x="236" y="131"/>
                  </a:lnTo>
                  <a:lnTo>
                    <a:pt x="250" y="129"/>
                  </a:lnTo>
                  <a:lnTo>
                    <a:pt x="262" y="128"/>
                  </a:lnTo>
                  <a:lnTo>
                    <a:pt x="275" y="129"/>
                  </a:lnTo>
                  <a:lnTo>
                    <a:pt x="287" y="131"/>
                  </a:lnTo>
                  <a:lnTo>
                    <a:pt x="301" y="134"/>
                  </a:lnTo>
                  <a:lnTo>
                    <a:pt x="312" y="138"/>
                  </a:lnTo>
                  <a:lnTo>
                    <a:pt x="324" y="143"/>
                  </a:lnTo>
                  <a:lnTo>
                    <a:pt x="336" y="150"/>
                  </a:lnTo>
                  <a:lnTo>
                    <a:pt x="347" y="159"/>
                  </a:lnTo>
                  <a:lnTo>
                    <a:pt x="357" y="168"/>
                  </a:lnTo>
                  <a:lnTo>
                    <a:pt x="366" y="177"/>
                  </a:lnTo>
                  <a:lnTo>
                    <a:pt x="374" y="188"/>
                  </a:lnTo>
                  <a:lnTo>
                    <a:pt x="381" y="200"/>
                  </a:lnTo>
                  <a:lnTo>
                    <a:pt x="386" y="212"/>
                  </a:lnTo>
                  <a:lnTo>
                    <a:pt x="391" y="224"/>
                  </a:lnTo>
                  <a:lnTo>
                    <a:pt x="394" y="237"/>
                  </a:lnTo>
                  <a:lnTo>
                    <a:pt x="395" y="249"/>
                  </a:lnTo>
                  <a:lnTo>
                    <a:pt x="396" y="262"/>
                  </a:lnTo>
                  <a:lnTo>
                    <a:pt x="395" y="274"/>
                  </a:lnTo>
                  <a:lnTo>
                    <a:pt x="394" y="288"/>
                  </a:lnTo>
                  <a:lnTo>
                    <a:pt x="391" y="300"/>
                  </a:lnTo>
                  <a:lnTo>
                    <a:pt x="386" y="312"/>
                  </a:lnTo>
                  <a:lnTo>
                    <a:pt x="381" y="325"/>
                  </a:lnTo>
                  <a:lnTo>
                    <a:pt x="374" y="336"/>
                  </a:lnTo>
                  <a:lnTo>
                    <a:pt x="366" y="346"/>
                  </a:lnTo>
                  <a:lnTo>
                    <a:pt x="357" y="357"/>
                  </a:lnTo>
                  <a:close/>
                  <a:moveTo>
                    <a:pt x="448" y="76"/>
                  </a:moveTo>
                  <a:lnTo>
                    <a:pt x="438" y="67"/>
                  </a:lnTo>
                  <a:lnTo>
                    <a:pt x="428" y="58"/>
                  </a:lnTo>
                  <a:lnTo>
                    <a:pt x="418" y="51"/>
                  </a:lnTo>
                  <a:lnTo>
                    <a:pt x="407" y="43"/>
                  </a:lnTo>
                  <a:lnTo>
                    <a:pt x="396" y="35"/>
                  </a:lnTo>
                  <a:lnTo>
                    <a:pt x="385" y="29"/>
                  </a:lnTo>
                  <a:lnTo>
                    <a:pt x="374" y="24"/>
                  </a:lnTo>
                  <a:lnTo>
                    <a:pt x="361" y="19"/>
                  </a:lnTo>
                  <a:lnTo>
                    <a:pt x="349" y="14"/>
                  </a:lnTo>
                  <a:lnTo>
                    <a:pt x="338" y="11"/>
                  </a:lnTo>
                  <a:lnTo>
                    <a:pt x="325" y="7"/>
                  </a:lnTo>
                  <a:lnTo>
                    <a:pt x="313" y="5"/>
                  </a:lnTo>
                  <a:lnTo>
                    <a:pt x="300" y="3"/>
                  </a:lnTo>
                  <a:lnTo>
                    <a:pt x="287" y="1"/>
                  </a:lnTo>
                  <a:lnTo>
                    <a:pt x="275" y="0"/>
                  </a:lnTo>
                  <a:lnTo>
                    <a:pt x="263" y="0"/>
                  </a:lnTo>
                  <a:lnTo>
                    <a:pt x="250" y="0"/>
                  </a:lnTo>
                  <a:lnTo>
                    <a:pt x="237" y="1"/>
                  </a:lnTo>
                  <a:lnTo>
                    <a:pt x="225" y="3"/>
                  </a:lnTo>
                  <a:lnTo>
                    <a:pt x="213" y="5"/>
                  </a:lnTo>
                  <a:lnTo>
                    <a:pt x="200" y="7"/>
                  </a:lnTo>
                  <a:lnTo>
                    <a:pt x="188" y="11"/>
                  </a:lnTo>
                  <a:lnTo>
                    <a:pt x="176" y="14"/>
                  </a:lnTo>
                  <a:lnTo>
                    <a:pt x="163" y="19"/>
                  </a:lnTo>
                  <a:lnTo>
                    <a:pt x="152" y="24"/>
                  </a:lnTo>
                  <a:lnTo>
                    <a:pt x="140" y="29"/>
                  </a:lnTo>
                  <a:lnTo>
                    <a:pt x="129" y="35"/>
                  </a:lnTo>
                  <a:lnTo>
                    <a:pt x="118" y="43"/>
                  </a:lnTo>
                  <a:lnTo>
                    <a:pt x="107" y="50"/>
                  </a:lnTo>
                  <a:lnTo>
                    <a:pt x="97" y="58"/>
                  </a:lnTo>
                  <a:lnTo>
                    <a:pt x="87" y="67"/>
                  </a:lnTo>
                  <a:lnTo>
                    <a:pt x="77" y="76"/>
                  </a:lnTo>
                  <a:lnTo>
                    <a:pt x="68" y="86"/>
                  </a:lnTo>
                  <a:lnTo>
                    <a:pt x="59" y="96"/>
                  </a:lnTo>
                  <a:lnTo>
                    <a:pt x="51" y="106"/>
                  </a:lnTo>
                  <a:lnTo>
                    <a:pt x="44" y="118"/>
                  </a:lnTo>
                  <a:lnTo>
                    <a:pt x="36" y="129"/>
                  </a:lnTo>
                  <a:lnTo>
                    <a:pt x="30" y="140"/>
                  </a:lnTo>
                  <a:lnTo>
                    <a:pt x="24" y="151"/>
                  </a:lnTo>
                  <a:lnTo>
                    <a:pt x="19" y="163"/>
                  </a:lnTo>
                  <a:lnTo>
                    <a:pt x="15" y="175"/>
                  </a:lnTo>
                  <a:lnTo>
                    <a:pt x="11" y="187"/>
                  </a:lnTo>
                  <a:lnTo>
                    <a:pt x="8" y="200"/>
                  </a:lnTo>
                  <a:lnTo>
                    <a:pt x="5" y="212"/>
                  </a:lnTo>
                  <a:lnTo>
                    <a:pt x="3" y="224"/>
                  </a:lnTo>
                  <a:lnTo>
                    <a:pt x="1" y="237"/>
                  </a:lnTo>
                  <a:lnTo>
                    <a:pt x="0" y="250"/>
                  </a:lnTo>
                  <a:lnTo>
                    <a:pt x="0" y="262"/>
                  </a:lnTo>
                  <a:lnTo>
                    <a:pt x="0" y="274"/>
                  </a:lnTo>
                  <a:lnTo>
                    <a:pt x="1" y="287"/>
                  </a:lnTo>
                  <a:lnTo>
                    <a:pt x="3" y="300"/>
                  </a:lnTo>
                  <a:lnTo>
                    <a:pt x="5" y="312"/>
                  </a:lnTo>
                  <a:lnTo>
                    <a:pt x="8" y="325"/>
                  </a:lnTo>
                  <a:lnTo>
                    <a:pt x="11" y="337"/>
                  </a:lnTo>
                  <a:lnTo>
                    <a:pt x="15" y="349"/>
                  </a:lnTo>
                  <a:lnTo>
                    <a:pt x="19" y="361"/>
                  </a:lnTo>
                  <a:lnTo>
                    <a:pt x="24" y="373"/>
                  </a:lnTo>
                  <a:lnTo>
                    <a:pt x="30" y="384"/>
                  </a:lnTo>
                  <a:lnTo>
                    <a:pt x="36" y="396"/>
                  </a:lnTo>
                  <a:lnTo>
                    <a:pt x="44" y="407"/>
                  </a:lnTo>
                  <a:lnTo>
                    <a:pt x="51" y="417"/>
                  </a:lnTo>
                  <a:lnTo>
                    <a:pt x="59" y="427"/>
                  </a:lnTo>
                  <a:lnTo>
                    <a:pt x="68" y="438"/>
                  </a:lnTo>
                  <a:lnTo>
                    <a:pt x="77" y="448"/>
                  </a:lnTo>
                  <a:lnTo>
                    <a:pt x="87" y="457"/>
                  </a:lnTo>
                  <a:lnTo>
                    <a:pt x="97" y="465"/>
                  </a:lnTo>
                  <a:lnTo>
                    <a:pt x="107" y="473"/>
                  </a:lnTo>
                  <a:lnTo>
                    <a:pt x="118" y="482"/>
                  </a:lnTo>
                  <a:lnTo>
                    <a:pt x="130" y="488"/>
                  </a:lnTo>
                  <a:lnTo>
                    <a:pt x="141" y="494"/>
                  </a:lnTo>
                  <a:lnTo>
                    <a:pt x="152" y="500"/>
                  </a:lnTo>
                  <a:lnTo>
                    <a:pt x="163" y="505"/>
                  </a:lnTo>
                  <a:lnTo>
                    <a:pt x="176" y="509"/>
                  </a:lnTo>
                  <a:lnTo>
                    <a:pt x="188" y="513"/>
                  </a:lnTo>
                  <a:lnTo>
                    <a:pt x="200" y="517"/>
                  </a:lnTo>
                  <a:lnTo>
                    <a:pt x="213" y="520"/>
                  </a:lnTo>
                  <a:lnTo>
                    <a:pt x="225" y="522"/>
                  </a:lnTo>
                  <a:lnTo>
                    <a:pt x="237" y="523"/>
                  </a:lnTo>
                  <a:lnTo>
                    <a:pt x="250" y="524"/>
                  </a:lnTo>
                  <a:lnTo>
                    <a:pt x="263" y="525"/>
                  </a:lnTo>
                  <a:lnTo>
                    <a:pt x="275" y="524"/>
                  </a:lnTo>
                  <a:lnTo>
                    <a:pt x="287" y="524"/>
                  </a:lnTo>
                  <a:lnTo>
                    <a:pt x="301" y="522"/>
                  </a:lnTo>
                  <a:lnTo>
                    <a:pt x="313" y="520"/>
                  </a:lnTo>
                  <a:lnTo>
                    <a:pt x="325" y="517"/>
                  </a:lnTo>
                  <a:lnTo>
                    <a:pt x="338" y="513"/>
                  </a:lnTo>
                  <a:lnTo>
                    <a:pt x="349" y="509"/>
                  </a:lnTo>
                  <a:lnTo>
                    <a:pt x="361" y="505"/>
                  </a:lnTo>
                  <a:lnTo>
                    <a:pt x="374" y="500"/>
                  </a:lnTo>
                  <a:lnTo>
                    <a:pt x="385" y="495"/>
                  </a:lnTo>
                  <a:lnTo>
                    <a:pt x="396" y="488"/>
                  </a:lnTo>
                  <a:lnTo>
                    <a:pt x="407" y="482"/>
                  </a:lnTo>
                  <a:lnTo>
                    <a:pt x="418" y="473"/>
                  </a:lnTo>
                  <a:lnTo>
                    <a:pt x="428" y="466"/>
                  </a:lnTo>
                  <a:lnTo>
                    <a:pt x="438" y="457"/>
                  </a:lnTo>
                  <a:lnTo>
                    <a:pt x="448" y="448"/>
                  </a:lnTo>
                  <a:lnTo>
                    <a:pt x="458" y="438"/>
                  </a:lnTo>
                  <a:lnTo>
                    <a:pt x="466" y="428"/>
                  </a:lnTo>
                  <a:lnTo>
                    <a:pt x="474" y="417"/>
                  </a:lnTo>
                  <a:lnTo>
                    <a:pt x="481" y="407"/>
                  </a:lnTo>
                  <a:lnTo>
                    <a:pt x="488" y="396"/>
                  </a:lnTo>
                  <a:lnTo>
                    <a:pt x="495" y="384"/>
                  </a:lnTo>
                  <a:lnTo>
                    <a:pt x="501" y="373"/>
                  </a:lnTo>
                  <a:lnTo>
                    <a:pt x="506" y="361"/>
                  </a:lnTo>
                  <a:lnTo>
                    <a:pt x="510" y="349"/>
                  </a:lnTo>
                  <a:lnTo>
                    <a:pt x="514" y="337"/>
                  </a:lnTo>
                  <a:lnTo>
                    <a:pt x="517" y="325"/>
                  </a:lnTo>
                  <a:lnTo>
                    <a:pt x="520" y="312"/>
                  </a:lnTo>
                  <a:lnTo>
                    <a:pt x="522" y="300"/>
                  </a:lnTo>
                  <a:lnTo>
                    <a:pt x="523" y="287"/>
                  </a:lnTo>
                  <a:lnTo>
                    <a:pt x="524" y="274"/>
                  </a:lnTo>
                  <a:lnTo>
                    <a:pt x="524" y="262"/>
                  </a:lnTo>
                  <a:lnTo>
                    <a:pt x="524" y="250"/>
                  </a:lnTo>
                  <a:lnTo>
                    <a:pt x="523" y="237"/>
                  </a:lnTo>
                  <a:lnTo>
                    <a:pt x="522" y="224"/>
                  </a:lnTo>
                  <a:lnTo>
                    <a:pt x="520" y="212"/>
                  </a:lnTo>
                  <a:lnTo>
                    <a:pt x="517" y="200"/>
                  </a:lnTo>
                  <a:lnTo>
                    <a:pt x="514" y="187"/>
                  </a:lnTo>
                  <a:lnTo>
                    <a:pt x="510" y="175"/>
                  </a:lnTo>
                  <a:lnTo>
                    <a:pt x="506" y="164"/>
                  </a:lnTo>
                  <a:lnTo>
                    <a:pt x="501" y="151"/>
                  </a:lnTo>
                  <a:lnTo>
                    <a:pt x="495" y="140"/>
                  </a:lnTo>
                  <a:lnTo>
                    <a:pt x="488" y="129"/>
                  </a:lnTo>
                  <a:lnTo>
                    <a:pt x="481" y="118"/>
                  </a:lnTo>
                  <a:lnTo>
                    <a:pt x="474" y="107"/>
                  </a:lnTo>
                  <a:lnTo>
                    <a:pt x="466" y="96"/>
                  </a:lnTo>
                  <a:lnTo>
                    <a:pt x="458" y="86"/>
                  </a:lnTo>
                  <a:lnTo>
                    <a:pt x="448" y="76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2" name="Freeform 65"/>
            <p:cNvSpPr>
              <a:spLocks/>
            </p:cNvSpPr>
            <p:nvPr/>
          </p:nvSpPr>
          <p:spPr bwMode="auto">
            <a:xfrm>
              <a:off x="3902075" y="3640138"/>
              <a:ext cx="85725" cy="85725"/>
            </a:xfrm>
            <a:custGeom>
              <a:avLst/>
              <a:gdLst>
                <a:gd name="T0" fmla="*/ 218 w 267"/>
                <a:gd name="T1" fmla="*/ 31 h 268"/>
                <a:gd name="T2" fmla="*/ 195 w 267"/>
                <a:gd name="T3" fmla="*/ 15 h 268"/>
                <a:gd name="T4" fmla="*/ 172 w 267"/>
                <a:gd name="T5" fmla="*/ 6 h 268"/>
                <a:gd name="T6" fmla="*/ 146 w 267"/>
                <a:gd name="T7" fmla="*/ 1 h 268"/>
                <a:gd name="T8" fmla="*/ 121 w 267"/>
                <a:gd name="T9" fmla="*/ 1 h 268"/>
                <a:gd name="T10" fmla="*/ 95 w 267"/>
                <a:gd name="T11" fmla="*/ 6 h 268"/>
                <a:gd name="T12" fmla="*/ 71 w 267"/>
                <a:gd name="T13" fmla="*/ 15 h 268"/>
                <a:gd name="T14" fmla="*/ 49 w 267"/>
                <a:gd name="T15" fmla="*/ 31 h 268"/>
                <a:gd name="T16" fmla="*/ 29 w 267"/>
                <a:gd name="T17" fmla="*/ 49 h 268"/>
                <a:gd name="T18" fmla="*/ 15 w 267"/>
                <a:gd name="T19" fmla="*/ 72 h 268"/>
                <a:gd name="T20" fmla="*/ 6 w 267"/>
                <a:gd name="T21" fmla="*/ 96 h 268"/>
                <a:gd name="T22" fmla="*/ 1 w 267"/>
                <a:gd name="T23" fmla="*/ 121 h 268"/>
                <a:gd name="T24" fmla="*/ 1 w 267"/>
                <a:gd name="T25" fmla="*/ 146 h 268"/>
                <a:gd name="T26" fmla="*/ 6 w 267"/>
                <a:gd name="T27" fmla="*/ 172 h 268"/>
                <a:gd name="T28" fmla="*/ 15 w 267"/>
                <a:gd name="T29" fmla="*/ 197 h 268"/>
                <a:gd name="T30" fmla="*/ 29 w 267"/>
                <a:gd name="T31" fmla="*/ 218 h 268"/>
                <a:gd name="T32" fmla="*/ 49 w 267"/>
                <a:gd name="T33" fmla="*/ 238 h 268"/>
                <a:gd name="T34" fmla="*/ 71 w 267"/>
                <a:gd name="T35" fmla="*/ 252 h 268"/>
                <a:gd name="T36" fmla="*/ 95 w 267"/>
                <a:gd name="T37" fmla="*/ 262 h 268"/>
                <a:gd name="T38" fmla="*/ 121 w 267"/>
                <a:gd name="T39" fmla="*/ 268 h 268"/>
                <a:gd name="T40" fmla="*/ 146 w 267"/>
                <a:gd name="T41" fmla="*/ 268 h 268"/>
                <a:gd name="T42" fmla="*/ 172 w 267"/>
                <a:gd name="T43" fmla="*/ 262 h 268"/>
                <a:gd name="T44" fmla="*/ 195 w 267"/>
                <a:gd name="T45" fmla="*/ 252 h 268"/>
                <a:gd name="T46" fmla="*/ 218 w 267"/>
                <a:gd name="T47" fmla="*/ 238 h 268"/>
                <a:gd name="T48" fmla="*/ 237 w 267"/>
                <a:gd name="T49" fmla="*/ 218 h 268"/>
                <a:gd name="T50" fmla="*/ 252 w 267"/>
                <a:gd name="T51" fmla="*/ 197 h 268"/>
                <a:gd name="T52" fmla="*/ 262 w 267"/>
                <a:gd name="T53" fmla="*/ 172 h 268"/>
                <a:gd name="T54" fmla="*/ 266 w 267"/>
                <a:gd name="T55" fmla="*/ 146 h 268"/>
                <a:gd name="T56" fmla="*/ 266 w 267"/>
                <a:gd name="T57" fmla="*/ 121 h 268"/>
                <a:gd name="T58" fmla="*/ 262 w 267"/>
                <a:gd name="T59" fmla="*/ 96 h 268"/>
                <a:gd name="T60" fmla="*/ 252 w 267"/>
                <a:gd name="T61" fmla="*/ 72 h 268"/>
                <a:gd name="T62" fmla="*/ 237 w 267"/>
                <a:gd name="T63" fmla="*/ 49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7" h="268">
                  <a:moveTo>
                    <a:pt x="228" y="40"/>
                  </a:moveTo>
                  <a:lnTo>
                    <a:pt x="218" y="31"/>
                  </a:lnTo>
                  <a:lnTo>
                    <a:pt x="207" y="22"/>
                  </a:lnTo>
                  <a:lnTo>
                    <a:pt x="195" y="15"/>
                  </a:lnTo>
                  <a:lnTo>
                    <a:pt x="183" y="10"/>
                  </a:lnTo>
                  <a:lnTo>
                    <a:pt x="172" y="6"/>
                  </a:lnTo>
                  <a:lnTo>
                    <a:pt x="158" y="3"/>
                  </a:lnTo>
                  <a:lnTo>
                    <a:pt x="146" y="1"/>
                  </a:lnTo>
                  <a:lnTo>
                    <a:pt x="133" y="0"/>
                  </a:lnTo>
                  <a:lnTo>
                    <a:pt x="121" y="1"/>
                  </a:lnTo>
                  <a:lnTo>
                    <a:pt x="107" y="3"/>
                  </a:lnTo>
                  <a:lnTo>
                    <a:pt x="95" y="6"/>
                  </a:lnTo>
                  <a:lnTo>
                    <a:pt x="83" y="10"/>
                  </a:lnTo>
                  <a:lnTo>
                    <a:pt x="71" y="15"/>
                  </a:lnTo>
                  <a:lnTo>
                    <a:pt x="59" y="22"/>
                  </a:lnTo>
                  <a:lnTo>
                    <a:pt x="49" y="31"/>
                  </a:lnTo>
                  <a:lnTo>
                    <a:pt x="39" y="40"/>
                  </a:lnTo>
                  <a:lnTo>
                    <a:pt x="29" y="49"/>
                  </a:lnTo>
                  <a:lnTo>
                    <a:pt x="21" y="60"/>
                  </a:lnTo>
                  <a:lnTo>
                    <a:pt x="15" y="72"/>
                  </a:lnTo>
                  <a:lnTo>
                    <a:pt x="10" y="84"/>
                  </a:lnTo>
                  <a:lnTo>
                    <a:pt x="6" y="96"/>
                  </a:lnTo>
                  <a:lnTo>
                    <a:pt x="3" y="109"/>
                  </a:lnTo>
                  <a:lnTo>
                    <a:pt x="1" y="121"/>
                  </a:lnTo>
                  <a:lnTo>
                    <a:pt x="0" y="134"/>
                  </a:lnTo>
                  <a:lnTo>
                    <a:pt x="1" y="146"/>
                  </a:lnTo>
                  <a:lnTo>
                    <a:pt x="3" y="160"/>
                  </a:lnTo>
                  <a:lnTo>
                    <a:pt x="6" y="172"/>
                  </a:lnTo>
                  <a:lnTo>
                    <a:pt x="10" y="184"/>
                  </a:lnTo>
                  <a:lnTo>
                    <a:pt x="15" y="197"/>
                  </a:lnTo>
                  <a:lnTo>
                    <a:pt x="21" y="208"/>
                  </a:lnTo>
                  <a:lnTo>
                    <a:pt x="29" y="218"/>
                  </a:lnTo>
                  <a:lnTo>
                    <a:pt x="39" y="229"/>
                  </a:lnTo>
                  <a:lnTo>
                    <a:pt x="49" y="238"/>
                  </a:lnTo>
                  <a:lnTo>
                    <a:pt x="60" y="246"/>
                  </a:lnTo>
                  <a:lnTo>
                    <a:pt x="71" y="252"/>
                  </a:lnTo>
                  <a:lnTo>
                    <a:pt x="83" y="258"/>
                  </a:lnTo>
                  <a:lnTo>
                    <a:pt x="95" y="262"/>
                  </a:lnTo>
                  <a:lnTo>
                    <a:pt x="108" y="265"/>
                  </a:lnTo>
                  <a:lnTo>
                    <a:pt x="121" y="268"/>
                  </a:lnTo>
                  <a:lnTo>
                    <a:pt x="133" y="268"/>
                  </a:lnTo>
                  <a:lnTo>
                    <a:pt x="146" y="268"/>
                  </a:lnTo>
                  <a:lnTo>
                    <a:pt x="158" y="265"/>
                  </a:lnTo>
                  <a:lnTo>
                    <a:pt x="172" y="262"/>
                  </a:lnTo>
                  <a:lnTo>
                    <a:pt x="184" y="258"/>
                  </a:lnTo>
                  <a:lnTo>
                    <a:pt x="195" y="252"/>
                  </a:lnTo>
                  <a:lnTo>
                    <a:pt x="207" y="246"/>
                  </a:lnTo>
                  <a:lnTo>
                    <a:pt x="218" y="238"/>
                  </a:lnTo>
                  <a:lnTo>
                    <a:pt x="228" y="229"/>
                  </a:lnTo>
                  <a:lnTo>
                    <a:pt x="237" y="218"/>
                  </a:lnTo>
                  <a:lnTo>
                    <a:pt x="245" y="208"/>
                  </a:lnTo>
                  <a:lnTo>
                    <a:pt x="252" y="197"/>
                  </a:lnTo>
                  <a:lnTo>
                    <a:pt x="257" y="184"/>
                  </a:lnTo>
                  <a:lnTo>
                    <a:pt x="262" y="172"/>
                  </a:lnTo>
                  <a:lnTo>
                    <a:pt x="265" y="160"/>
                  </a:lnTo>
                  <a:lnTo>
                    <a:pt x="266" y="146"/>
                  </a:lnTo>
                  <a:lnTo>
                    <a:pt x="267" y="134"/>
                  </a:lnTo>
                  <a:lnTo>
                    <a:pt x="266" y="121"/>
                  </a:lnTo>
                  <a:lnTo>
                    <a:pt x="265" y="109"/>
                  </a:lnTo>
                  <a:lnTo>
                    <a:pt x="262" y="96"/>
                  </a:lnTo>
                  <a:lnTo>
                    <a:pt x="257" y="84"/>
                  </a:lnTo>
                  <a:lnTo>
                    <a:pt x="252" y="72"/>
                  </a:lnTo>
                  <a:lnTo>
                    <a:pt x="245" y="60"/>
                  </a:lnTo>
                  <a:lnTo>
                    <a:pt x="237" y="49"/>
                  </a:lnTo>
                  <a:lnTo>
                    <a:pt x="228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reeform 66"/>
            <p:cNvSpPr>
              <a:spLocks noEditPoints="1"/>
            </p:cNvSpPr>
            <p:nvPr/>
          </p:nvSpPr>
          <p:spPr bwMode="auto">
            <a:xfrm>
              <a:off x="3857625" y="3595688"/>
              <a:ext cx="176213" cy="176213"/>
            </a:xfrm>
            <a:custGeom>
              <a:avLst/>
              <a:gdLst>
                <a:gd name="T0" fmla="*/ 243 w 555"/>
                <a:gd name="T1" fmla="*/ 164 h 555"/>
                <a:gd name="T2" fmla="*/ 177 w 555"/>
                <a:gd name="T3" fmla="*/ 213 h 555"/>
                <a:gd name="T4" fmla="*/ 159 w 555"/>
                <a:gd name="T5" fmla="*/ 289 h 555"/>
                <a:gd name="T6" fmla="*/ 194 w 555"/>
                <a:gd name="T7" fmla="*/ 362 h 555"/>
                <a:gd name="T8" fmla="*/ 266 w 555"/>
                <a:gd name="T9" fmla="*/ 396 h 555"/>
                <a:gd name="T10" fmla="*/ 342 w 555"/>
                <a:gd name="T11" fmla="*/ 378 h 555"/>
                <a:gd name="T12" fmla="*/ 392 w 555"/>
                <a:gd name="T13" fmla="*/ 312 h 555"/>
                <a:gd name="T14" fmla="*/ 388 w 555"/>
                <a:gd name="T15" fmla="*/ 233 h 555"/>
                <a:gd name="T16" fmla="*/ 332 w 555"/>
                <a:gd name="T17" fmla="*/ 172 h 555"/>
                <a:gd name="T18" fmla="*/ 264 w 555"/>
                <a:gd name="T19" fmla="*/ 426 h 555"/>
                <a:gd name="T20" fmla="*/ 172 w 555"/>
                <a:gd name="T21" fmla="*/ 384 h 555"/>
                <a:gd name="T22" fmla="*/ 129 w 555"/>
                <a:gd name="T23" fmla="*/ 293 h 555"/>
                <a:gd name="T24" fmla="*/ 153 w 555"/>
                <a:gd name="T25" fmla="*/ 196 h 555"/>
                <a:gd name="T26" fmla="*/ 235 w 555"/>
                <a:gd name="T27" fmla="*/ 136 h 555"/>
                <a:gd name="T28" fmla="*/ 333 w 555"/>
                <a:gd name="T29" fmla="*/ 140 h 555"/>
                <a:gd name="T30" fmla="*/ 409 w 555"/>
                <a:gd name="T31" fmla="*/ 208 h 555"/>
                <a:gd name="T32" fmla="*/ 423 w 555"/>
                <a:gd name="T33" fmla="*/ 307 h 555"/>
                <a:gd name="T34" fmla="*/ 382 w 555"/>
                <a:gd name="T35" fmla="*/ 384 h 555"/>
                <a:gd name="T36" fmla="*/ 292 w 555"/>
                <a:gd name="T37" fmla="*/ 426 h 555"/>
                <a:gd name="T38" fmla="*/ 216 w 555"/>
                <a:gd name="T39" fmla="*/ 38 h 555"/>
                <a:gd name="T40" fmla="*/ 141 w 555"/>
                <a:gd name="T41" fmla="*/ 72 h 555"/>
                <a:gd name="T42" fmla="*/ 78 w 555"/>
                <a:gd name="T43" fmla="*/ 131 h 555"/>
                <a:gd name="T44" fmla="*/ 40 w 555"/>
                <a:gd name="T45" fmla="*/ 207 h 555"/>
                <a:gd name="T46" fmla="*/ 31 w 555"/>
                <a:gd name="T47" fmla="*/ 289 h 555"/>
                <a:gd name="T48" fmla="*/ 48 w 555"/>
                <a:gd name="T49" fmla="*/ 372 h 555"/>
                <a:gd name="T50" fmla="*/ 93 w 555"/>
                <a:gd name="T51" fmla="*/ 444 h 555"/>
                <a:gd name="T52" fmla="*/ 162 w 555"/>
                <a:gd name="T53" fmla="*/ 497 h 555"/>
                <a:gd name="T54" fmla="*/ 242 w 555"/>
                <a:gd name="T55" fmla="*/ 523 h 555"/>
                <a:gd name="T56" fmla="*/ 325 w 555"/>
                <a:gd name="T57" fmla="*/ 521 h 555"/>
                <a:gd name="T58" fmla="*/ 403 w 555"/>
                <a:gd name="T59" fmla="*/ 492 h 555"/>
                <a:gd name="T60" fmla="*/ 469 w 555"/>
                <a:gd name="T61" fmla="*/ 435 h 555"/>
                <a:gd name="T62" fmla="*/ 511 w 555"/>
                <a:gd name="T63" fmla="*/ 361 h 555"/>
                <a:gd name="T64" fmla="*/ 525 w 555"/>
                <a:gd name="T65" fmla="*/ 278 h 555"/>
                <a:gd name="T66" fmla="*/ 511 w 555"/>
                <a:gd name="T67" fmla="*/ 194 h 555"/>
                <a:gd name="T68" fmla="*/ 469 w 555"/>
                <a:gd name="T69" fmla="*/ 121 h 555"/>
                <a:gd name="T70" fmla="*/ 414 w 555"/>
                <a:gd name="T71" fmla="*/ 72 h 555"/>
                <a:gd name="T72" fmla="*/ 337 w 555"/>
                <a:gd name="T73" fmla="*/ 38 h 555"/>
                <a:gd name="T74" fmla="*/ 278 w 555"/>
                <a:gd name="T75" fmla="*/ 555 h 555"/>
                <a:gd name="T76" fmla="*/ 186 w 555"/>
                <a:gd name="T77" fmla="*/ 540 h 555"/>
                <a:gd name="T78" fmla="*/ 103 w 555"/>
                <a:gd name="T79" fmla="*/ 494 h 555"/>
                <a:gd name="T80" fmla="*/ 39 w 555"/>
                <a:gd name="T81" fmla="*/ 419 h 555"/>
                <a:gd name="T82" fmla="*/ 5 w 555"/>
                <a:gd name="T83" fmla="*/ 331 h 555"/>
                <a:gd name="T84" fmla="*/ 3 w 555"/>
                <a:gd name="T85" fmla="*/ 238 h 555"/>
                <a:gd name="T86" fmla="*/ 32 w 555"/>
                <a:gd name="T87" fmla="*/ 149 h 555"/>
                <a:gd name="T88" fmla="*/ 91 w 555"/>
                <a:gd name="T89" fmla="*/ 72 h 555"/>
                <a:gd name="T90" fmla="*/ 171 w 555"/>
                <a:gd name="T91" fmla="*/ 22 h 555"/>
                <a:gd name="T92" fmla="*/ 264 w 555"/>
                <a:gd name="T93" fmla="*/ 1 h 555"/>
                <a:gd name="T94" fmla="*/ 332 w 555"/>
                <a:gd name="T95" fmla="*/ 6 h 555"/>
                <a:gd name="T96" fmla="*/ 419 w 555"/>
                <a:gd name="T97" fmla="*/ 40 h 555"/>
                <a:gd name="T98" fmla="*/ 483 w 555"/>
                <a:gd name="T99" fmla="*/ 91 h 555"/>
                <a:gd name="T100" fmla="*/ 533 w 555"/>
                <a:gd name="T101" fmla="*/ 171 h 555"/>
                <a:gd name="T102" fmla="*/ 554 w 555"/>
                <a:gd name="T103" fmla="*/ 264 h 555"/>
                <a:gd name="T104" fmla="*/ 542 w 555"/>
                <a:gd name="T105" fmla="*/ 359 h 555"/>
                <a:gd name="T106" fmla="*/ 500 w 555"/>
                <a:gd name="T107" fmla="*/ 443 h 555"/>
                <a:gd name="T108" fmla="*/ 431 w 555"/>
                <a:gd name="T109" fmla="*/ 510 h 555"/>
                <a:gd name="T110" fmla="*/ 343 w 555"/>
                <a:gd name="T111" fmla="*/ 548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55" h="555">
                  <a:moveTo>
                    <a:pt x="372" y="373"/>
                  </a:moveTo>
                  <a:lnTo>
                    <a:pt x="372" y="373"/>
                  </a:lnTo>
                  <a:lnTo>
                    <a:pt x="372" y="373"/>
                  </a:lnTo>
                  <a:close/>
                  <a:moveTo>
                    <a:pt x="278" y="159"/>
                  </a:moveTo>
                  <a:lnTo>
                    <a:pt x="267" y="160"/>
                  </a:lnTo>
                  <a:lnTo>
                    <a:pt x="254" y="161"/>
                  </a:lnTo>
                  <a:lnTo>
                    <a:pt x="243" y="164"/>
                  </a:lnTo>
                  <a:lnTo>
                    <a:pt x="233" y="167"/>
                  </a:lnTo>
                  <a:lnTo>
                    <a:pt x="221" y="172"/>
                  </a:lnTo>
                  <a:lnTo>
                    <a:pt x="211" y="179"/>
                  </a:lnTo>
                  <a:lnTo>
                    <a:pt x="202" y="186"/>
                  </a:lnTo>
                  <a:lnTo>
                    <a:pt x="193" y="194"/>
                  </a:lnTo>
                  <a:lnTo>
                    <a:pt x="185" y="203"/>
                  </a:lnTo>
                  <a:lnTo>
                    <a:pt x="177" y="213"/>
                  </a:lnTo>
                  <a:lnTo>
                    <a:pt x="172" y="223"/>
                  </a:lnTo>
                  <a:lnTo>
                    <a:pt x="167" y="233"/>
                  </a:lnTo>
                  <a:lnTo>
                    <a:pt x="163" y="244"/>
                  </a:lnTo>
                  <a:lnTo>
                    <a:pt x="161" y="256"/>
                  </a:lnTo>
                  <a:lnTo>
                    <a:pt x="159" y="267"/>
                  </a:lnTo>
                  <a:lnTo>
                    <a:pt x="159" y="278"/>
                  </a:lnTo>
                  <a:lnTo>
                    <a:pt x="159" y="289"/>
                  </a:lnTo>
                  <a:lnTo>
                    <a:pt x="161" y="301"/>
                  </a:lnTo>
                  <a:lnTo>
                    <a:pt x="163" y="312"/>
                  </a:lnTo>
                  <a:lnTo>
                    <a:pt x="167" y="322"/>
                  </a:lnTo>
                  <a:lnTo>
                    <a:pt x="172" y="334"/>
                  </a:lnTo>
                  <a:lnTo>
                    <a:pt x="178" y="344"/>
                  </a:lnTo>
                  <a:lnTo>
                    <a:pt x="186" y="353"/>
                  </a:lnTo>
                  <a:lnTo>
                    <a:pt x="194" y="362"/>
                  </a:lnTo>
                  <a:lnTo>
                    <a:pt x="202" y="370"/>
                  </a:lnTo>
                  <a:lnTo>
                    <a:pt x="212" y="378"/>
                  </a:lnTo>
                  <a:lnTo>
                    <a:pt x="221" y="383"/>
                  </a:lnTo>
                  <a:lnTo>
                    <a:pt x="233" y="388"/>
                  </a:lnTo>
                  <a:lnTo>
                    <a:pt x="243" y="392"/>
                  </a:lnTo>
                  <a:lnTo>
                    <a:pt x="254" y="395"/>
                  </a:lnTo>
                  <a:lnTo>
                    <a:pt x="266" y="396"/>
                  </a:lnTo>
                  <a:lnTo>
                    <a:pt x="277" y="397"/>
                  </a:lnTo>
                  <a:lnTo>
                    <a:pt x="288" y="396"/>
                  </a:lnTo>
                  <a:lnTo>
                    <a:pt x="300" y="395"/>
                  </a:lnTo>
                  <a:lnTo>
                    <a:pt x="311" y="392"/>
                  </a:lnTo>
                  <a:lnTo>
                    <a:pt x="322" y="388"/>
                  </a:lnTo>
                  <a:lnTo>
                    <a:pt x="332" y="383"/>
                  </a:lnTo>
                  <a:lnTo>
                    <a:pt x="342" y="378"/>
                  </a:lnTo>
                  <a:lnTo>
                    <a:pt x="353" y="370"/>
                  </a:lnTo>
                  <a:lnTo>
                    <a:pt x="361" y="362"/>
                  </a:lnTo>
                  <a:lnTo>
                    <a:pt x="369" y="353"/>
                  </a:lnTo>
                  <a:lnTo>
                    <a:pt x="376" y="344"/>
                  </a:lnTo>
                  <a:lnTo>
                    <a:pt x="382" y="334"/>
                  </a:lnTo>
                  <a:lnTo>
                    <a:pt x="388" y="323"/>
                  </a:lnTo>
                  <a:lnTo>
                    <a:pt x="392" y="312"/>
                  </a:lnTo>
                  <a:lnTo>
                    <a:pt x="394" y="301"/>
                  </a:lnTo>
                  <a:lnTo>
                    <a:pt x="396" y="289"/>
                  </a:lnTo>
                  <a:lnTo>
                    <a:pt x="396" y="278"/>
                  </a:lnTo>
                  <a:lnTo>
                    <a:pt x="396" y="267"/>
                  </a:lnTo>
                  <a:lnTo>
                    <a:pt x="394" y="256"/>
                  </a:lnTo>
                  <a:lnTo>
                    <a:pt x="392" y="244"/>
                  </a:lnTo>
                  <a:lnTo>
                    <a:pt x="388" y="233"/>
                  </a:lnTo>
                  <a:lnTo>
                    <a:pt x="382" y="223"/>
                  </a:lnTo>
                  <a:lnTo>
                    <a:pt x="376" y="213"/>
                  </a:lnTo>
                  <a:lnTo>
                    <a:pt x="369" y="203"/>
                  </a:lnTo>
                  <a:lnTo>
                    <a:pt x="361" y="194"/>
                  </a:lnTo>
                  <a:lnTo>
                    <a:pt x="353" y="186"/>
                  </a:lnTo>
                  <a:lnTo>
                    <a:pt x="342" y="179"/>
                  </a:lnTo>
                  <a:lnTo>
                    <a:pt x="332" y="172"/>
                  </a:lnTo>
                  <a:lnTo>
                    <a:pt x="322" y="168"/>
                  </a:lnTo>
                  <a:lnTo>
                    <a:pt x="312" y="164"/>
                  </a:lnTo>
                  <a:lnTo>
                    <a:pt x="300" y="161"/>
                  </a:lnTo>
                  <a:lnTo>
                    <a:pt x="289" y="160"/>
                  </a:lnTo>
                  <a:lnTo>
                    <a:pt x="278" y="159"/>
                  </a:lnTo>
                  <a:close/>
                  <a:moveTo>
                    <a:pt x="278" y="427"/>
                  </a:moveTo>
                  <a:lnTo>
                    <a:pt x="264" y="426"/>
                  </a:lnTo>
                  <a:lnTo>
                    <a:pt x="249" y="424"/>
                  </a:lnTo>
                  <a:lnTo>
                    <a:pt x="235" y="421"/>
                  </a:lnTo>
                  <a:lnTo>
                    <a:pt x="221" y="416"/>
                  </a:lnTo>
                  <a:lnTo>
                    <a:pt x="208" y="409"/>
                  </a:lnTo>
                  <a:lnTo>
                    <a:pt x="196" y="402"/>
                  </a:lnTo>
                  <a:lnTo>
                    <a:pt x="184" y="393"/>
                  </a:lnTo>
                  <a:lnTo>
                    <a:pt x="172" y="384"/>
                  </a:lnTo>
                  <a:lnTo>
                    <a:pt x="162" y="372"/>
                  </a:lnTo>
                  <a:lnTo>
                    <a:pt x="153" y="360"/>
                  </a:lnTo>
                  <a:lnTo>
                    <a:pt x="146" y="347"/>
                  </a:lnTo>
                  <a:lnTo>
                    <a:pt x="139" y="334"/>
                  </a:lnTo>
                  <a:lnTo>
                    <a:pt x="135" y="320"/>
                  </a:lnTo>
                  <a:lnTo>
                    <a:pt x="131" y="307"/>
                  </a:lnTo>
                  <a:lnTo>
                    <a:pt x="129" y="293"/>
                  </a:lnTo>
                  <a:lnTo>
                    <a:pt x="129" y="278"/>
                  </a:lnTo>
                  <a:lnTo>
                    <a:pt x="129" y="264"/>
                  </a:lnTo>
                  <a:lnTo>
                    <a:pt x="131" y="249"/>
                  </a:lnTo>
                  <a:lnTo>
                    <a:pt x="135" y="235"/>
                  </a:lnTo>
                  <a:lnTo>
                    <a:pt x="139" y="222"/>
                  </a:lnTo>
                  <a:lnTo>
                    <a:pt x="146" y="208"/>
                  </a:lnTo>
                  <a:lnTo>
                    <a:pt x="153" y="196"/>
                  </a:lnTo>
                  <a:lnTo>
                    <a:pt x="162" y="184"/>
                  </a:lnTo>
                  <a:lnTo>
                    <a:pt x="172" y="172"/>
                  </a:lnTo>
                  <a:lnTo>
                    <a:pt x="184" y="162"/>
                  </a:lnTo>
                  <a:lnTo>
                    <a:pt x="196" y="154"/>
                  </a:lnTo>
                  <a:lnTo>
                    <a:pt x="208" y="146"/>
                  </a:lnTo>
                  <a:lnTo>
                    <a:pt x="221" y="140"/>
                  </a:lnTo>
                  <a:lnTo>
                    <a:pt x="235" y="136"/>
                  </a:lnTo>
                  <a:lnTo>
                    <a:pt x="249" y="131"/>
                  </a:lnTo>
                  <a:lnTo>
                    <a:pt x="264" y="129"/>
                  </a:lnTo>
                  <a:lnTo>
                    <a:pt x="278" y="129"/>
                  </a:lnTo>
                  <a:lnTo>
                    <a:pt x="291" y="129"/>
                  </a:lnTo>
                  <a:lnTo>
                    <a:pt x="306" y="131"/>
                  </a:lnTo>
                  <a:lnTo>
                    <a:pt x="320" y="136"/>
                  </a:lnTo>
                  <a:lnTo>
                    <a:pt x="333" y="140"/>
                  </a:lnTo>
                  <a:lnTo>
                    <a:pt x="347" y="146"/>
                  </a:lnTo>
                  <a:lnTo>
                    <a:pt x="359" y="154"/>
                  </a:lnTo>
                  <a:lnTo>
                    <a:pt x="371" y="162"/>
                  </a:lnTo>
                  <a:lnTo>
                    <a:pt x="382" y="172"/>
                  </a:lnTo>
                  <a:lnTo>
                    <a:pt x="393" y="184"/>
                  </a:lnTo>
                  <a:lnTo>
                    <a:pt x="402" y="196"/>
                  </a:lnTo>
                  <a:lnTo>
                    <a:pt x="409" y="208"/>
                  </a:lnTo>
                  <a:lnTo>
                    <a:pt x="415" y="222"/>
                  </a:lnTo>
                  <a:lnTo>
                    <a:pt x="420" y="236"/>
                  </a:lnTo>
                  <a:lnTo>
                    <a:pt x="423" y="249"/>
                  </a:lnTo>
                  <a:lnTo>
                    <a:pt x="425" y="264"/>
                  </a:lnTo>
                  <a:lnTo>
                    <a:pt x="425" y="278"/>
                  </a:lnTo>
                  <a:lnTo>
                    <a:pt x="425" y="293"/>
                  </a:lnTo>
                  <a:lnTo>
                    <a:pt x="423" y="307"/>
                  </a:lnTo>
                  <a:lnTo>
                    <a:pt x="420" y="320"/>
                  </a:lnTo>
                  <a:lnTo>
                    <a:pt x="415" y="335"/>
                  </a:lnTo>
                  <a:lnTo>
                    <a:pt x="409" y="347"/>
                  </a:lnTo>
                  <a:lnTo>
                    <a:pt x="402" y="360"/>
                  </a:lnTo>
                  <a:lnTo>
                    <a:pt x="393" y="373"/>
                  </a:lnTo>
                  <a:lnTo>
                    <a:pt x="382" y="384"/>
                  </a:lnTo>
                  <a:lnTo>
                    <a:pt x="382" y="384"/>
                  </a:lnTo>
                  <a:lnTo>
                    <a:pt x="371" y="393"/>
                  </a:lnTo>
                  <a:lnTo>
                    <a:pt x="359" y="402"/>
                  </a:lnTo>
                  <a:lnTo>
                    <a:pt x="347" y="409"/>
                  </a:lnTo>
                  <a:lnTo>
                    <a:pt x="333" y="416"/>
                  </a:lnTo>
                  <a:lnTo>
                    <a:pt x="320" y="421"/>
                  </a:lnTo>
                  <a:lnTo>
                    <a:pt x="306" y="424"/>
                  </a:lnTo>
                  <a:lnTo>
                    <a:pt x="292" y="426"/>
                  </a:lnTo>
                  <a:lnTo>
                    <a:pt x="278" y="427"/>
                  </a:lnTo>
                  <a:close/>
                  <a:moveTo>
                    <a:pt x="277" y="31"/>
                  </a:moveTo>
                  <a:lnTo>
                    <a:pt x="265" y="31"/>
                  </a:lnTo>
                  <a:lnTo>
                    <a:pt x="252" y="32"/>
                  </a:lnTo>
                  <a:lnTo>
                    <a:pt x="240" y="33"/>
                  </a:lnTo>
                  <a:lnTo>
                    <a:pt x="229" y="35"/>
                  </a:lnTo>
                  <a:lnTo>
                    <a:pt x="216" y="38"/>
                  </a:lnTo>
                  <a:lnTo>
                    <a:pt x="205" y="41"/>
                  </a:lnTo>
                  <a:lnTo>
                    <a:pt x="194" y="45"/>
                  </a:lnTo>
                  <a:lnTo>
                    <a:pt x="183" y="49"/>
                  </a:lnTo>
                  <a:lnTo>
                    <a:pt x="171" y="55"/>
                  </a:lnTo>
                  <a:lnTo>
                    <a:pt x="161" y="60"/>
                  </a:lnTo>
                  <a:lnTo>
                    <a:pt x="150" y="66"/>
                  </a:lnTo>
                  <a:lnTo>
                    <a:pt x="141" y="72"/>
                  </a:lnTo>
                  <a:lnTo>
                    <a:pt x="130" y="79"/>
                  </a:lnTo>
                  <a:lnTo>
                    <a:pt x="121" y="86"/>
                  </a:lnTo>
                  <a:lnTo>
                    <a:pt x="112" y="95"/>
                  </a:lnTo>
                  <a:lnTo>
                    <a:pt x="103" y="103"/>
                  </a:lnTo>
                  <a:lnTo>
                    <a:pt x="93" y="112"/>
                  </a:lnTo>
                  <a:lnTo>
                    <a:pt x="85" y="122"/>
                  </a:lnTo>
                  <a:lnTo>
                    <a:pt x="78" y="131"/>
                  </a:lnTo>
                  <a:lnTo>
                    <a:pt x="71" y="142"/>
                  </a:lnTo>
                  <a:lnTo>
                    <a:pt x="65" y="152"/>
                  </a:lnTo>
                  <a:lnTo>
                    <a:pt x="59" y="163"/>
                  </a:lnTo>
                  <a:lnTo>
                    <a:pt x="53" y="174"/>
                  </a:lnTo>
                  <a:lnTo>
                    <a:pt x="48" y="185"/>
                  </a:lnTo>
                  <a:lnTo>
                    <a:pt x="44" y="196"/>
                  </a:lnTo>
                  <a:lnTo>
                    <a:pt x="40" y="207"/>
                  </a:lnTo>
                  <a:lnTo>
                    <a:pt x="37" y="219"/>
                  </a:lnTo>
                  <a:lnTo>
                    <a:pt x="35" y="231"/>
                  </a:lnTo>
                  <a:lnTo>
                    <a:pt x="33" y="242"/>
                  </a:lnTo>
                  <a:lnTo>
                    <a:pt x="31" y="255"/>
                  </a:lnTo>
                  <a:lnTo>
                    <a:pt x="31" y="266"/>
                  </a:lnTo>
                  <a:lnTo>
                    <a:pt x="30" y="278"/>
                  </a:lnTo>
                  <a:lnTo>
                    <a:pt x="31" y="289"/>
                  </a:lnTo>
                  <a:lnTo>
                    <a:pt x="31" y="302"/>
                  </a:lnTo>
                  <a:lnTo>
                    <a:pt x="33" y="313"/>
                  </a:lnTo>
                  <a:lnTo>
                    <a:pt x="35" y="325"/>
                  </a:lnTo>
                  <a:lnTo>
                    <a:pt x="37" y="337"/>
                  </a:lnTo>
                  <a:lnTo>
                    <a:pt x="40" y="349"/>
                  </a:lnTo>
                  <a:lnTo>
                    <a:pt x="44" y="360"/>
                  </a:lnTo>
                  <a:lnTo>
                    <a:pt x="48" y="372"/>
                  </a:lnTo>
                  <a:lnTo>
                    <a:pt x="53" y="383"/>
                  </a:lnTo>
                  <a:lnTo>
                    <a:pt x="59" y="393"/>
                  </a:lnTo>
                  <a:lnTo>
                    <a:pt x="65" y="404"/>
                  </a:lnTo>
                  <a:lnTo>
                    <a:pt x="71" y="415"/>
                  </a:lnTo>
                  <a:lnTo>
                    <a:pt x="78" y="425"/>
                  </a:lnTo>
                  <a:lnTo>
                    <a:pt x="85" y="434"/>
                  </a:lnTo>
                  <a:lnTo>
                    <a:pt x="93" y="444"/>
                  </a:lnTo>
                  <a:lnTo>
                    <a:pt x="103" y="454"/>
                  </a:lnTo>
                  <a:lnTo>
                    <a:pt x="112" y="462"/>
                  </a:lnTo>
                  <a:lnTo>
                    <a:pt x="121" y="470"/>
                  </a:lnTo>
                  <a:lnTo>
                    <a:pt x="131" y="477"/>
                  </a:lnTo>
                  <a:lnTo>
                    <a:pt x="142" y="484"/>
                  </a:lnTo>
                  <a:lnTo>
                    <a:pt x="152" y="492"/>
                  </a:lnTo>
                  <a:lnTo>
                    <a:pt x="162" y="497"/>
                  </a:lnTo>
                  <a:lnTo>
                    <a:pt x="173" y="503"/>
                  </a:lnTo>
                  <a:lnTo>
                    <a:pt x="185" y="507"/>
                  </a:lnTo>
                  <a:lnTo>
                    <a:pt x="196" y="512"/>
                  </a:lnTo>
                  <a:lnTo>
                    <a:pt x="207" y="515"/>
                  </a:lnTo>
                  <a:lnTo>
                    <a:pt x="218" y="518"/>
                  </a:lnTo>
                  <a:lnTo>
                    <a:pt x="230" y="521"/>
                  </a:lnTo>
                  <a:lnTo>
                    <a:pt x="242" y="523"/>
                  </a:lnTo>
                  <a:lnTo>
                    <a:pt x="253" y="524"/>
                  </a:lnTo>
                  <a:lnTo>
                    <a:pt x="266" y="525"/>
                  </a:lnTo>
                  <a:lnTo>
                    <a:pt x="278" y="525"/>
                  </a:lnTo>
                  <a:lnTo>
                    <a:pt x="289" y="525"/>
                  </a:lnTo>
                  <a:lnTo>
                    <a:pt x="301" y="524"/>
                  </a:lnTo>
                  <a:lnTo>
                    <a:pt x="313" y="523"/>
                  </a:lnTo>
                  <a:lnTo>
                    <a:pt x="325" y="521"/>
                  </a:lnTo>
                  <a:lnTo>
                    <a:pt x="336" y="518"/>
                  </a:lnTo>
                  <a:lnTo>
                    <a:pt x="348" y="515"/>
                  </a:lnTo>
                  <a:lnTo>
                    <a:pt x="359" y="512"/>
                  </a:lnTo>
                  <a:lnTo>
                    <a:pt x="370" y="507"/>
                  </a:lnTo>
                  <a:lnTo>
                    <a:pt x="381" y="503"/>
                  </a:lnTo>
                  <a:lnTo>
                    <a:pt x="393" y="498"/>
                  </a:lnTo>
                  <a:lnTo>
                    <a:pt x="403" y="492"/>
                  </a:lnTo>
                  <a:lnTo>
                    <a:pt x="413" y="484"/>
                  </a:lnTo>
                  <a:lnTo>
                    <a:pt x="423" y="478"/>
                  </a:lnTo>
                  <a:lnTo>
                    <a:pt x="434" y="470"/>
                  </a:lnTo>
                  <a:lnTo>
                    <a:pt x="443" y="462"/>
                  </a:lnTo>
                  <a:lnTo>
                    <a:pt x="452" y="454"/>
                  </a:lnTo>
                  <a:lnTo>
                    <a:pt x="460" y="444"/>
                  </a:lnTo>
                  <a:lnTo>
                    <a:pt x="469" y="435"/>
                  </a:lnTo>
                  <a:lnTo>
                    <a:pt x="477" y="426"/>
                  </a:lnTo>
                  <a:lnTo>
                    <a:pt x="483" y="416"/>
                  </a:lnTo>
                  <a:lnTo>
                    <a:pt x="490" y="405"/>
                  </a:lnTo>
                  <a:lnTo>
                    <a:pt x="496" y="395"/>
                  </a:lnTo>
                  <a:lnTo>
                    <a:pt x="501" y="384"/>
                  </a:lnTo>
                  <a:lnTo>
                    <a:pt x="506" y="373"/>
                  </a:lnTo>
                  <a:lnTo>
                    <a:pt x="511" y="361"/>
                  </a:lnTo>
                  <a:lnTo>
                    <a:pt x="514" y="350"/>
                  </a:lnTo>
                  <a:lnTo>
                    <a:pt x="518" y="339"/>
                  </a:lnTo>
                  <a:lnTo>
                    <a:pt x="520" y="326"/>
                  </a:lnTo>
                  <a:lnTo>
                    <a:pt x="522" y="315"/>
                  </a:lnTo>
                  <a:lnTo>
                    <a:pt x="524" y="303"/>
                  </a:lnTo>
                  <a:lnTo>
                    <a:pt x="524" y="290"/>
                  </a:lnTo>
                  <a:lnTo>
                    <a:pt x="525" y="278"/>
                  </a:lnTo>
                  <a:lnTo>
                    <a:pt x="524" y="266"/>
                  </a:lnTo>
                  <a:lnTo>
                    <a:pt x="524" y="254"/>
                  </a:lnTo>
                  <a:lnTo>
                    <a:pt x="522" y="241"/>
                  </a:lnTo>
                  <a:lnTo>
                    <a:pt x="520" y="229"/>
                  </a:lnTo>
                  <a:lnTo>
                    <a:pt x="518" y="218"/>
                  </a:lnTo>
                  <a:lnTo>
                    <a:pt x="514" y="206"/>
                  </a:lnTo>
                  <a:lnTo>
                    <a:pt x="511" y="194"/>
                  </a:lnTo>
                  <a:lnTo>
                    <a:pt x="506" y="183"/>
                  </a:lnTo>
                  <a:lnTo>
                    <a:pt x="501" y="172"/>
                  </a:lnTo>
                  <a:lnTo>
                    <a:pt x="496" y="161"/>
                  </a:lnTo>
                  <a:lnTo>
                    <a:pt x="490" y="151"/>
                  </a:lnTo>
                  <a:lnTo>
                    <a:pt x="483" y="141"/>
                  </a:lnTo>
                  <a:lnTo>
                    <a:pt x="477" y="130"/>
                  </a:lnTo>
                  <a:lnTo>
                    <a:pt x="469" y="121"/>
                  </a:lnTo>
                  <a:lnTo>
                    <a:pt x="460" y="112"/>
                  </a:lnTo>
                  <a:lnTo>
                    <a:pt x="452" y="103"/>
                  </a:lnTo>
                  <a:lnTo>
                    <a:pt x="452" y="103"/>
                  </a:lnTo>
                  <a:lnTo>
                    <a:pt x="443" y="95"/>
                  </a:lnTo>
                  <a:lnTo>
                    <a:pt x="434" y="86"/>
                  </a:lnTo>
                  <a:lnTo>
                    <a:pt x="424" y="79"/>
                  </a:lnTo>
                  <a:lnTo>
                    <a:pt x="414" y="72"/>
                  </a:lnTo>
                  <a:lnTo>
                    <a:pt x="404" y="66"/>
                  </a:lnTo>
                  <a:lnTo>
                    <a:pt x="394" y="60"/>
                  </a:lnTo>
                  <a:lnTo>
                    <a:pt x="383" y="55"/>
                  </a:lnTo>
                  <a:lnTo>
                    <a:pt x="372" y="49"/>
                  </a:lnTo>
                  <a:lnTo>
                    <a:pt x="361" y="45"/>
                  </a:lnTo>
                  <a:lnTo>
                    <a:pt x="350" y="41"/>
                  </a:lnTo>
                  <a:lnTo>
                    <a:pt x="337" y="38"/>
                  </a:lnTo>
                  <a:lnTo>
                    <a:pt x="326" y="35"/>
                  </a:lnTo>
                  <a:lnTo>
                    <a:pt x="314" y="33"/>
                  </a:lnTo>
                  <a:lnTo>
                    <a:pt x="302" y="32"/>
                  </a:lnTo>
                  <a:lnTo>
                    <a:pt x="290" y="31"/>
                  </a:lnTo>
                  <a:lnTo>
                    <a:pt x="278" y="31"/>
                  </a:lnTo>
                  <a:lnTo>
                    <a:pt x="277" y="31"/>
                  </a:lnTo>
                  <a:close/>
                  <a:moveTo>
                    <a:pt x="278" y="555"/>
                  </a:moveTo>
                  <a:lnTo>
                    <a:pt x="265" y="555"/>
                  </a:lnTo>
                  <a:lnTo>
                    <a:pt x="251" y="554"/>
                  </a:lnTo>
                  <a:lnTo>
                    <a:pt x="238" y="552"/>
                  </a:lnTo>
                  <a:lnTo>
                    <a:pt x="225" y="550"/>
                  </a:lnTo>
                  <a:lnTo>
                    <a:pt x="211" y="548"/>
                  </a:lnTo>
                  <a:lnTo>
                    <a:pt x="198" y="544"/>
                  </a:lnTo>
                  <a:lnTo>
                    <a:pt x="186" y="540"/>
                  </a:lnTo>
                  <a:lnTo>
                    <a:pt x="173" y="536"/>
                  </a:lnTo>
                  <a:lnTo>
                    <a:pt x="161" y="529"/>
                  </a:lnTo>
                  <a:lnTo>
                    <a:pt x="149" y="523"/>
                  </a:lnTo>
                  <a:lnTo>
                    <a:pt x="136" y="517"/>
                  </a:lnTo>
                  <a:lnTo>
                    <a:pt x="125" y="510"/>
                  </a:lnTo>
                  <a:lnTo>
                    <a:pt x="114" y="502"/>
                  </a:lnTo>
                  <a:lnTo>
                    <a:pt x="103" y="494"/>
                  </a:lnTo>
                  <a:lnTo>
                    <a:pt x="91" y="484"/>
                  </a:lnTo>
                  <a:lnTo>
                    <a:pt x="81" y="474"/>
                  </a:lnTo>
                  <a:lnTo>
                    <a:pt x="72" y="464"/>
                  </a:lnTo>
                  <a:lnTo>
                    <a:pt x="63" y="454"/>
                  </a:lnTo>
                  <a:lnTo>
                    <a:pt x="53" y="442"/>
                  </a:lnTo>
                  <a:lnTo>
                    <a:pt x="46" y="431"/>
                  </a:lnTo>
                  <a:lnTo>
                    <a:pt x="39" y="419"/>
                  </a:lnTo>
                  <a:lnTo>
                    <a:pt x="32" y="407"/>
                  </a:lnTo>
                  <a:lnTo>
                    <a:pt x="26" y="395"/>
                  </a:lnTo>
                  <a:lnTo>
                    <a:pt x="21" y="383"/>
                  </a:lnTo>
                  <a:lnTo>
                    <a:pt x="15" y="369"/>
                  </a:lnTo>
                  <a:lnTo>
                    <a:pt x="11" y="357"/>
                  </a:lnTo>
                  <a:lnTo>
                    <a:pt x="8" y="344"/>
                  </a:lnTo>
                  <a:lnTo>
                    <a:pt x="5" y="331"/>
                  </a:lnTo>
                  <a:lnTo>
                    <a:pt x="3" y="318"/>
                  </a:lnTo>
                  <a:lnTo>
                    <a:pt x="1" y="305"/>
                  </a:lnTo>
                  <a:lnTo>
                    <a:pt x="1" y="291"/>
                  </a:lnTo>
                  <a:lnTo>
                    <a:pt x="0" y="278"/>
                  </a:lnTo>
                  <a:lnTo>
                    <a:pt x="1" y="265"/>
                  </a:lnTo>
                  <a:lnTo>
                    <a:pt x="1" y="251"/>
                  </a:lnTo>
                  <a:lnTo>
                    <a:pt x="3" y="238"/>
                  </a:lnTo>
                  <a:lnTo>
                    <a:pt x="5" y="225"/>
                  </a:lnTo>
                  <a:lnTo>
                    <a:pt x="8" y="211"/>
                  </a:lnTo>
                  <a:lnTo>
                    <a:pt x="11" y="199"/>
                  </a:lnTo>
                  <a:lnTo>
                    <a:pt x="15" y="186"/>
                  </a:lnTo>
                  <a:lnTo>
                    <a:pt x="21" y="174"/>
                  </a:lnTo>
                  <a:lnTo>
                    <a:pt x="26" y="161"/>
                  </a:lnTo>
                  <a:lnTo>
                    <a:pt x="32" y="149"/>
                  </a:lnTo>
                  <a:lnTo>
                    <a:pt x="39" y="137"/>
                  </a:lnTo>
                  <a:lnTo>
                    <a:pt x="46" y="125"/>
                  </a:lnTo>
                  <a:lnTo>
                    <a:pt x="53" y="114"/>
                  </a:lnTo>
                  <a:lnTo>
                    <a:pt x="63" y="103"/>
                  </a:lnTo>
                  <a:lnTo>
                    <a:pt x="72" y="92"/>
                  </a:lnTo>
                  <a:lnTo>
                    <a:pt x="81" y="82"/>
                  </a:lnTo>
                  <a:lnTo>
                    <a:pt x="91" y="72"/>
                  </a:lnTo>
                  <a:lnTo>
                    <a:pt x="102" y="63"/>
                  </a:lnTo>
                  <a:lnTo>
                    <a:pt x="113" y="55"/>
                  </a:lnTo>
                  <a:lnTo>
                    <a:pt x="124" y="47"/>
                  </a:lnTo>
                  <a:lnTo>
                    <a:pt x="135" y="40"/>
                  </a:lnTo>
                  <a:lnTo>
                    <a:pt x="147" y="33"/>
                  </a:lnTo>
                  <a:lnTo>
                    <a:pt x="159" y="27"/>
                  </a:lnTo>
                  <a:lnTo>
                    <a:pt x="171" y="22"/>
                  </a:lnTo>
                  <a:lnTo>
                    <a:pt x="184" y="17"/>
                  </a:lnTo>
                  <a:lnTo>
                    <a:pt x="197" y="12"/>
                  </a:lnTo>
                  <a:lnTo>
                    <a:pt x="209" y="8"/>
                  </a:lnTo>
                  <a:lnTo>
                    <a:pt x="223" y="6"/>
                  </a:lnTo>
                  <a:lnTo>
                    <a:pt x="236" y="3"/>
                  </a:lnTo>
                  <a:lnTo>
                    <a:pt x="249" y="2"/>
                  </a:lnTo>
                  <a:lnTo>
                    <a:pt x="264" y="1"/>
                  </a:lnTo>
                  <a:lnTo>
                    <a:pt x="277" y="0"/>
                  </a:lnTo>
                  <a:lnTo>
                    <a:pt x="278" y="0"/>
                  </a:lnTo>
                  <a:lnTo>
                    <a:pt x="278" y="0"/>
                  </a:lnTo>
                  <a:lnTo>
                    <a:pt x="291" y="1"/>
                  </a:lnTo>
                  <a:lnTo>
                    <a:pt x="306" y="2"/>
                  </a:lnTo>
                  <a:lnTo>
                    <a:pt x="319" y="3"/>
                  </a:lnTo>
                  <a:lnTo>
                    <a:pt x="332" y="6"/>
                  </a:lnTo>
                  <a:lnTo>
                    <a:pt x="346" y="8"/>
                  </a:lnTo>
                  <a:lnTo>
                    <a:pt x="358" y="12"/>
                  </a:lnTo>
                  <a:lnTo>
                    <a:pt x="371" y="17"/>
                  </a:lnTo>
                  <a:lnTo>
                    <a:pt x="383" y="22"/>
                  </a:lnTo>
                  <a:lnTo>
                    <a:pt x="396" y="27"/>
                  </a:lnTo>
                  <a:lnTo>
                    <a:pt x="408" y="33"/>
                  </a:lnTo>
                  <a:lnTo>
                    <a:pt x="419" y="40"/>
                  </a:lnTo>
                  <a:lnTo>
                    <a:pt x="432" y="47"/>
                  </a:lnTo>
                  <a:lnTo>
                    <a:pt x="442" y="55"/>
                  </a:lnTo>
                  <a:lnTo>
                    <a:pt x="453" y="64"/>
                  </a:lnTo>
                  <a:lnTo>
                    <a:pt x="463" y="72"/>
                  </a:lnTo>
                  <a:lnTo>
                    <a:pt x="474" y="82"/>
                  </a:lnTo>
                  <a:lnTo>
                    <a:pt x="474" y="82"/>
                  </a:lnTo>
                  <a:lnTo>
                    <a:pt x="483" y="91"/>
                  </a:lnTo>
                  <a:lnTo>
                    <a:pt x="492" y="102"/>
                  </a:lnTo>
                  <a:lnTo>
                    <a:pt x="500" y="113"/>
                  </a:lnTo>
                  <a:lnTo>
                    <a:pt x="508" y="124"/>
                  </a:lnTo>
                  <a:lnTo>
                    <a:pt x="516" y="136"/>
                  </a:lnTo>
                  <a:lnTo>
                    <a:pt x="522" y="147"/>
                  </a:lnTo>
                  <a:lnTo>
                    <a:pt x="528" y="159"/>
                  </a:lnTo>
                  <a:lnTo>
                    <a:pt x="533" y="171"/>
                  </a:lnTo>
                  <a:lnTo>
                    <a:pt x="538" y="185"/>
                  </a:lnTo>
                  <a:lnTo>
                    <a:pt x="542" y="197"/>
                  </a:lnTo>
                  <a:lnTo>
                    <a:pt x="546" y="210"/>
                  </a:lnTo>
                  <a:lnTo>
                    <a:pt x="549" y="224"/>
                  </a:lnTo>
                  <a:lnTo>
                    <a:pt x="552" y="237"/>
                  </a:lnTo>
                  <a:lnTo>
                    <a:pt x="554" y="250"/>
                  </a:lnTo>
                  <a:lnTo>
                    <a:pt x="554" y="264"/>
                  </a:lnTo>
                  <a:lnTo>
                    <a:pt x="555" y="278"/>
                  </a:lnTo>
                  <a:lnTo>
                    <a:pt x="554" y="291"/>
                  </a:lnTo>
                  <a:lnTo>
                    <a:pt x="554" y="306"/>
                  </a:lnTo>
                  <a:lnTo>
                    <a:pt x="552" y="319"/>
                  </a:lnTo>
                  <a:lnTo>
                    <a:pt x="549" y="333"/>
                  </a:lnTo>
                  <a:lnTo>
                    <a:pt x="546" y="346"/>
                  </a:lnTo>
                  <a:lnTo>
                    <a:pt x="542" y="359"/>
                  </a:lnTo>
                  <a:lnTo>
                    <a:pt x="538" y="372"/>
                  </a:lnTo>
                  <a:lnTo>
                    <a:pt x="533" y="385"/>
                  </a:lnTo>
                  <a:lnTo>
                    <a:pt x="528" y="397"/>
                  </a:lnTo>
                  <a:lnTo>
                    <a:pt x="522" y="408"/>
                  </a:lnTo>
                  <a:lnTo>
                    <a:pt x="516" y="421"/>
                  </a:lnTo>
                  <a:lnTo>
                    <a:pt x="508" y="432"/>
                  </a:lnTo>
                  <a:lnTo>
                    <a:pt x="500" y="443"/>
                  </a:lnTo>
                  <a:lnTo>
                    <a:pt x="492" y="454"/>
                  </a:lnTo>
                  <a:lnTo>
                    <a:pt x="483" y="465"/>
                  </a:lnTo>
                  <a:lnTo>
                    <a:pt x="474" y="474"/>
                  </a:lnTo>
                  <a:lnTo>
                    <a:pt x="463" y="484"/>
                  </a:lnTo>
                  <a:lnTo>
                    <a:pt x="452" y="494"/>
                  </a:lnTo>
                  <a:lnTo>
                    <a:pt x="442" y="502"/>
                  </a:lnTo>
                  <a:lnTo>
                    <a:pt x="431" y="510"/>
                  </a:lnTo>
                  <a:lnTo>
                    <a:pt x="418" y="517"/>
                  </a:lnTo>
                  <a:lnTo>
                    <a:pt x="407" y="523"/>
                  </a:lnTo>
                  <a:lnTo>
                    <a:pt x="395" y="529"/>
                  </a:lnTo>
                  <a:lnTo>
                    <a:pt x="382" y="536"/>
                  </a:lnTo>
                  <a:lnTo>
                    <a:pt x="369" y="540"/>
                  </a:lnTo>
                  <a:lnTo>
                    <a:pt x="357" y="544"/>
                  </a:lnTo>
                  <a:lnTo>
                    <a:pt x="343" y="548"/>
                  </a:lnTo>
                  <a:lnTo>
                    <a:pt x="330" y="550"/>
                  </a:lnTo>
                  <a:lnTo>
                    <a:pt x="318" y="552"/>
                  </a:lnTo>
                  <a:lnTo>
                    <a:pt x="305" y="554"/>
                  </a:lnTo>
                  <a:lnTo>
                    <a:pt x="291" y="555"/>
                  </a:lnTo>
                  <a:lnTo>
                    <a:pt x="278" y="555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reeform 67"/>
            <p:cNvSpPr>
              <a:spLocks noEditPoints="1"/>
            </p:cNvSpPr>
            <p:nvPr/>
          </p:nvSpPr>
          <p:spPr bwMode="auto">
            <a:xfrm>
              <a:off x="3554413" y="3402013"/>
              <a:ext cx="628650" cy="454025"/>
            </a:xfrm>
            <a:custGeom>
              <a:avLst/>
              <a:gdLst>
                <a:gd name="T0" fmla="*/ 1930 w 1979"/>
                <a:gd name="T1" fmla="*/ 293 h 1430"/>
                <a:gd name="T2" fmla="*/ 1240 w 1979"/>
                <a:gd name="T3" fmla="*/ 894 h 1430"/>
                <a:gd name="T4" fmla="*/ 1588 w 1979"/>
                <a:gd name="T5" fmla="*/ 762 h 1430"/>
                <a:gd name="T6" fmla="*/ 1603 w 1979"/>
                <a:gd name="T7" fmla="*/ 941 h 1430"/>
                <a:gd name="T8" fmla="*/ 1533 w 1979"/>
                <a:gd name="T9" fmla="*/ 1109 h 1430"/>
                <a:gd name="T10" fmla="*/ 1389 w 1979"/>
                <a:gd name="T11" fmla="*/ 1228 h 1430"/>
                <a:gd name="T12" fmla="*/ 1211 w 1979"/>
                <a:gd name="T13" fmla="*/ 1262 h 1430"/>
                <a:gd name="T14" fmla="*/ 1037 w 1979"/>
                <a:gd name="T15" fmla="*/ 1210 h 1430"/>
                <a:gd name="T16" fmla="*/ 904 w 1979"/>
                <a:gd name="T17" fmla="*/ 1076 h 1430"/>
                <a:gd name="T18" fmla="*/ 852 w 1979"/>
                <a:gd name="T19" fmla="*/ 903 h 1430"/>
                <a:gd name="T20" fmla="*/ 886 w 1979"/>
                <a:gd name="T21" fmla="*/ 724 h 1430"/>
                <a:gd name="T22" fmla="*/ 1004 w 1979"/>
                <a:gd name="T23" fmla="*/ 579 h 1430"/>
                <a:gd name="T24" fmla="*/ 1173 w 1979"/>
                <a:gd name="T25" fmla="*/ 510 h 1430"/>
                <a:gd name="T26" fmla="*/ 1333 w 1979"/>
                <a:gd name="T27" fmla="*/ 520 h 1430"/>
                <a:gd name="T28" fmla="*/ 1485 w 1979"/>
                <a:gd name="T29" fmla="*/ 605 h 1430"/>
                <a:gd name="T30" fmla="*/ 1745 w 1979"/>
                <a:gd name="T31" fmla="*/ 884 h 1430"/>
                <a:gd name="T32" fmla="*/ 1685 w 1979"/>
                <a:gd name="T33" fmla="*/ 1127 h 1430"/>
                <a:gd name="T34" fmla="*/ 1514 w 1979"/>
                <a:gd name="T35" fmla="*/ 1315 h 1430"/>
                <a:gd name="T36" fmla="*/ 1279 w 1979"/>
                <a:gd name="T37" fmla="*/ 1398 h 1430"/>
                <a:gd name="T38" fmla="*/ 1035 w 1979"/>
                <a:gd name="T39" fmla="*/ 1362 h 1430"/>
                <a:gd name="T40" fmla="*/ 830 w 1979"/>
                <a:gd name="T41" fmla="*/ 1211 h 1430"/>
                <a:gd name="T42" fmla="*/ 724 w 1979"/>
                <a:gd name="T43" fmla="*/ 986 h 1430"/>
                <a:gd name="T44" fmla="*/ 736 w 1979"/>
                <a:gd name="T45" fmla="*/ 733 h 1430"/>
                <a:gd name="T46" fmla="*/ 864 w 1979"/>
                <a:gd name="T47" fmla="*/ 519 h 1430"/>
                <a:gd name="T48" fmla="*/ 1079 w 1979"/>
                <a:gd name="T49" fmla="*/ 390 h 1430"/>
                <a:gd name="T50" fmla="*/ 1327 w 1979"/>
                <a:gd name="T51" fmla="*/ 376 h 1430"/>
                <a:gd name="T52" fmla="*/ 1545 w 1979"/>
                <a:gd name="T53" fmla="*/ 476 h 1430"/>
                <a:gd name="T54" fmla="*/ 1396 w 1979"/>
                <a:gd name="T55" fmla="*/ 511 h 1430"/>
                <a:gd name="T56" fmla="*/ 1229 w 1979"/>
                <a:gd name="T57" fmla="*/ 476 h 1430"/>
                <a:gd name="T58" fmla="*/ 1055 w 1979"/>
                <a:gd name="T59" fmla="*/ 515 h 1430"/>
                <a:gd name="T60" fmla="*/ 900 w 1979"/>
                <a:gd name="T61" fmla="*/ 642 h 1430"/>
                <a:gd name="T62" fmla="*/ 826 w 1979"/>
                <a:gd name="T63" fmla="*/ 826 h 1430"/>
                <a:gd name="T64" fmla="*/ 844 w 1979"/>
                <a:gd name="T65" fmla="*/ 1020 h 1430"/>
                <a:gd name="T66" fmla="*/ 956 w 1979"/>
                <a:gd name="T67" fmla="*/ 1188 h 1430"/>
                <a:gd name="T68" fmla="*/ 1132 w 1979"/>
                <a:gd name="T69" fmla="*/ 1280 h 1430"/>
                <a:gd name="T70" fmla="*/ 1327 w 1979"/>
                <a:gd name="T71" fmla="*/ 1280 h 1430"/>
                <a:gd name="T72" fmla="*/ 1503 w 1979"/>
                <a:gd name="T73" fmla="*/ 1188 h 1430"/>
                <a:gd name="T74" fmla="*/ 1613 w 1979"/>
                <a:gd name="T75" fmla="*/ 1022 h 1430"/>
                <a:gd name="T76" fmla="*/ 1634 w 1979"/>
                <a:gd name="T77" fmla="*/ 826 h 1430"/>
                <a:gd name="T78" fmla="*/ 1564 w 1979"/>
                <a:gd name="T79" fmla="*/ 650 h 1430"/>
                <a:gd name="T80" fmla="*/ 1688 w 1979"/>
                <a:gd name="T81" fmla="*/ 648 h 1430"/>
                <a:gd name="T82" fmla="*/ 1745 w 1979"/>
                <a:gd name="T83" fmla="*/ 884 h 1430"/>
                <a:gd name="T84" fmla="*/ 1276 w 1979"/>
                <a:gd name="T85" fmla="*/ 339 h 1430"/>
                <a:gd name="T86" fmla="*/ 1020 w 1979"/>
                <a:gd name="T87" fmla="*/ 378 h 1430"/>
                <a:gd name="T88" fmla="*/ 807 w 1979"/>
                <a:gd name="T89" fmla="*/ 537 h 1430"/>
                <a:gd name="T90" fmla="*/ 694 w 1979"/>
                <a:gd name="T91" fmla="*/ 776 h 1430"/>
                <a:gd name="T92" fmla="*/ 709 w 1979"/>
                <a:gd name="T93" fmla="*/ 1049 h 1430"/>
                <a:gd name="T94" fmla="*/ 1847 w 1979"/>
                <a:gd name="T95" fmla="*/ 149 h 1430"/>
                <a:gd name="T96" fmla="*/ 1685 w 1979"/>
                <a:gd name="T97" fmla="*/ 273 h 1430"/>
                <a:gd name="T98" fmla="*/ 1507 w 1979"/>
                <a:gd name="T99" fmla="*/ 413 h 1430"/>
                <a:gd name="T100" fmla="*/ 1433 w 1979"/>
                <a:gd name="T101" fmla="*/ 1 h 1430"/>
                <a:gd name="T102" fmla="*/ 0 w 1979"/>
                <a:gd name="T103" fmla="*/ 12 h 1430"/>
                <a:gd name="T104" fmla="*/ 14 w 1979"/>
                <a:gd name="T105" fmla="*/ 1131 h 1430"/>
                <a:gd name="T106" fmla="*/ 863 w 1979"/>
                <a:gd name="T107" fmla="*/ 1290 h 1430"/>
                <a:gd name="T108" fmla="*/ 1100 w 1979"/>
                <a:gd name="T109" fmla="*/ 1415 h 1430"/>
                <a:gd name="T110" fmla="*/ 1359 w 1979"/>
                <a:gd name="T111" fmla="*/ 1415 h 1430"/>
                <a:gd name="T112" fmla="*/ 1596 w 1979"/>
                <a:gd name="T113" fmla="*/ 1290 h 1430"/>
                <a:gd name="T114" fmla="*/ 1743 w 1979"/>
                <a:gd name="T115" fmla="*/ 1069 h 1430"/>
                <a:gd name="T116" fmla="*/ 1770 w 1979"/>
                <a:gd name="T117" fmla="*/ 805 h 1430"/>
                <a:gd name="T118" fmla="*/ 1675 w 1979"/>
                <a:gd name="T119" fmla="*/ 568 h 1430"/>
                <a:gd name="T120" fmla="*/ 1837 w 1979"/>
                <a:gd name="T121" fmla="*/ 42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79" h="1430">
                  <a:moveTo>
                    <a:pt x="1823" y="397"/>
                  </a:moveTo>
                  <a:lnTo>
                    <a:pt x="1722" y="389"/>
                  </a:lnTo>
                  <a:lnTo>
                    <a:pt x="1713" y="287"/>
                  </a:lnTo>
                  <a:lnTo>
                    <a:pt x="1820" y="183"/>
                  </a:lnTo>
                  <a:lnTo>
                    <a:pt x="1828" y="272"/>
                  </a:lnTo>
                  <a:lnTo>
                    <a:pt x="1829" y="277"/>
                  </a:lnTo>
                  <a:lnTo>
                    <a:pt x="1833" y="281"/>
                  </a:lnTo>
                  <a:lnTo>
                    <a:pt x="1837" y="284"/>
                  </a:lnTo>
                  <a:lnTo>
                    <a:pt x="1842" y="285"/>
                  </a:lnTo>
                  <a:lnTo>
                    <a:pt x="1930" y="293"/>
                  </a:lnTo>
                  <a:lnTo>
                    <a:pt x="1823" y="397"/>
                  </a:lnTo>
                  <a:close/>
                  <a:moveTo>
                    <a:pt x="1219" y="894"/>
                  </a:moveTo>
                  <a:lnTo>
                    <a:pt x="1222" y="896"/>
                  </a:lnTo>
                  <a:lnTo>
                    <a:pt x="1224" y="897"/>
                  </a:lnTo>
                  <a:lnTo>
                    <a:pt x="1227" y="899"/>
                  </a:lnTo>
                  <a:lnTo>
                    <a:pt x="1230" y="900"/>
                  </a:lnTo>
                  <a:lnTo>
                    <a:pt x="1233" y="899"/>
                  </a:lnTo>
                  <a:lnTo>
                    <a:pt x="1235" y="897"/>
                  </a:lnTo>
                  <a:lnTo>
                    <a:pt x="1238" y="896"/>
                  </a:lnTo>
                  <a:lnTo>
                    <a:pt x="1240" y="894"/>
                  </a:lnTo>
                  <a:lnTo>
                    <a:pt x="1506" y="627"/>
                  </a:lnTo>
                  <a:lnTo>
                    <a:pt x="1518" y="640"/>
                  </a:lnTo>
                  <a:lnTo>
                    <a:pt x="1529" y="654"/>
                  </a:lnTo>
                  <a:lnTo>
                    <a:pt x="1539" y="668"/>
                  </a:lnTo>
                  <a:lnTo>
                    <a:pt x="1550" y="683"/>
                  </a:lnTo>
                  <a:lnTo>
                    <a:pt x="1558" y="698"/>
                  </a:lnTo>
                  <a:lnTo>
                    <a:pt x="1567" y="714"/>
                  </a:lnTo>
                  <a:lnTo>
                    <a:pt x="1574" y="729"/>
                  </a:lnTo>
                  <a:lnTo>
                    <a:pt x="1581" y="746"/>
                  </a:lnTo>
                  <a:lnTo>
                    <a:pt x="1588" y="762"/>
                  </a:lnTo>
                  <a:lnTo>
                    <a:pt x="1593" y="778"/>
                  </a:lnTo>
                  <a:lnTo>
                    <a:pt x="1597" y="796"/>
                  </a:lnTo>
                  <a:lnTo>
                    <a:pt x="1601" y="813"/>
                  </a:lnTo>
                  <a:lnTo>
                    <a:pt x="1603" y="831"/>
                  </a:lnTo>
                  <a:lnTo>
                    <a:pt x="1606" y="848"/>
                  </a:lnTo>
                  <a:lnTo>
                    <a:pt x="1607" y="866"/>
                  </a:lnTo>
                  <a:lnTo>
                    <a:pt x="1607" y="884"/>
                  </a:lnTo>
                  <a:lnTo>
                    <a:pt x="1607" y="903"/>
                  </a:lnTo>
                  <a:lnTo>
                    <a:pt x="1605" y="922"/>
                  </a:lnTo>
                  <a:lnTo>
                    <a:pt x="1603" y="941"/>
                  </a:lnTo>
                  <a:lnTo>
                    <a:pt x="1600" y="959"/>
                  </a:lnTo>
                  <a:lnTo>
                    <a:pt x="1596" y="976"/>
                  </a:lnTo>
                  <a:lnTo>
                    <a:pt x="1591" y="995"/>
                  </a:lnTo>
                  <a:lnTo>
                    <a:pt x="1586" y="1012"/>
                  </a:lnTo>
                  <a:lnTo>
                    <a:pt x="1578" y="1029"/>
                  </a:lnTo>
                  <a:lnTo>
                    <a:pt x="1571" y="1046"/>
                  </a:lnTo>
                  <a:lnTo>
                    <a:pt x="1563" y="1063"/>
                  </a:lnTo>
                  <a:lnTo>
                    <a:pt x="1554" y="1078"/>
                  </a:lnTo>
                  <a:lnTo>
                    <a:pt x="1544" y="1094"/>
                  </a:lnTo>
                  <a:lnTo>
                    <a:pt x="1533" y="1109"/>
                  </a:lnTo>
                  <a:lnTo>
                    <a:pt x="1522" y="1124"/>
                  </a:lnTo>
                  <a:lnTo>
                    <a:pt x="1510" y="1139"/>
                  </a:lnTo>
                  <a:lnTo>
                    <a:pt x="1496" y="1152"/>
                  </a:lnTo>
                  <a:lnTo>
                    <a:pt x="1482" y="1165"/>
                  </a:lnTo>
                  <a:lnTo>
                    <a:pt x="1468" y="1178"/>
                  </a:lnTo>
                  <a:lnTo>
                    <a:pt x="1452" y="1189"/>
                  </a:lnTo>
                  <a:lnTo>
                    <a:pt x="1437" y="1200"/>
                  </a:lnTo>
                  <a:lnTo>
                    <a:pt x="1422" y="1210"/>
                  </a:lnTo>
                  <a:lnTo>
                    <a:pt x="1405" y="1220"/>
                  </a:lnTo>
                  <a:lnTo>
                    <a:pt x="1389" y="1228"/>
                  </a:lnTo>
                  <a:lnTo>
                    <a:pt x="1371" y="1235"/>
                  </a:lnTo>
                  <a:lnTo>
                    <a:pt x="1355" y="1241"/>
                  </a:lnTo>
                  <a:lnTo>
                    <a:pt x="1337" y="1246"/>
                  </a:lnTo>
                  <a:lnTo>
                    <a:pt x="1319" y="1251"/>
                  </a:lnTo>
                  <a:lnTo>
                    <a:pt x="1302" y="1256"/>
                  </a:lnTo>
                  <a:lnTo>
                    <a:pt x="1283" y="1259"/>
                  </a:lnTo>
                  <a:lnTo>
                    <a:pt x="1266" y="1261"/>
                  </a:lnTo>
                  <a:lnTo>
                    <a:pt x="1247" y="1262"/>
                  </a:lnTo>
                  <a:lnTo>
                    <a:pt x="1229" y="1263"/>
                  </a:lnTo>
                  <a:lnTo>
                    <a:pt x="1211" y="1262"/>
                  </a:lnTo>
                  <a:lnTo>
                    <a:pt x="1193" y="1261"/>
                  </a:lnTo>
                  <a:lnTo>
                    <a:pt x="1175" y="1259"/>
                  </a:lnTo>
                  <a:lnTo>
                    <a:pt x="1157" y="1256"/>
                  </a:lnTo>
                  <a:lnTo>
                    <a:pt x="1140" y="1251"/>
                  </a:lnTo>
                  <a:lnTo>
                    <a:pt x="1121" y="1246"/>
                  </a:lnTo>
                  <a:lnTo>
                    <a:pt x="1104" y="1241"/>
                  </a:lnTo>
                  <a:lnTo>
                    <a:pt x="1087" y="1235"/>
                  </a:lnTo>
                  <a:lnTo>
                    <a:pt x="1070" y="1227"/>
                  </a:lnTo>
                  <a:lnTo>
                    <a:pt x="1054" y="1219"/>
                  </a:lnTo>
                  <a:lnTo>
                    <a:pt x="1037" y="1210"/>
                  </a:lnTo>
                  <a:lnTo>
                    <a:pt x="1021" y="1200"/>
                  </a:lnTo>
                  <a:lnTo>
                    <a:pt x="1005" y="1189"/>
                  </a:lnTo>
                  <a:lnTo>
                    <a:pt x="990" y="1178"/>
                  </a:lnTo>
                  <a:lnTo>
                    <a:pt x="976" y="1165"/>
                  </a:lnTo>
                  <a:lnTo>
                    <a:pt x="961" y="1152"/>
                  </a:lnTo>
                  <a:lnTo>
                    <a:pt x="948" y="1138"/>
                  </a:lnTo>
                  <a:lnTo>
                    <a:pt x="936" y="1123"/>
                  </a:lnTo>
                  <a:lnTo>
                    <a:pt x="924" y="1108"/>
                  </a:lnTo>
                  <a:lnTo>
                    <a:pt x="913" y="1092"/>
                  </a:lnTo>
                  <a:lnTo>
                    <a:pt x="904" y="1076"/>
                  </a:lnTo>
                  <a:lnTo>
                    <a:pt x="895" y="1061"/>
                  </a:lnTo>
                  <a:lnTo>
                    <a:pt x="886" y="1043"/>
                  </a:lnTo>
                  <a:lnTo>
                    <a:pt x="879" y="1027"/>
                  </a:lnTo>
                  <a:lnTo>
                    <a:pt x="872" y="1009"/>
                  </a:lnTo>
                  <a:lnTo>
                    <a:pt x="867" y="992"/>
                  </a:lnTo>
                  <a:lnTo>
                    <a:pt x="862" y="974"/>
                  </a:lnTo>
                  <a:lnTo>
                    <a:pt x="859" y="956"/>
                  </a:lnTo>
                  <a:lnTo>
                    <a:pt x="856" y="939"/>
                  </a:lnTo>
                  <a:lnTo>
                    <a:pt x="853" y="920"/>
                  </a:lnTo>
                  <a:lnTo>
                    <a:pt x="852" y="903"/>
                  </a:lnTo>
                  <a:lnTo>
                    <a:pt x="852" y="884"/>
                  </a:lnTo>
                  <a:lnTo>
                    <a:pt x="852" y="866"/>
                  </a:lnTo>
                  <a:lnTo>
                    <a:pt x="853" y="847"/>
                  </a:lnTo>
                  <a:lnTo>
                    <a:pt x="856" y="830"/>
                  </a:lnTo>
                  <a:lnTo>
                    <a:pt x="859" y="811"/>
                  </a:lnTo>
                  <a:lnTo>
                    <a:pt x="862" y="794"/>
                  </a:lnTo>
                  <a:lnTo>
                    <a:pt x="867" y="776"/>
                  </a:lnTo>
                  <a:lnTo>
                    <a:pt x="872" y="759"/>
                  </a:lnTo>
                  <a:lnTo>
                    <a:pt x="879" y="742"/>
                  </a:lnTo>
                  <a:lnTo>
                    <a:pt x="886" y="724"/>
                  </a:lnTo>
                  <a:lnTo>
                    <a:pt x="895" y="708"/>
                  </a:lnTo>
                  <a:lnTo>
                    <a:pt x="904" y="691"/>
                  </a:lnTo>
                  <a:lnTo>
                    <a:pt x="913" y="676"/>
                  </a:lnTo>
                  <a:lnTo>
                    <a:pt x="924" y="661"/>
                  </a:lnTo>
                  <a:lnTo>
                    <a:pt x="936" y="645"/>
                  </a:lnTo>
                  <a:lnTo>
                    <a:pt x="948" y="631"/>
                  </a:lnTo>
                  <a:lnTo>
                    <a:pt x="961" y="616"/>
                  </a:lnTo>
                  <a:lnTo>
                    <a:pt x="976" y="603"/>
                  </a:lnTo>
                  <a:lnTo>
                    <a:pt x="990" y="591"/>
                  </a:lnTo>
                  <a:lnTo>
                    <a:pt x="1004" y="579"/>
                  </a:lnTo>
                  <a:lnTo>
                    <a:pt x="1020" y="569"/>
                  </a:lnTo>
                  <a:lnTo>
                    <a:pt x="1035" y="559"/>
                  </a:lnTo>
                  <a:lnTo>
                    <a:pt x="1052" y="550"/>
                  </a:lnTo>
                  <a:lnTo>
                    <a:pt x="1068" y="542"/>
                  </a:lnTo>
                  <a:lnTo>
                    <a:pt x="1084" y="534"/>
                  </a:lnTo>
                  <a:lnTo>
                    <a:pt x="1102" y="528"/>
                  </a:lnTo>
                  <a:lnTo>
                    <a:pt x="1119" y="522"/>
                  </a:lnTo>
                  <a:lnTo>
                    <a:pt x="1137" y="517"/>
                  </a:lnTo>
                  <a:lnTo>
                    <a:pt x="1155" y="513"/>
                  </a:lnTo>
                  <a:lnTo>
                    <a:pt x="1173" y="510"/>
                  </a:lnTo>
                  <a:lnTo>
                    <a:pt x="1192" y="508"/>
                  </a:lnTo>
                  <a:lnTo>
                    <a:pt x="1210" y="507"/>
                  </a:lnTo>
                  <a:lnTo>
                    <a:pt x="1229" y="506"/>
                  </a:lnTo>
                  <a:lnTo>
                    <a:pt x="1229" y="506"/>
                  </a:lnTo>
                  <a:lnTo>
                    <a:pt x="1247" y="507"/>
                  </a:lnTo>
                  <a:lnTo>
                    <a:pt x="1265" y="508"/>
                  </a:lnTo>
                  <a:lnTo>
                    <a:pt x="1282" y="510"/>
                  </a:lnTo>
                  <a:lnTo>
                    <a:pt x="1300" y="513"/>
                  </a:lnTo>
                  <a:lnTo>
                    <a:pt x="1317" y="516"/>
                  </a:lnTo>
                  <a:lnTo>
                    <a:pt x="1333" y="520"/>
                  </a:lnTo>
                  <a:lnTo>
                    <a:pt x="1351" y="525"/>
                  </a:lnTo>
                  <a:lnTo>
                    <a:pt x="1367" y="531"/>
                  </a:lnTo>
                  <a:lnTo>
                    <a:pt x="1383" y="538"/>
                  </a:lnTo>
                  <a:lnTo>
                    <a:pt x="1399" y="546"/>
                  </a:lnTo>
                  <a:lnTo>
                    <a:pt x="1414" y="554"/>
                  </a:lnTo>
                  <a:lnTo>
                    <a:pt x="1429" y="563"/>
                  </a:lnTo>
                  <a:lnTo>
                    <a:pt x="1443" y="572"/>
                  </a:lnTo>
                  <a:lnTo>
                    <a:pt x="1457" y="583"/>
                  </a:lnTo>
                  <a:lnTo>
                    <a:pt x="1472" y="594"/>
                  </a:lnTo>
                  <a:lnTo>
                    <a:pt x="1485" y="605"/>
                  </a:lnTo>
                  <a:lnTo>
                    <a:pt x="1219" y="874"/>
                  </a:lnTo>
                  <a:lnTo>
                    <a:pt x="1217" y="876"/>
                  </a:lnTo>
                  <a:lnTo>
                    <a:pt x="1216" y="878"/>
                  </a:lnTo>
                  <a:lnTo>
                    <a:pt x="1214" y="881"/>
                  </a:lnTo>
                  <a:lnTo>
                    <a:pt x="1214" y="884"/>
                  </a:lnTo>
                  <a:lnTo>
                    <a:pt x="1214" y="887"/>
                  </a:lnTo>
                  <a:lnTo>
                    <a:pt x="1216" y="889"/>
                  </a:lnTo>
                  <a:lnTo>
                    <a:pt x="1217" y="892"/>
                  </a:lnTo>
                  <a:lnTo>
                    <a:pt x="1219" y="894"/>
                  </a:lnTo>
                  <a:close/>
                  <a:moveTo>
                    <a:pt x="1745" y="884"/>
                  </a:moveTo>
                  <a:lnTo>
                    <a:pt x="1744" y="910"/>
                  </a:lnTo>
                  <a:lnTo>
                    <a:pt x="1743" y="935"/>
                  </a:lnTo>
                  <a:lnTo>
                    <a:pt x="1739" y="961"/>
                  </a:lnTo>
                  <a:lnTo>
                    <a:pt x="1735" y="986"/>
                  </a:lnTo>
                  <a:lnTo>
                    <a:pt x="1730" y="1010"/>
                  </a:lnTo>
                  <a:lnTo>
                    <a:pt x="1723" y="1035"/>
                  </a:lnTo>
                  <a:lnTo>
                    <a:pt x="1716" y="1059"/>
                  </a:lnTo>
                  <a:lnTo>
                    <a:pt x="1706" y="1082"/>
                  </a:lnTo>
                  <a:lnTo>
                    <a:pt x="1696" y="1105"/>
                  </a:lnTo>
                  <a:lnTo>
                    <a:pt x="1685" y="1127"/>
                  </a:lnTo>
                  <a:lnTo>
                    <a:pt x="1673" y="1149"/>
                  </a:lnTo>
                  <a:lnTo>
                    <a:pt x="1659" y="1170"/>
                  </a:lnTo>
                  <a:lnTo>
                    <a:pt x="1645" y="1191"/>
                  </a:lnTo>
                  <a:lnTo>
                    <a:pt x="1629" y="1211"/>
                  </a:lnTo>
                  <a:lnTo>
                    <a:pt x="1612" y="1231"/>
                  </a:lnTo>
                  <a:lnTo>
                    <a:pt x="1595" y="1249"/>
                  </a:lnTo>
                  <a:lnTo>
                    <a:pt x="1575" y="1268"/>
                  </a:lnTo>
                  <a:lnTo>
                    <a:pt x="1555" y="1285"/>
                  </a:lnTo>
                  <a:lnTo>
                    <a:pt x="1534" y="1301"/>
                  </a:lnTo>
                  <a:lnTo>
                    <a:pt x="1514" y="1315"/>
                  </a:lnTo>
                  <a:lnTo>
                    <a:pt x="1491" y="1329"/>
                  </a:lnTo>
                  <a:lnTo>
                    <a:pt x="1470" y="1342"/>
                  </a:lnTo>
                  <a:lnTo>
                    <a:pt x="1447" y="1353"/>
                  </a:lnTo>
                  <a:lnTo>
                    <a:pt x="1424" y="1362"/>
                  </a:lnTo>
                  <a:lnTo>
                    <a:pt x="1400" y="1371"/>
                  </a:lnTo>
                  <a:lnTo>
                    <a:pt x="1376" y="1380"/>
                  </a:lnTo>
                  <a:lnTo>
                    <a:pt x="1352" y="1386"/>
                  </a:lnTo>
                  <a:lnTo>
                    <a:pt x="1328" y="1391"/>
                  </a:lnTo>
                  <a:lnTo>
                    <a:pt x="1304" y="1395"/>
                  </a:lnTo>
                  <a:lnTo>
                    <a:pt x="1279" y="1398"/>
                  </a:lnTo>
                  <a:lnTo>
                    <a:pt x="1254" y="1400"/>
                  </a:lnTo>
                  <a:lnTo>
                    <a:pt x="1229" y="1400"/>
                  </a:lnTo>
                  <a:lnTo>
                    <a:pt x="1204" y="1400"/>
                  </a:lnTo>
                  <a:lnTo>
                    <a:pt x="1180" y="1398"/>
                  </a:lnTo>
                  <a:lnTo>
                    <a:pt x="1155" y="1395"/>
                  </a:lnTo>
                  <a:lnTo>
                    <a:pt x="1130" y="1391"/>
                  </a:lnTo>
                  <a:lnTo>
                    <a:pt x="1106" y="1386"/>
                  </a:lnTo>
                  <a:lnTo>
                    <a:pt x="1082" y="1380"/>
                  </a:lnTo>
                  <a:lnTo>
                    <a:pt x="1059" y="1371"/>
                  </a:lnTo>
                  <a:lnTo>
                    <a:pt x="1035" y="1362"/>
                  </a:lnTo>
                  <a:lnTo>
                    <a:pt x="1012" y="1353"/>
                  </a:lnTo>
                  <a:lnTo>
                    <a:pt x="989" y="1342"/>
                  </a:lnTo>
                  <a:lnTo>
                    <a:pt x="966" y="1329"/>
                  </a:lnTo>
                  <a:lnTo>
                    <a:pt x="945" y="1315"/>
                  </a:lnTo>
                  <a:lnTo>
                    <a:pt x="924" y="1301"/>
                  </a:lnTo>
                  <a:lnTo>
                    <a:pt x="904" y="1284"/>
                  </a:lnTo>
                  <a:lnTo>
                    <a:pt x="883" y="1268"/>
                  </a:lnTo>
                  <a:lnTo>
                    <a:pt x="864" y="1249"/>
                  </a:lnTo>
                  <a:lnTo>
                    <a:pt x="847" y="1231"/>
                  </a:lnTo>
                  <a:lnTo>
                    <a:pt x="830" y="1211"/>
                  </a:lnTo>
                  <a:lnTo>
                    <a:pt x="814" y="1191"/>
                  </a:lnTo>
                  <a:lnTo>
                    <a:pt x="799" y="1170"/>
                  </a:lnTo>
                  <a:lnTo>
                    <a:pt x="786" y="1149"/>
                  </a:lnTo>
                  <a:lnTo>
                    <a:pt x="774" y="1127"/>
                  </a:lnTo>
                  <a:lnTo>
                    <a:pt x="762" y="1105"/>
                  </a:lnTo>
                  <a:lnTo>
                    <a:pt x="752" y="1082"/>
                  </a:lnTo>
                  <a:lnTo>
                    <a:pt x="743" y="1059"/>
                  </a:lnTo>
                  <a:lnTo>
                    <a:pt x="736" y="1035"/>
                  </a:lnTo>
                  <a:lnTo>
                    <a:pt x="729" y="1010"/>
                  </a:lnTo>
                  <a:lnTo>
                    <a:pt x="724" y="986"/>
                  </a:lnTo>
                  <a:lnTo>
                    <a:pt x="719" y="961"/>
                  </a:lnTo>
                  <a:lnTo>
                    <a:pt x="716" y="935"/>
                  </a:lnTo>
                  <a:lnTo>
                    <a:pt x="714" y="910"/>
                  </a:lnTo>
                  <a:lnTo>
                    <a:pt x="713" y="884"/>
                  </a:lnTo>
                  <a:lnTo>
                    <a:pt x="714" y="859"/>
                  </a:lnTo>
                  <a:lnTo>
                    <a:pt x="716" y="833"/>
                  </a:lnTo>
                  <a:lnTo>
                    <a:pt x="719" y="807"/>
                  </a:lnTo>
                  <a:lnTo>
                    <a:pt x="724" y="783"/>
                  </a:lnTo>
                  <a:lnTo>
                    <a:pt x="729" y="758"/>
                  </a:lnTo>
                  <a:lnTo>
                    <a:pt x="736" y="733"/>
                  </a:lnTo>
                  <a:lnTo>
                    <a:pt x="743" y="710"/>
                  </a:lnTo>
                  <a:lnTo>
                    <a:pt x="752" y="686"/>
                  </a:lnTo>
                  <a:lnTo>
                    <a:pt x="762" y="663"/>
                  </a:lnTo>
                  <a:lnTo>
                    <a:pt x="774" y="641"/>
                  </a:lnTo>
                  <a:lnTo>
                    <a:pt x="786" y="618"/>
                  </a:lnTo>
                  <a:lnTo>
                    <a:pt x="799" y="597"/>
                  </a:lnTo>
                  <a:lnTo>
                    <a:pt x="814" y="576"/>
                  </a:lnTo>
                  <a:lnTo>
                    <a:pt x="830" y="557"/>
                  </a:lnTo>
                  <a:lnTo>
                    <a:pt x="847" y="537"/>
                  </a:lnTo>
                  <a:lnTo>
                    <a:pt x="864" y="519"/>
                  </a:lnTo>
                  <a:lnTo>
                    <a:pt x="883" y="501"/>
                  </a:lnTo>
                  <a:lnTo>
                    <a:pt x="902" y="484"/>
                  </a:lnTo>
                  <a:lnTo>
                    <a:pt x="922" y="469"/>
                  </a:lnTo>
                  <a:lnTo>
                    <a:pt x="943" y="454"/>
                  </a:lnTo>
                  <a:lnTo>
                    <a:pt x="964" y="441"/>
                  </a:lnTo>
                  <a:lnTo>
                    <a:pt x="986" y="428"/>
                  </a:lnTo>
                  <a:lnTo>
                    <a:pt x="1008" y="416"/>
                  </a:lnTo>
                  <a:lnTo>
                    <a:pt x="1031" y="407"/>
                  </a:lnTo>
                  <a:lnTo>
                    <a:pt x="1055" y="398"/>
                  </a:lnTo>
                  <a:lnTo>
                    <a:pt x="1079" y="390"/>
                  </a:lnTo>
                  <a:lnTo>
                    <a:pt x="1103" y="384"/>
                  </a:lnTo>
                  <a:lnTo>
                    <a:pt x="1127" y="377"/>
                  </a:lnTo>
                  <a:lnTo>
                    <a:pt x="1153" y="373"/>
                  </a:lnTo>
                  <a:lnTo>
                    <a:pt x="1178" y="370"/>
                  </a:lnTo>
                  <a:lnTo>
                    <a:pt x="1204" y="368"/>
                  </a:lnTo>
                  <a:lnTo>
                    <a:pt x="1230" y="368"/>
                  </a:lnTo>
                  <a:lnTo>
                    <a:pt x="1254" y="368"/>
                  </a:lnTo>
                  <a:lnTo>
                    <a:pt x="1279" y="370"/>
                  </a:lnTo>
                  <a:lnTo>
                    <a:pt x="1303" y="373"/>
                  </a:lnTo>
                  <a:lnTo>
                    <a:pt x="1327" y="376"/>
                  </a:lnTo>
                  <a:lnTo>
                    <a:pt x="1351" y="382"/>
                  </a:lnTo>
                  <a:lnTo>
                    <a:pt x="1373" y="389"/>
                  </a:lnTo>
                  <a:lnTo>
                    <a:pt x="1397" y="396"/>
                  </a:lnTo>
                  <a:lnTo>
                    <a:pt x="1419" y="404"/>
                  </a:lnTo>
                  <a:lnTo>
                    <a:pt x="1441" y="413"/>
                  </a:lnTo>
                  <a:lnTo>
                    <a:pt x="1464" y="424"/>
                  </a:lnTo>
                  <a:lnTo>
                    <a:pt x="1484" y="435"/>
                  </a:lnTo>
                  <a:lnTo>
                    <a:pt x="1506" y="448"/>
                  </a:lnTo>
                  <a:lnTo>
                    <a:pt x="1525" y="462"/>
                  </a:lnTo>
                  <a:lnTo>
                    <a:pt x="1545" y="476"/>
                  </a:lnTo>
                  <a:lnTo>
                    <a:pt x="1564" y="491"/>
                  </a:lnTo>
                  <a:lnTo>
                    <a:pt x="1582" y="508"/>
                  </a:lnTo>
                  <a:lnTo>
                    <a:pt x="1506" y="585"/>
                  </a:lnTo>
                  <a:lnTo>
                    <a:pt x="1491" y="571"/>
                  </a:lnTo>
                  <a:lnTo>
                    <a:pt x="1477" y="560"/>
                  </a:lnTo>
                  <a:lnTo>
                    <a:pt x="1462" y="549"/>
                  </a:lnTo>
                  <a:lnTo>
                    <a:pt x="1445" y="537"/>
                  </a:lnTo>
                  <a:lnTo>
                    <a:pt x="1429" y="528"/>
                  </a:lnTo>
                  <a:lnTo>
                    <a:pt x="1412" y="519"/>
                  </a:lnTo>
                  <a:lnTo>
                    <a:pt x="1396" y="511"/>
                  </a:lnTo>
                  <a:lnTo>
                    <a:pt x="1378" y="504"/>
                  </a:lnTo>
                  <a:lnTo>
                    <a:pt x="1361" y="497"/>
                  </a:lnTo>
                  <a:lnTo>
                    <a:pt x="1343" y="491"/>
                  </a:lnTo>
                  <a:lnTo>
                    <a:pt x="1324" y="487"/>
                  </a:lnTo>
                  <a:lnTo>
                    <a:pt x="1306" y="483"/>
                  </a:lnTo>
                  <a:lnTo>
                    <a:pt x="1287" y="480"/>
                  </a:lnTo>
                  <a:lnTo>
                    <a:pt x="1268" y="478"/>
                  </a:lnTo>
                  <a:lnTo>
                    <a:pt x="1249" y="476"/>
                  </a:lnTo>
                  <a:lnTo>
                    <a:pt x="1230" y="476"/>
                  </a:lnTo>
                  <a:lnTo>
                    <a:pt x="1229" y="476"/>
                  </a:lnTo>
                  <a:lnTo>
                    <a:pt x="1229" y="476"/>
                  </a:lnTo>
                  <a:lnTo>
                    <a:pt x="1208" y="476"/>
                  </a:lnTo>
                  <a:lnTo>
                    <a:pt x="1189" y="478"/>
                  </a:lnTo>
                  <a:lnTo>
                    <a:pt x="1168" y="480"/>
                  </a:lnTo>
                  <a:lnTo>
                    <a:pt x="1149" y="483"/>
                  </a:lnTo>
                  <a:lnTo>
                    <a:pt x="1129" y="488"/>
                  </a:lnTo>
                  <a:lnTo>
                    <a:pt x="1110" y="493"/>
                  </a:lnTo>
                  <a:lnTo>
                    <a:pt x="1091" y="499"/>
                  </a:lnTo>
                  <a:lnTo>
                    <a:pt x="1073" y="507"/>
                  </a:lnTo>
                  <a:lnTo>
                    <a:pt x="1055" y="515"/>
                  </a:lnTo>
                  <a:lnTo>
                    <a:pt x="1037" y="523"/>
                  </a:lnTo>
                  <a:lnTo>
                    <a:pt x="1020" y="533"/>
                  </a:lnTo>
                  <a:lnTo>
                    <a:pt x="1003" y="544"/>
                  </a:lnTo>
                  <a:lnTo>
                    <a:pt x="987" y="556"/>
                  </a:lnTo>
                  <a:lnTo>
                    <a:pt x="971" y="568"/>
                  </a:lnTo>
                  <a:lnTo>
                    <a:pt x="955" y="582"/>
                  </a:lnTo>
                  <a:lnTo>
                    <a:pt x="941" y="595"/>
                  </a:lnTo>
                  <a:lnTo>
                    <a:pt x="926" y="610"/>
                  </a:lnTo>
                  <a:lnTo>
                    <a:pt x="913" y="626"/>
                  </a:lnTo>
                  <a:lnTo>
                    <a:pt x="900" y="642"/>
                  </a:lnTo>
                  <a:lnTo>
                    <a:pt x="889" y="660"/>
                  </a:lnTo>
                  <a:lnTo>
                    <a:pt x="878" y="676"/>
                  </a:lnTo>
                  <a:lnTo>
                    <a:pt x="868" y="694"/>
                  </a:lnTo>
                  <a:lnTo>
                    <a:pt x="859" y="712"/>
                  </a:lnTo>
                  <a:lnTo>
                    <a:pt x="852" y="730"/>
                  </a:lnTo>
                  <a:lnTo>
                    <a:pt x="844" y="749"/>
                  </a:lnTo>
                  <a:lnTo>
                    <a:pt x="838" y="767"/>
                  </a:lnTo>
                  <a:lnTo>
                    <a:pt x="833" y="787"/>
                  </a:lnTo>
                  <a:lnTo>
                    <a:pt x="829" y="806"/>
                  </a:lnTo>
                  <a:lnTo>
                    <a:pt x="826" y="826"/>
                  </a:lnTo>
                  <a:lnTo>
                    <a:pt x="823" y="845"/>
                  </a:lnTo>
                  <a:lnTo>
                    <a:pt x="822" y="865"/>
                  </a:lnTo>
                  <a:lnTo>
                    <a:pt x="821" y="884"/>
                  </a:lnTo>
                  <a:lnTo>
                    <a:pt x="822" y="904"/>
                  </a:lnTo>
                  <a:lnTo>
                    <a:pt x="823" y="923"/>
                  </a:lnTo>
                  <a:lnTo>
                    <a:pt x="826" y="943"/>
                  </a:lnTo>
                  <a:lnTo>
                    <a:pt x="829" y="962"/>
                  </a:lnTo>
                  <a:lnTo>
                    <a:pt x="833" y="982"/>
                  </a:lnTo>
                  <a:lnTo>
                    <a:pt x="838" y="1000"/>
                  </a:lnTo>
                  <a:lnTo>
                    <a:pt x="844" y="1020"/>
                  </a:lnTo>
                  <a:lnTo>
                    <a:pt x="852" y="1038"/>
                  </a:lnTo>
                  <a:lnTo>
                    <a:pt x="859" y="1056"/>
                  </a:lnTo>
                  <a:lnTo>
                    <a:pt x="868" y="1074"/>
                  </a:lnTo>
                  <a:lnTo>
                    <a:pt x="878" y="1091"/>
                  </a:lnTo>
                  <a:lnTo>
                    <a:pt x="889" y="1109"/>
                  </a:lnTo>
                  <a:lnTo>
                    <a:pt x="900" y="1125"/>
                  </a:lnTo>
                  <a:lnTo>
                    <a:pt x="913" y="1142"/>
                  </a:lnTo>
                  <a:lnTo>
                    <a:pt x="926" y="1158"/>
                  </a:lnTo>
                  <a:lnTo>
                    <a:pt x="941" y="1172"/>
                  </a:lnTo>
                  <a:lnTo>
                    <a:pt x="956" y="1188"/>
                  </a:lnTo>
                  <a:lnTo>
                    <a:pt x="972" y="1201"/>
                  </a:lnTo>
                  <a:lnTo>
                    <a:pt x="988" y="1213"/>
                  </a:lnTo>
                  <a:lnTo>
                    <a:pt x="1005" y="1225"/>
                  </a:lnTo>
                  <a:lnTo>
                    <a:pt x="1022" y="1236"/>
                  </a:lnTo>
                  <a:lnTo>
                    <a:pt x="1039" y="1245"/>
                  </a:lnTo>
                  <a:lnTo>
                    <a:pt x="1058" y="1254"/>
                  </a:lnTo>
                  <a:lnTo>
                    <a:pt x="1076" y="1263"/>
                  </a:lnTo>
                  <a:lnTo>
                    <a:pt x="1095" y="1270"/>
                  </a:lnTo>
                  <a:lnTo>
                    <a:pt x="1113" y="1275"/>
                  </a:lnTo>
                  <a:lnTo>
                    <a:pt x="1132" y="1280"/>
                  </a:lnTo>
                  <a:lnTo>
                    <a:pt x="1152" y="1284"/>
                  </a:lnTo>
                  <a:lnTo>
                    <a:pt x="1171" y="1288"/>
                  </a:lnTo>
                  <a:lnTo>
                    <a:pt x="1191" y="1290"/>
                  </a:lnTo>
                  <a:lnTo>
                    <a:pt x="1210" y="1291"/>
                  </a:lnTo>
                  <a:lnTo>
                    <a:pt x="1230" y="1292"/>
                  </a:lnTo>
                  <a:lnTo>
                    <a:pt x="1249" y="1291"/>
                  </a:lnTo>
                  <a:lnTo>
                    <a:pt x="1269" y="1290"/>
                  </a:lnTo>
                  <a:lnTo>
                    <a:pt x="1288" y="1288"/>
                  </a:lnTo>
                  <a:lnTo>
                    <a:pt x="1308" y="1284"/>
                  </a:lnTo>
                  <a:lnTo>
                    <a:pt x="1327" y="1280"/>
                  </a:lnTo>
                  <a:lnTo>
                    <a:pt x="1346" y="1275"/>
                  </a:lnTo>
                  <a:lnTo>
                    <a:pt x="1365" y="1270"/>
                  </a:lnTo>
                  <a:lnTo>
                    <a:pt x="1384" y="1263"/>
                  </a:lnTo>
                  <a:lnTo>
                    <a:pt x="1401" y="1254"/>
                  </a:lnTo>
                  <a:lnTo>
                    <a:pt x="1419" y="1245"/>
                  </a:lnTo>
                  <a:lnTo>
                    <a:pt x="1437" y="1236"/>
                  </a:lnTo>
                  <a:lnTo>
                    <a:pt x="1454" y="1225"/>
                  </a:lnTo>
                  <a:lnTo>
                    <a:pt x="1471" y="1213"/>
                  </a:lnTo>
                  <a:lnTo>
                    <a:pt x="1487" y="1201"/>
                  </a:lnTo>
                  <a:lnTo>
                    <a:pt x="1503" y="1188"/>
                  </a:lnTo>
                  <a:lnTo>
                    <a:pt x="1518" y="1173"/>
                  </a:lnTo>
                  <a:lnTo>
                    <a:pt x="1532" y="1158"/>
                  </a:lnTo>
                  <a:lnTo>
                    <a:pt x="1546" y="1143"/>
                  </a:lnTo>
                  <a:lnTo>
                    <a:pt x="1558" y="1127"/>
                  </a:lnTo>
                  <a:lnTo>
                    <a:pt x="1569" y="1111"/>
                  </a:lnTo>
                  <a:lnTo>
                    <a:pt x="1579" y="1093"/>
                  </a:lnTo>
                  <a:lnTo>
                    <a:pt x="1590" y="1077"/>
                  </a:lnTo>
                  <a:lnTo>
                    <a:pt x="1599" y="1059"/>
                  </a:lnTo>
                  <a:lnTo>
                    <a:pt x="1607" y="1041"/>
                  </a:lnTo>
                  <a:lnTo>
                    <a:pt x="1613" y="1022"/>
                  </a:lnTo>
                  <a:lnTo>
                    <a:pt x="1620" y="1003"/>
                  </a:lnTo>
                  <a:lnTo>
                    <a:pt x="1626" y="984"/>
                  </a:lnTo>
                  <a:lnTo>
                    <a:pt x="1630" y="964"/>
                  </a:lnTo>
                  <a:lnTo>
                    <a:pt x="1633" y="945"/>
                  </a:lnTo>
                  <a:lnTo>
                    <a:pt x="1636" y="925"/>
                  </a:lnTo>
                  <a:lnTo>
                    <a:pt x="1637" y="905"/>
                  </a:lnTo>
                  <a:lnTo>
                    <a:pt x="1638" y="884"/>
                  </a:lnTo>
                  <a:lnTo>
                    <a:pt x="1637" y="865"/>
                  </a:lnTo>
                  <a:lnTo>
                    <a:pt x="1636" y="845"/>
                  </a:lnTo>
                  <a:lnTo>
                    <a:pt x="1634" y="826"/>
                  </a:lnTo>
                  <a:lnTo>
                    <a:pt x="1631" y="807"/>
                  </a:lnTo>
                  <a:lnTo>
                    <a:pt x="1627" y="789"/>
                  </a:lnTo>
                  <a:lnTo>
                    <a:pt x="1621" y="770"/>
                  </a:lnTo>
                  <a:lnTo>
                    <a:pt x="1615" y="752"/>
                  </a:lnTo>
                  <a:lnTo>
                    <a:pt x="1609" y="734"/>
                  </a:lnTo>
                  <a:lnTo>
                    <a:pt x="1602" y="717"/>
                  </a:lnTo>
                  <a:lnTo>
                    <a:pt x="1593" y="700"/>
                  </a:lnTo>
                  <a:lnTo>
                    <a:pt x="1585" y="682"/>
                  </a:lnTo>
                  <a:lnTo>
                    <a:pt x="1574" y="667"/>
                  </a:lnTo>
                  <a:lnTo>
                    <a:pt x="1564" y="650"/>
                  </a:lnTo>
                  <a:lnTo>
                    <a:pt x="1552" y="635"/>
                  </a:lnTo>
                  <a:lnTo>
                    <a:pt x="1539" y="619"/>
                  </a:lnTo>
                  <a:lnTo>
                    <a:pt x="1527" y="605"/>
                  </a:lnTo>
                  <a:lnTo>
                    <a:pt x="1603" y="528"/>
                  </a:lnTo>
                  <a:lnTo>
                    <a:pt x="1620" y="547"/>
                  </a:lnTo>
                  <a:lnTo>
                    <a:pt x="1636" y="566"/>
                  </a:lnTo>
                  <a:lnTo>
                    <a:pt x="1650" y="586"/>
                  </a:lnTo>
                  <a:lnTo>
                    <a:pt x="1664" y="606"/>
                  </a:lnTo>
                  <a:lnTo>
                    <a:pt x="1677" y="627"/>
                  </a:lnTo>
                  <a:lnTo>
                    <a:pt x="1688" y="648"/>
                  </a:lnTo>
                  <a:lnTo>
                    <a:pt x="1699" y="670"/>
                  </a:lnTo>
                  <a:lnTo>
                    <a:pt x="1709" y="692"/>
                  </a:lnTo>
                  <a:lnTo>
                    <a:pt x="1717" y="715"/>
                  </a:lnTo>
                  <a:lnTo>
                    <a:pt x="1725" y="738"/>
                  </a:lnTo>
                  <a:lnTo>
                    <a:pt x="1731" y="762"/>
                  </a:lnTo>
                  <a:lnTo>
                    <a:pt x="1736" y="786"/>
                  </a:lnTo>
                  <a:lnTo>
                    <a:pt x="1740" y="810"/>
                  </a:lnTo>
                  <a:lnTo>
                    <a:pt x="1743" y="834"/>
                  </a:lnTo>
                  <a:lnTo>
                    <a:pt x="1744" y="860"/>
                  </a:lnTo>
                  <a:lnTo>
                    <a:pt x="1745" y="884"/>
                  </a:lnTo>
                  <a:close/>
                  <a:moveTo>
                    <a:pt x="30" y="1102"/>
                  </a:moveTo>
                  <a:lnTo>
                    <a:pt x="30" y="30"/>
                  </a:lnTo>
                  <a:lnTo>
                    <a:pt x="1411" y="30"/>
                  </a:lnTo>
                  <a:lnTo>
                    <a:pt x="1411" y="369"/>
                  </a:lnTo>
                  <a:lnTo>
                    <a:pt x="1390" y="362"/>
                  </a:lnTo>
                  <a:lnTo>
                    <a:pt x="1368" y="356"/>
                  </a:lnTo>
                  <a:lnTo>
                    <a:pt x="1346" y="351"/>
                  </a:lnTo>
                  <a:lnTo>
                    <a:pt x="1323" y="346"/>
                  </a:lnTo>
                  <a:lnTo>
                    <a:pt x="1300" y="343"/>
                  </a:lnTo>
                  <a:lnTo>
                    <a:pt x="1276" y="339"/>
                  </a:lnTo>
                  <a:lnTo>
                    <a:pt x="1253" y="338"/>
                  </a:lnTo>
                  <a:lnTo>
                    <a:pt x="1230" y="337"/>
                  </a:lnTo>
                  <a:lnTo>
                    <a:pt x="1202" y="338"/>
                  </a:lnTo>
                  <a:lnTo>
                    <a:pt x="1176" y="340"/>
                  </a:lnTo>
                  <a:lnTo>
                    <a:pt x="1148" y="344"/>
                  </a:lnTo>
                  <a:lnTo>
                    <a:pt x="1122" y="348"/>
                  </a:lnTo>
                  <a:lnTo>
                    <a:pt x="1096" y="354"/>
                  </a:lnTo>
                  <a:lnTo>
                    <a:pt x="1070" y="361"/>
                  </a:lnTo>
                  <a:lnTo>
                    <a:pt x="1044" y="369"/>
                  </a:lnTo>
                  <a:lnTo>
                    <a:pt x="1020" y="378"/>
                  </a:lnTo>
                  <a:lnTo>
                    <a:pt x="996" y="390"/>
                  </a:lnTo>
                  <a:lnTo>
                    <a:pt x="972" y="402"/>
                  </a:lnTo>
                  <a:lnTo>
                    <a:pt x="949" y="414"/>
                  </a:lnTo>
                  <a:lnTo>
                    <a:pt x="926" y="429"/>
                  </a:lnTo>
                  <a:lnTo>
                    <a:pt x="904" y="444"/>
                  </a:lnTo>
                  <a:lnTo>
                    <a:pt x="883" y="462"/>
                  </a:lnTo>
                  <a:lnTo>
                    <a:pt x="863" y="479"/>
                  </a:lnTo>
                  <a:lnTo>
                    <a:pt x="843" y="497"/>
                  </a:lnTo>
                  <a:lnTo>
                    <a:pt x="824" y="517"/>
                  </a:lnTo>
                  <a:lnTo>
                    <a:pt x="807" y="537"/>
                  </a:lnTo>
                  <a:lnTo>
                    <a:pt x="790" y="559"/>
                  </a:lnTo>
                  <a:lnTo>
                    <a:pt x="775" y="581"/>
                  </a:lnTo>
                  <a:lnTo>
                    <a:pt x="760" y="603"/>
                  </a:lnTo>
                  <a:lnTo>
                    <a:pt x="747" y="627"/>
                  </a:lnTo>
                  <a:lnTo>
                    <a:pt x="735" y="650"/>
                  </a:lnTo>
                  <a:lnTo>
                    <a:pt x="725" y="675"/>
                  </a:lnTo>
                  <a:lnTo>
                    <a:pt x="715" y="700"/>
                  </a:lnTo>
                  <a:lnTo>
                    <a:pt x="706" y="724"/>
                  </a:lnTo>
                  <a:lnTo>
                    <a:pt x="699" y="751"/>
                  </a:lnTo>
                  <a:lnTo>
                    <a:pt x="694" y="776"/>
                  </a:lnTo>
                  <a:lnTo>
                    <a:pt x="689" y="803"/>
                  </a:lnTo>
                  <a:lnTo>
                    <a:pt x="686" y="830"/>
                  </a:lnTo>
                  <a:lnTo>
                    <a:pt x="684" y="856"/>
                  </a:lnTo>
                  <a:lnTo>
                    <a:pt x="684" y="884"/>
                  </a:lnTo>
                  <a:lnTo>
                    <a:pt x="684" y="913"/>
                  </a:lnTo>
                  <a:lnTo>
                    <a:pt x="686" y="941"/>
                  </a:lnTo>
                  <a:lnTo>
                    <a:pt x="690" y="968"/>
                  </a:lnTo>
                  <a:lnTo>
                    <a:pt x="695" y="996"/>
                  </a:lnTo>
                  <a:lnTo>
                    <a:pt x="701" y="1023"/>
                  </a:lnTo>
                  <a:lnTo>
                    <a:pt x="709" y="1049"/>
                  </a:lnTo>
                  <a:lnTo>
                    <a:pt x="718" y="1076"/>
                  </a:lnTo>
                  <a:lnTo>
                    <a:pt x="729" y="1102"/>
                  </a:lnTo>
                  <a:lnTo>
                    <a:pt x="30" y="1102"/>
                  </a:lnTo>
                  <a:close/>
                  <a:moveTo>
                    <a:pt x="1978" y="276"/>
                  </a:moveTo>
                  <a:lnTo>
                    <a:pt x="1976" y="273"/>
                  </a:lnTo>
                  <a:lnTo>
                    <a:pt x="1973" y="270"/>
                  </a:lnTo>
                  <a:lnTo>
                    <a:pt x="1969" y="268"/>
                  </a:lnTo>
                  <a:lnTo>
                    <a:pt x="1966" y="267"/>
                  </a:lnTo>
                  <a:lnTo>
                    <a:pt x="1857" y="256"/>
                  </a:lnTo>
                  <a:lnTo>
                    <a:pt x="1847" y="149"/>
                  </a:lnTo>
                  <a:lnTo>
                    <a:pt x="1846" y="145"/>
                  </a:lnTo>
                  <a:lnTo>
                    <a:pt x="1844" y="140"/>
                  </a:lnTo>
                  <a:lnTo>
                    <a:pt x="1841" y="137"/>
                  </a:lnTo>
                  <a:lnTo>
                    <a:pt x="1838" y="135"/>
                  </a:lnTo>
                  <a:lnTo>
                    <a:pt x="1834" y="134"/>
                  </a:lnTo>
                  <a:lnTo>
                    <a:pt x="1829" y="135"/>
                  </a:lnTo>
                  <a:lnTo>
                    <a:pt x="1825" y="136"/>
                  </a:lnTo>
                  <a:lnTo>
                    <a:pt x="1821" y="138"/>
                  </a:lnTo>
                  <a:lnTo>
                    <a:pt x="1687" y="271"/>
                  </a:lnTo>
                  <a:lnTo>
                    <a:pt x="1685" y="273"/>
                  </a:lnTo>
                  <a:lnTo>
                    <a:pt x="1683" y="276"/>
                  </a:lnTo>
                  <a:lnTo>
                    <a:pt x="1683" y="279"/>
                  </a:lnTo>
                  <a:lnTo>
                    <a:pt x="1683" y="282"/>
                  </a:lnTo>
                  <a:lnTo>
                    <a:pt x="1692" y="397"/>
                  </a:lnTo>
                  <a:lnTo>
                    <a:pt x="1603" y="486"/>
                  </a:lnTo>
                  <a:lnTo>
                    <a:pt x="1586" y="470"/>
                  </a:lnTo>
                  <a:lnTo>
                    <a:pt x="1566" y="454"/>
                  </a:lnTo>
                  <a:lnTo>
                    <a:pt x="1547" y="440"/>
                  </a:lnTo>
                  <a:lnTo>
                    <a:pt x="1527" y="426"/>
                  </a:lnTo>
                  <a:lnTo>
                    <a:pt x="1507" y="413"/>
                  </a:lnTo>
                  <a:lnTo>
                    <a:pt x="1485" y="401"/>
                  </a:lnTo>
                  <a:lnTo>
                    <a:pt x="1464" y="391"/>
                  </a:lnTo>
                  <a:lnTo>
                    <a:pt x="1442" y="380"/>
                  </a:lnTo>
                  <a:lnTo>
                    <a:pt x="1442" y="15"/>
                  </a:lnTo>
                  <a:lnTo>
                    <a:pt x="1441" y="12"/>
                  </a:lnTo>
                  <a:lnTo>
                    <a:pt x="1440" y="9"/>
                  </a:lnTo>
                  <a:lnTo>
                    <a:pt x="1439" y="6"/>
                  </a:lnTo>
                  <a:lnTo>
                    <a:pt x="1437" y="4"/>
                  </a:lnTo>
                  <a:lnTo>
                    <a:pt x="1435" y="2"/>
                  </a:lnTo>
                  <a:lnTo>
                    <a:pt x="1433" y="1"/>
                  </a:lnTo>
                  <a:lnTo>
                    <a:pt x="1430" y="0"/>
                  </a:lnTo>
                  <a:lnTo>
                    <a:pt x="1427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116"/>
                  </a:lnTo>
                  <a:lnTo>
                    <a:pt x="0" y="1119"/>
                  </a:lnTo>
                  <a:lnTo>
                    <a:pt x="1" y="1122"/>
                  </a:lnTo>
                  <a:lnTo>
                    <a:pt x="2" y="1125"/>
                  </a:lnTo>
                  <a:lnTo>
                    <a:pt x="4" y="1127"/>
                  </a:lnTo>
                  <a:lnTo>
                    <a:pt x="6" y="1129"/>
                  </a:lnTo>
                  <a:lnTo>
                    <a:pt x="9" y="1130"/>
                  </a:lnTo>
                  <a:lnTo>
                    <a:pt x="11" y="1131"/>
                  </a:lnTo>
                  <a:lnTo>
                    <a:pt x="14" y="1131"/>
                  </a:lnTo>
                  <a:lnTo>
                    <a:pt x="742" y="1131"/>
                  </a:lnTo>
                  <a:lnTo>
                    <a:pt x="752" y="1150"/>
                  </a:lnTo>
                  <a:lnTo>
                    <a:pt x="763" y="1168"/>
                  </a:lnTo>
                  <a:lnTo>
                    <a:pt x="775" y="1187"/>
                  </a:lnTo>
                  <a:lnTo>
                    <a:pt x="787" y="1204"/>
                  </a:lnTo>
                  <a:lnTo>
                    <a:pt x="800" y="1222"/>
                  </a:lnTo>
                  <a:lnTo>
                    <a:pt x="814" y="1238"/>
                  </a:lnTo>
                  <a:lnTo>
                    <a:pt x="828" y="1254"/>
                  </a:lnTo>
                  <a:lnTo>
                    <a:pt x="843" y="1271"/>
                  </a:lnTo>
                  <a:lnTo>
                    <a:pt x="863" y="1290"/>
                  </a:lnTo>
                  <a:lnTo>
                    <a:pt x="884" y="1308"/>
                  </a:lnTo>
                  <a:lnTo>
                    <a:pt x="906" y="1325"/>
                  </a:lnTo>
                  <a:lnTo>
                    <a:pt x="929" y="1341"/>
                  </a:lnTo>
                  <a:lnTo>
                    <a:pt x="952" y="1355"/>
                  </a:lnTo>
                  <a:lnTo>
                    <a:pt x="976" y="1368"/>
                  </a:lnTo>
                  <a:lnTo>
                    <a:pt x="999" y="1380"/>
                  </a:lnTo>
                  <a:lnTo>
                    <a:pt x="1024" y="1391"/>
                  </a:lnTo>
                  <a:lnTo>
                    <a:pt x="1048" y="1400"/>
                  </a:lnTo>
                  <a:lnTo>
                    <a:pt x="1074" y="1408"/>
                  </a:lnTo>
                  <a:lnTo>
                    <a:pt x="1100" y="1415"/>
                  </a:lnTo>
                  <a:lnTo>
                    <a:pt x="1125" y="1421"/>
                  </a:lnTo>
                  <a:lnTo>
                    <a:pt x="1151" y="1425"/>
                  </a:lnTo>
                  <a:lnTo>
                    <a:pt x="1178" y="1428"/>
                  </a:lnTo>
                  <a:lnTo>
                    <a:pt x="1203" y="1430"/>
                  </a:lnTo>
                  <a:lnTo>
                    <a:pt x="1230" y="1430"/>
                  </a:lnTo>
                  <a:lnTo>
                    <a:pt x="1255" y="1430"/>
                  </a:lnTo>
                  <a:lnTo>
                    <a:pt x="1282" y="1428"/>
                  </a:lnTo>
                  <a:lnTo>
                    <a:pt x="1308" y="1425"/>
                  </a:lnTo>
                  <a:lnTo>
                    <a:pt x="1333" y="1421"/>
                  </a:lnTo>
                  <a:lnTo>
                    <a:pt x="1359" y="1415"/>
                  </a:lnTo>
                  <a:lnTo>
                    <a:pt x="1385" y="1408"/>
                  </a:lnTo>
                  <a:lnTo>
                    <a:pt x="1410" y="1400"/>
                  </a:lnTo>
                  <a:lnTo>
                    <a:pt x="1435" y="1391"/>
                  </a:lnTo>
                  <a:lnTo>
                    <a:pt x="1459" y="1380"/>
                  </a:lnTo>
                  <a:lnTo>
                    <a:pt x="1483" y="1368"/>
                  </a:lnTo>
                  <a:lnTo>
                    <a:pt x="1507" y="1355"/>
                  </a:lnTo>
                  <a:lnTo>
                    <a:pt x="1530" y="1341"/>
                  </a:lnTo>
                  <a:lnTo>
                    <a:pt x="1553" y="1325"/>
                  </a:lnTo>
                  <a:lnTo>
                    <a:pt x="1574" y="1308"/>
                  </a:lnTo>
                  <a:lnTo>
                    <a:pt x="1596" y="1290"/>
                  </a:lnTo>
                  <a:lnTo>
                    <a:pt x="1615" y="1271"/>
                  </a:lnTo>
                  <a:lnTo>
                    <a:pt x="1635" y="1250"/>
                  </a:lnTo>
                  <a:lnTo>
                    <a:pt x="1652" y="1231"/>
                  </a:lnTo>
                  <a:lnTo>
                    <a:pt x="1669" y="1209"/>
                  </a:lnTo>
                  <a:lnTo>
                    <a:pt x="1684" y="1187"/>
                  </a:lnTo>
                  <a:lnTo>
                    <a:pt x="1698" y="1164"/>
                  </a:lnTo>
                  <a:lnTo>
                    <a:pt x="1712" y="1142"/>
                  </a:lnTo>
                  <a:lnTo>
                    <a:pt x="1723" y="1118"/>
                  </a:lnTo>
                  <a:lnTo>
                    <a:pt x="1734" y="1093"/>
                  </a:lnTo>
                  <a:lnTo>
                    <a:pt x="1743" y="1069"/>
                  </a:lnTo>
                  <a:lnTo>
                    <a:pt x="1752" y="1043"/>
                  </a:lnTo>
                  <a:lnTo>
                    <a:pt x="1759" y="1018"/>
                  </a:lnTo>
                  <a:lnTo>
                    <a:pt x="1765" y="992"/>
                  </a:lnTo>
                  <a:lnTo>
                    <a:pt x="1769" y="965"/>
                  </a:lnTo>
                  <a:lnTo>
                    <a:pt x="1772" y="939"/>
                  </a:lnTo>
                  <a:lnTo>
                    <a:pt x="1774" y="911"/>
                  </a:lnTo>
                  <a:lnTo>
                    <a:pt x="1775" y="884"/>
                  </a:lnTo>
                  <a:lnTo>
                    <a:pt x="1774" y="857"/>
                  </a:lnTo>
                  <a:lnTo>
                    <a:pt x="1773" y="832"/>
                  </a:lnTo>
                  <a:lnTo>
                    <a:pt x="1770" y="805"/>
                  </a:lnTo>
                  <a:lnTo>
                    <a:pt x="1765" y="780"/>
                  </a:lnTo>
                  <a:lnTo>
                    <a:pt x="1760" y="755"/>
                  </a:lnTo>
                  <a:lnTo>
                    <a:pt x="1754" y="729"/>
                  </a:lnTo>
                  <a:lnTo>
                    <a:pt x="1745" y="705"/>
                  </a:lnTo>
                  <a:lnTo>
                    <a:pt x="1736" y="681"/>
                  </a:lnTo>
                  <a:lnTo>
                    <a:pt x="1726" y="657"/>
                  </a:lnTo>
                  <a:lnTo>
                    <a:pt x="1715" y="634"/>
                  </a:lnTo>
                  <a:lnTo>
                    <a:pt x="1702" y="611"/>
                  </a:lnTo>
                  <a:lnTo>
                    <a:pt x="1689" y="590"/>
                  </a:lnTo>
                  <a:lnTo>
                    <a:pt x="1675" y="568"/>
                  </a:lnTo>
                  <a:lnTo>
                    <a:pt x="1659" y="547"/>
                  </a:lnTo>
                  <a:lnTo>
                    <a:pt x="1642" y="527"/>
                  </a:lnTo>
                  <a:lnTo>
                    <a:pt x="1624" y="508"/>
                  </a:lnTo>
                  <a:lnTo>
                    <a:pt x="1714" y="417"/>
                  </a:lnTo>
                  <a:lnTo>
                    <a:pt x="1827" y="428"/>
                  </a:lnTo>
                  <a:lnTo>
                    <a:pt x="1828" y="428"/>
                  </a:lnTo>
                  <a:lnTo>
                    <a:pt x="1828" y="428"/>
                  </a:lnTo>
                  <a:lnTo>
                    <a:pt x="1832" y="428"/>
                  </a:lnTo>
                  <a:lnTo>
                    <a:pt x="1835" y="427"/>
                  </a:lnTo>
                  <a:lnTo>
                    <a:pt x="1837" y="426"/>
                  </a:lnTo>
                  <a:lnTo>
                    <a:pt x="1839" y="424"/>
                  </a:lnTo>
                  <a:lnTo>
                    <a:pt x="1974" y="292"/>
                  </a:lnTo>
                  <a:lnTo>
                    <a:pt x="1977" y="288"/>
                  </a:lnTo>
                  <a:lnTo>
                    <a:pt x="1978" y="284"/>
                  </a:lnTo>
                  <a:lnTo>
                    <a:pt x="1979" y="280"/>
                  </a:lnTo>
                  <a:lnTo>
                    <a:pt x="1978" y="27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10451306" y="5799144"/>
            <a:ext cx="214313" cy="1989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349398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Объект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9031048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15" imgW="366" imgH="369" progId="TCLayout.ActiveDocument.1">
                  <p:embed/>
                </p:oleObj>
              </mc:Choice>
              <mc:Fallback>
                <p:oleObj name="think-cell Slide" r:id="rId15" imgW="366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902118" y="537251"/>
            <a:ext cx="8719112" cy="328280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latin typeface="DINPro-Black" panose="02000503030000020004" pitchFamily="50" charset="0"/>
              </a:rPr>
              <a:t>Текущее и целевое состояние в части учёта нефтяного сырья</a:t>
            </a:r>
            <a:endParaRPr lang="ru-RU" dirty="0">
              <a:latin typeface="DINPro-Black" panose="02000503030000020004" pitchFamily="50" charset="0"/>
            </a:endParaRPr>
          </a:p>
        </p:txBody>
      </p:sp>
      <p:sp>
        <p:nvSpPr>
          <p:cNvPr id="218" name="Прямоугольник 217"/>
          <p:cNvSpPr/>
          <p:nvPr/>
        </p:nvSpPr>
        <p:spPr>
          <a:xfrm>
            <a:off x="10451306" y="5799144"/>
            <a:ext cx="214313" cy="1989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109" name="Рисунок 108"/>
          <p:cNvPicPr>
            <a:picLocks/>
          </p:cNvPicPr>
          <p:nvPr/>
        </p:nvPicPr>
        <p:blipFill>
          <a:blip r:embed="rId17" r:link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146" y="1349390"/>
            <a:ext cx="1714500" cy="1514475"/>
          </a:xfrm>
          <a:prstGeom prst="rect">
            <a:avLst/>
          </a:prstGeom>
        </p:spPr>
      </p:pic>
      <p:pic>
        <p:nvPicPr>
          <p:cNvPr id="110" name="Рисунок 109"/>
          <p:cNvPicPr>
            <a:picLocks/>
          </p:cNvPicPr>
          <p:nvPr/>
        </p:nvPicPr>
        <p:blipFill>
          <a:blip r:embed="rId17" r:link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418" y="2360681"/>
            <a:ext cx="1714500" cy="1514475"/>
          </a:xfrm>
          <a:prstGeom prst="rect">
            <a:avLst/>
          </a:prstGeom>
        </p:spPr>
      </p:pic>
      <p:pic>
        <p:nvPicPr>
          <p:cNvPr id="111" name="Рисунок 110"/>
          <p:cNvPicPr>
            <a:picLocks/>
          </p:cNvPicPr>
          <p:nvPr/>
        </p:nvPicPr>
        <p:blipFill>
          <a:blip r:embed="rId19" r:link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5128" y="1558525"/>
            <a:ext cx="1921669" cy="1664494"/>
          </a:xfrm>
          <a:prstGeom prst="rect">
            <a:avLst/>
          </a:prstGeom>
        </p:spPr>
      </p:pic>
      <p:pic>
        <p:nvPicPr>
          <p:cNvPr id="112" name="Рисунок 111"/>
          <p:cNvPicPr>
            <a:picLocks/>
          </p:cNvPicPr>
          <p:nvPr/>
        </p:nvPicPr>
        <p:blipFill>
          <a:blip r:embed="rId19" r:link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899" y="2558689"/>
            <a:ext cx="1921669" cy="1664494"/>
          </a:xfrm>
          <a:prstGeom prst="rect">
            <a:avLst/>
          </a:prstGeom>
        </p:spPr>
      </p:pic>
      <p:cxnSp>
        <p:nvCxnSpPr>
          <p:cNvPr id="130" name="Прямая со стрелкой 129"/>
          <p:cNvCxnSpPr/>
          <p:nvPr/>
        </p:nvCxnSpPr>
        <p:spPr>
          <a:xfrm flipV="1">
            <a:off x="8695134" y="2797983"/>
            <a:ext cx="409618" cy="533"/>
          </a:xfrm>
          <a:prstGeom prst="straightConnector1">
            <a:avLst/>
          </a:prstGeom>
          <a:ln w="28575">
            <a:solidFill>
              <a:srgbClr val="2378D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 стрелкой 144"/>
          <p:cNvCxnSpPr/>
          <p:nvPr/>
        </p:nvCxnSpPr>
        <p:spPr>
          <a:xfrm flipV="1">
            <a:off x="3876079" y="3413882"/>
            <a:ext cx="666185" cy="13097"/>
          </a:xfrm>
          <a:prstGeom prst="straightConnector1">
            <a:avLst/>
          </a:prstGeom>
          <a:ln w="28575">
            <a:solidFill>
              <a:srgbClr val="2378D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 стрелкой 157"/>
          <p:cNvCxnSpPr/>
          <p:nvPr/>
        </p:nvCxnSpPr>
        <p:spPr>
          <a:xfrm>
            <a:off x="4234829" y="2409194"/>
            <a:ext cx="0" cy="1039496"/>
          </a:xfrm>
          <a:prstGeom prst="straightConnector1">
            <a:avLst/>
          </a:prstGeom>
          <a:ln w="28575">
            <a:solidFill>
              <a:srgbClr val="2378D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Соединительная линия уступом 172"/>
          <p:cNvCxnSpPr/>
          <p:nvPr/>
        </p:nvCxnSpPr>
        <p:spPr>
          <a:xfrm flipV="1">
            <a:off x="6629530" y="2790618"/>
            <a:ext cx="965196" cy="560875"/>
          </a:xfrm>
          <a:prstGeom prst="bentConnector3">
            <a:avLst>
              <a:gd name="adj1" fmla="val 50000"/>
            </a:avLst>
          </a:prstGeom>
          <a:ln w="28575">
            <a:solidFill>
              <a:srgbClr val="2378D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Соединительная линия уступом 175"/>
          <p:cNvCxnSpPr/>
          <p:nvPr/>
        </p:nvCxnSpPr>
        <p:spPr>
          <a:xfrm>
            <a:off x="6510337" y="2232123"/>
            <a:ext cx="1095598" cy="439819"/>
          </a:xfrm>
          <a:prstGeom prst="bentConnector3">
            <a:avLst>
              <a:gd name="adj1" fmla="val 54750"/>
            </a:avLst>
          </a:prstGeom>
          <a:ln w="28575">
            <a:solidFill>
              <a:srgbClr val="2378D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Прямая со стрелкой 198"/>
          <p:cNvCxnSpPr/>
          <p:nvPr/>
        </p:nvCxnSpPr>
        <p:spPr>
          <a:xfrm flipV="1">
            <a:off x="2567744" y="2443869"/>
            <a:ext cx="325773" cy="10645"/>
          </a:xfrm>
          <a:prstGeom prst="straightConnector1">
            <a:avLst/>
          </a:prstGeom>
          <a:ln w="28575">
            <a:solidFill>
              <a:srgbClr val="2378D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1" name="Рисунок 220"/>
          <p:cNvPicPr>
            <a:picLocks/>
          </p:cNvPicPr>
          <p:nvPr/>
        </p:nvPicPr>
        <p:blipFill>
          <a:blip r:embed="rId21" r:link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926050" y="3064842"/>
            <a:ext cx="1265040" cy="698301"/>
          </a:xfrm>
          <a:prstGeom prst="rect">
            <a:avLst/>
          </a:prstGeom>
        </p:spPr>
      </p:pic>
      <p:sp>
        <p:nvSpPr>
          <p:cNvPr id="241" name="Прямоугольник 240"/>
          <p:cNvSpPr/>
          <p:nvPr/>
        </p:nvSpPr>
        <p:spPr>
          <a:xfrm>
            <a:off x="1588758" y="1941187"/>
            <a:ext cx="711396" cy="182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sz="788" dirty="0">
                <a:solidFill>
                  <a:prstClr val="black"/>
                </a:solidFill>
                <a:latin typeface="DINPro-Regular" panose="02000503030000020004" pitchFamily="50" charset="0"/>
              </a:rPr>
              <a:t>Нефть</a:t>
            </a:r>
          </a:p>
        </p:txBody>
      </p:sp>
      <p:sp>
        <p:nvSpPr>
          <p:cNvPr id="242" name="Прямоугольник 241"/>
          <p:cNvSpPr/>
          <p:nvPr/>
        </p:nvSpPr>
        <p:spPr>
          <a:xfrm>
            <a:off x="1559764" y="3088401"/>
            <a:ext cx="711396" cy="182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sz="788" dirty="0">
                <a:solidFill>
                  <a:prstClr val="black"/>
                </a:solidFill>
                <a:latin typeface="DINPro-Regular" panose="02000503030000020004" pitchFamily="50" charset="0"/>
              </a:rPr>
              <a:t>СГК</a:t>
            </a:r>
          </a:p>
        </p:txBody>
      </p:sp>
      <p:sp>
        <p:nvSpPr>
          <p:cNvPr id="392" name="Прямоугольник 391"/>
          <p:cNvSpPr/>
          <p:nvPr/>
        </p:nvSpPr>
        <p:spPr>
          <a:xfrm>
            <a:off x="3913162" y="1192539"/>
            <a:ext cx="2037309" cy="2788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sz="788" b="1" dirty="0">
                <a:solidFill>
                  <a:prstClr val="black"/>
                </a:solidFill>
                <a:latin typeface="DINPro-Regular" panose="02000503030000020004" pitchFamily="50" charset="0"/>
              </a:rPr>
              <a:t>Первая установка подготовки и/или переработки НС</a:t>
            </a:r>
          </a:p>
        </p:txBody>
      </p:sp>
      <p:sp>
        <p:nvSpPr>
          <p:cNvPr id="182" name="Овал 181"/>
          <p:cNvSpPr/>
          <p:nvPr/>
        </p:nvSpPr>
        <p:spPr>
          <a:xfrm>
            <a:off x="3897429" y="3310386"/>
            <a:ext cx="219595" cy="220086"/>
          </a:xfrm>
          <a:prstGeom prst="ellipse">
            <a:avLst/>
          </a:prstGeom>
          <a:ln w="3175">
            <a:solidFill>
              <a:schemeClr val="bg2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9492609" y="3536728"/>
            <a:ext cx="1075552" cy="1110699"/>
            <a:chOff x="10841038" y="4756313"/>
            <a:chExt cx="1434069" cy="1480932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10841038" y="4756313"/>
              <a:ext cx="1344613" cy="1480932"/>
            </a:xfrm>
            <a:prstGeom prst="rect">
              <a:avLst/>
            </a:prstGeom>
            <a:solidFill>
              <a:schemeClr val="accent3">
                <a:alpha val="16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5" name="Овал 204"/>
            <p:cNvSpPr/>
            <p:nvPr/>
          </p:nvSpPr>
          <p:spPr>
            <a:xfrm>
              <a:off x="10920707" y="4836398"/>
              <a:ext cx="291313" cy="274175"/>
            </a:xfrm>
            <a:prstGeom prst="ellipse">
              <a:avLst/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6" name="Прямоугольник 205"/>
            <p:cNvSpPr/>
            <p:nvPr/>
          </p:nvSpPr>
          <p:spPr>
            <a:xfrm>
              <a:off x="10932657" y="4823656"/>
              <a:ext cx="1259343" cy="30317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ru-RU" sz="600" dirty="0">
                  <a:solidFill>
                    <a:prstClr val="black"/>
                  </a:solidFill>
                  <a:latin typeface="DINPro-Regular" panose="02000503030000020004" pitchFamily="50" charset="0"/>
                </a:rPr>
                <a:t>- в наличии</a:t>
              </a:r>
            </a:p>
          </p:txBody>
        </p:sp>
        <p:sp>
          <p:nvSpPr>
            <p:cNvPr id="209" name="Прямоугольник 208"/>
            <p:cNvSpPr/>
            <p:nvPr/>
          </p:nvSpPr>
          <p:spPr>
            <a:xfrm>
              <a:off x="10934286" y="5017034"/>
              <a:ext cx="1324389" cy="2928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ru-RU" sz="600" dirty="0">
                  <a:solidFill>
                    <a:prstClr val="black"/>
                  </a:solidFill>
                  <a:latin typeface="DINPro-Regular" panose="02000503030000020004" pitchFamily="50" charset="0"/>
                </a:rPr>
                <a:t>- </a:t>
              </a:r>
            </a:p>
          </p:txBody>
        </p:sp>
        <p:sp>
          <p:nvSpPr>
            <p:cNvPr id="212" name="Овал 211"/>
            <p:cNvSpPr/>
            <p:nvPr/>
          </p:nvSpPr>
          <p:spPr>
            <a:xfrm>
              <a:off x="10917854" y="5149250"/>
              <a:ext cx="299716" cy="306731"/>
            </a:xfrm>
            <a:prstGeom prst="ellipse">
              <a:avLst/>
            </a:prstGeom>
            <a:solidFill>
              <a:srgbClr val="FF0000"/>
            </a:solidFill>
            <a:ln w="3175">
              <a:solidFill>
                <a:srgbClr val="FF0000"/>
              </a:solidFill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ru-RU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3" name="Прямоугольник 212"/>
            <p:cNvSpPr/>
            <p:nvPr/>
          </p:nvSpPr>
          <p:spPr>
            <a:xfrm>
              <a:off x="11122919" y="5160444"/>
              <a:ext cx="1152188" cy="2928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ru-RU" sz="600" dirty="0">
                  <a:solidFill>
                    <a:prstClr val="black"/>
                  </a:solidFill>
                  <a:latin typeface="DINPro-Regular" panose="02000503030000020004" pitchFamily="50" charset="0"/>
                </a:rPr>
                <a:t>- в плане 2020-2021г.</a:t>
              </a:r>
            </a:p>
          </p:txBody>
        </p:sp>
        <p:cxnSp>
          <p:nvCxnSpPr>
            <p:cNvPr id="6" name="Прямая со стрелкой 5"/>
            <p:cNvCxnSpPr/>
            <p:nvPr/>
          </p:nvCxnSpPr>
          <p:spPr>
            <a:xfrm>
              <a:off x="10984758" y="5597330"/>
              <a:ext cx="235654" cy="0"/>
            </a:xfrm>
            <a:prstGeom prst="straightConnector1">
              <a:avLst/>
            </a:prstGeom>
            <a:ln w="28575">
              <a:solidFill>
                <a:srgbClr val="2378D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7" name="Прямоугольник 196"/>
            <p:cNvSpPr/>
            <p:nvPr/>
          </p:nvSpPr>
          <p:spPr>
            <a:xfrm>
              <a:off x="11127120" y="5439243"/>
              <a:ext cx="802943" cy="2928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ru-RU" sz="600" dirty="0">
                  <a:solidFill>
                    <a:prstClr val="black"/>
                  </a:solidFill>
                  <a:latin typeface="DINPro-Regular" panose="02000503030000020004" pitchFamily="50" charset="0"/>
                </a:rPr>
                <a:t>- поток в НПЗ</a:t>
              </a:r>
            </a:p>
          </p:txBody>
        </p:sp>
        <p:cxnSp>
          <p:nvCxnSpPr>
            <p:cNvPr id="216" name="Прямая со стрелкой 215"/>
            <p:cNvCxnSpPr/>
            <p:nvPr/>
          </p:nvCxnSpPr>
          <p:spPr>
            <a:xfrm>
              <a:off x="10977714" y="5904241"/>
              <a:ext cx="235655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217" name="Прямоугольник 216"/>
            <p:cNvSpPr/>
            <p:nvPr/>
          </p:nvSpPr>
          <p:spPr>
            <a:xfrm>
              <a:off x="11122919" y="5734800"/>
              <a:ext cx="907718" cy="2928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ru-RU" sz="600" dirty="0">
                  <a:solidFill>
                    <a:prstClr val="black"/>
                  </a:solidFill>
                  <a:latin typeface="DINPro-Regular" panose="02000503030000020004" pitchFamily="50" charset="0"/>
                </a:rPr>
                <a:t>- поток вне НПЗ</a:t>
              </a:r>
            </a:p>
          </p:txBody>
        </p:sp>
      </p:grpSp>
      <p:sp>
        <p:nvSpPr>
          <p:cNvPr id="226" name="TextBox 225"/>
          <p:cNvSpPr txBox="1"/>
          <p:nvPr>
            <p:custDataLst>
              <p:tags r:id="rId3"/>
            </p:custDataLst>
          </p:nvPr>
        </p:nvSpPr>
        <p:spPr>
          <a:xfrm>
            <a:off x="2231662" y="2433684"/>
            <a:ext cx="73866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СИКН </a:t>
            </a:r>
          </a:p>
          <a:p>
            <a:pPr algn="ctr">
              <a:defRPr/>
            </a:pPr>
            <a:r>
              <a:rPr lang="ru-RU" sz="6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ПАО «</a:t>
            </a:r>
            <a:r>
              <a:rPr lang="ru-RU" sz="600" dirty="0" err="1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Транснефть</a:t>
            </a:r>
            <a:r>
              <a:rPr lang="ru-RU" sz="6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»</a:t>
            </a:r>
          </a:p>
          <a:p>
            <a:pPr algn="ctr">
              <a:defRPr/>
            </a:pPr>
            <a:r>
              <a:rPr lang="ru-RU" sz="6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0,25% - брутто</a:t>
            </a:r>
          </a:p>
          <a:p>
            <a:pPr algn="ctr">
              <a:defRPr/>
            </a:pPr>
            <a:r>
              <a:rPr lang="ru-RU" sz="6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0,35% - нетто </a:t>
            </a:r>
          </a:p>
        </p:txBody>
      </p:sp>
      <p:sp>
        <p:nvSpPr>
          <p:cNvPr id="229" name="Прямоугольник 228"/>
          <p:cNvSpPr/>
          <p:nvPr>
            <p:custDataLst>
              <p:tags r:id="rId4"/>
            </p:custDataLst>
          </p:nvPr>
        </p:nvSpPr>
        <p:spPr>
          <a:xfrm>
            <a:off x="2212602" y="2091664"/>
            <a:ext cx="252000" cy="198000"/>
          </a:xfrm>
          <a:prstGeom prst="rect">
            <a:avLst/>
          </a:prstGeom>
          <a:solidFill>
            <a:schemeClr val="lt1"/>
          </a:solidFill>
          <a:ln w="3175"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0" rIns="36000" bIns="0" rtlCol="0" anchor="ctr"/>
          <a:lstStyle/>
          <a:p>
            <a:pPr algn="ctr">
              <a:defRPr/>
            </a:pPr>
            <a:r>
              <a:rPr lang="ru-RU" sz="5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М</a:t>
            </a:r>
            <a:r>
              <a:rPr lang="en-US" sz="5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, V, t°, </a:t>
            </a:r>
            <a:r>
              <a:rPr lang="el-GR" sz="5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ρ</a:t>
            </a:r>
            <a:r>
              <a:rPr lang="en-US" sz="5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 </a:t>
            </a:r>
            <a:endParaRPr lang="ru-RU" sz="500" dirty="0">
              <a:solidFill>
                <a:srgbClr val="0070BA">
                  <a:lumMod val="75000"/>
                </a:srgbClr>
              </a:solidFill>
              <a:latin typeface="DINPro-Regular" panose="02000503030000020004" pitchFamily="50" charset="0"/>
              <a:cs typeface="Arial" panose="020B0604020202020204" pitchFamily="34" charset="0"/>
            </a:endParaRPr>
          </a:p>
        </p:txBody>
      </p:sp>
      <p:sp>
        <p:nvSpPr>
          <p:cNvPr id="232" name="Прямоугольник 231"/>
          <p:cNvSpPr/>
          <p:nvPr>
            <p:custDataLst>
              <p:tags r:id="rId5"/>
            </p:custDataLst>
          </p:nvPr>
        </p:nvSpPr>
        <p:spPr>
          <a:xfrm>
            <a:off x="2191590" y="3135026"/>
            <a:ext cx="493120" cy="198000"/>
          </a:xfrm>
          <a:prstGeom prst="rect">
            <a:avLst/>
          </a:prstGeom>
          <a:solidFill>
            <a:schemeClr val="lt1"/>
          </a:solidFill>
          <a:ln w="3175"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0" rIns="36000" bIns="0" rtlCol="0" anchor="ctr"/>
          <a:lstStyle/>
          <a:p>
            <a:pPr algn="ctr">
              <a:defRPr/>
            </a:pPr>
            <a:r>
              <a:rPr lang="ru-RU" sz="5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ТТН</a:t>
            </a:r>
          </a:p>
          <a:p>
            <a:pPr algn="ctr">
              <a:defRPr/>
            </a:pPr>
            <a:r>
              <a:rPr lang="ru-RU" sz="5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Поставщика</a:t>
            </a:r>
            <a:r>
              <a:rPr lang="en-US" sz="5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 </a:t>
            </a:r>
            <a:endParaRPr lang="ru-RU" sz="500" dirty="0">
              <a:solidFill>
                <a:srgbClr val="0070BA">
                  <a:lumMod val="75000"/>
                </a:srgbClr>
              </a:solidFill>
              <a:latin typeface="DINPro-Regular" panose="02000503030000020004" pitchFamily="50" charset="0"/>
              <a:cs typeface="Arial" panose="020B0604020202020204" pitchFamily="34" charset="0"/>
            </a:endParaRPr>
          </a:p>
        </p:txBody>
      </p:sp>
      <p:sp>
        <p:nvSpPr>
          <p:cNvPr id="233" name="Picture127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9035653" y="1811843"/>
            <a:ext cx="577616" cy="461879"/>
          </a:xfrm>
          <a:custGeom>
            <a:avLst/>
            <a:gdLst>
              <a:gd name="T0" fmla="*/ 994 w 1078"/>
              <a:gd name="T1" fmla="*/ 715 h 862"/>
              <a:gd name="T2" fmla="*/ 973 w 1078"/>
              <a:gd name="T3" fmla="*/ 693 h 862"/>
              <a:gd name="T4" fmla="*/ 1006 w 1078"/>
              <a:gd name="T5" fmla="*/ 611 h 862"/>
              <a:gd name="T6" fmla="*/ 970 w 1078"/>
              <a:gd name="T7" fmla="*/ 506 h 862"/>
              <a:gd name="T8" fmla="*/ 955 w 1078"/>
              <a:gd name="T9" fmla="*/ 435 h 862"/>
              <a:gd name="T10" fmla="*/ 916 w 1078"/>
              <a:gd name="T11" fmla="*/ 376 h 862"/>
              <a:gd name="T12" fmla="*/ 859 w 1078"/>
              <a:gd name="T13" fmla="*/ 337 h 862"/>
              <a:gd name="T14" fmla="*/ 788 w 1078"/>
              <a:gd name="T15" fmla="*/ 323 h 862"/>
              <a:gd name="T16" fmla="*/ 683 w 1078"/>
              <a:gd name="T17" fmla="*/ 323 h 862"/>
              <a:gd name="T18" fmla="*/ 599 w 1078"/>
              <a:gd name="T19" fmla="*/ 306 h 862"/>
              <a:gd name="T20" fmla="*/ 503 w 1078"/>
              <a:gd name="T21" fmla="*/ 251 h 862"/>
              <a:gd name="T22" fmla="*/ 479 w 1078"/>
              <a:gd name="T23" fmla="*/ 306 h 862"/>
              <a:gd name="T24" fmla="*/ 395 w 1078"/>
              <a:gd name="T25" fmla="*/ 288 h 862"/>
              <a:gd name="T26" fmla="*/ 290 w 1078"/>
              <a:gd name="T27" fmla="*/ 323 h 862"/>
              <a:gd name="T28" fmla="*/ 219 w 1078"/>
              <a:gd name="T29" fmla="*/ 337 h 862"/>
              <a:gd name="T30" fmla="*/ 161 w 1078"/>
              <a:gd name="T31" fmla="*/ 376 h 862"/>
              <a:gd name="T32" fmla="*/ 123 w 1078"/>
              <a:gd name="T33" fmla="*/ 435 h 862"/>
              <a:gd name="T34" fmla="*/ 108 w 1078"/>
              <a:gd name="T35" fmla="*/ 506 h 862"/>
              <a:gd name="T36" fmla="*/ 108 w 1078"/>
              <a:gd name="T37" fmla="*/ 611 h 862"/>
              <a:gd name="T38" fmla="*/ 105 w 1078"/>
              <a:gd name="T39" fmla="*/ 693 h 862"/>
              <a:gd name="T40" fmla="*/ 84 w 1078"/>
              <a:gd name="T41" fmla="*/ 715 h 862"/>
              <a:gd name="T42" fmla="*/ 0 w 1078"/>
              <a:gd name="T43" fmla="*/ 862 h 862"/>
              <a:gd name="T44" fmla="*/ 106 w 1078"/>
              <a:gd name="T45" fmla="*/ 858 h 862"/>
              <a:gd name="T46" fmla="*/ 171 w 1078"/>
              <a:gd name="T47" fmla="*/ 832 h 862"/>
              <a:gd name="T48" fmla="*/ 220 w 1078"/>
              <a:gd name="T49" fmla="*/ 782 h 862"/>
              <a:gd name="T50" fmla="*/ 248 w 1078"/>
              <a:gd name="T51" fmla="*/ 716 h 862"/>
              <a:gd name="T52" fmla="*/ 288 w 1078"/>
              <a:gd name="T53" fmla="*/ 611 h 862"/>
              <a:gd name="T54" fmla="*/ 252 w 1078"/>
              <a:gd name="T55" fmla="*/ 507 h 862"/>
              <a:gd name="T56" fmla="*/ 263 w 1078"/>
              <a:gd name="T57" fmla="*/ 479 h 862"/>
              <a:gd name="T58" fmla="*/ 293 w 1078"/>
              <a:gd name="T59" fmla="*/ 466 h 862"/>
              <a:gd name="T60" fmla="*/ 395 w 1078"/>
              <a:gd name="T61" fmla="*/ 466 h 862"/>
              <a:gd name="T62" fmla="*/ 475 w 1078"/>
              <a:gd name="T63" fmla="*/ 482 h 862"/>
              <a:gd name="T64" fmla="*/ 516 w 1078"/>
              <a:gd name="T65" fmla="*/ 501 h 862"/>
              <a:gd name="T66" fmla="*/ 551 w 1078"/>
              <a:gd name="T67" fmla="*/ 502 h 862"/>
              <a:gd name="T68" fmla="*/ 593 w 1078"/>
              <a:gd name="T69" fmla="*/ 488 h 862"/>
              <a:gd name="T70" fmla="*/ 683 w 1078"/>
              <a:gd name="T71" fmla="*/ 466 h 862"/>
              <a:gd name="T72" fmla="*/ 785 w 1078"/>
              <a:gd name="T73" fmla="*/ 466 h 862"/>
              <a:gd name="T74" fmla="*/ 808 w 1078"/>
              <a:gd name="T75" fmla="*/ 474 h 862"/>
              <a:gd name="T76" fmla="*/ 826 w 1078"/>
              <a:gd name="T77" fmla="*/ 499 h 862"/>
              <a:gd name="T78" fmla="*/ 790 w 1078"/>
              <a:gd name="T79" fmla="*/ 611 h 862"/>
              <a:gd name="T80" fmla="*/ 827 w 1078"/>
              <a:gd name="T81" fmla="*/ 698 h 862"/>
              <a:gd name="T82" fmla="*/ 849 w 1078"/>
              <a:gd name="T83" fmla="*/ 767 h 862"/>
              <a:gd name="T84" fmla="*/ 893 w 1078"/>
              <a:gd name="T85" fmla="*/ 820 h 862"/>
              <a:gd name="T86" fmla="*/ 954 w 1078"/>
              <a:gd name="T87" fmla="*/ 854 h 862"/>
              <a:gd name="T88" fmla="*/ 1078 w 1078"/>
              <a:gd name="T89" fmla="*/ 862 h 862"/>
              <a:gd name="T90" fmla="*/ 503 w 1078"/>
              <a:gd name="T91" fmla="*/ 216 h 862"/>
              <a:gd name="T92" fmla="*/ 754 w 1078"/>
              <a:gd name="T93" fmla="*/ 35 h 862"/>
              <a:gd name="T94" fmla="*/ 383 w 1078"/>
              <a:gd name="T95" fmla="*/ 35 h 862"/>
              <a:gd name="T96" fmla="*/ 504 w 1078"/>
              <a:gd name="T97" fmla="*/ 108 h 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78" h="862">
                <a:moveTo>
                  <a:pt x="1011" y="719"/>
                </a:moveTo>
                <a:lnTo>
                  <a:pt x="1011" y="719"/>
                </a:lnTo>
                <a:lnTo>
                  <a:pt x="1002" y="717"/>
                </a:lnTo>
                <a:lnTo>
                  <a:pt x="994" y="715"/>
                </a:lnTo>
                <a:lnTo>
                  <a:pt x="988" y="711"/>
                </a:lnTo>
                <a:lnTo>
                  <a:pt x="982" y="706"/>
                </a:lnTo>
                <a:lnTo>
                  <a:pt x="977" y="701"/>
                </a:lnTo>
                <a:lnTo>
                  <a:pt x="973" y="693"/>
                </a:lnTo>
                <a:lnTo>
                  <a:pt x="970" y="686"/>
                </a:lnTo>
                <a:lnTo>
                  <a:pt x="970" y="678"/>
                </a:lnTo>
                <a:lnTo>
                  <a:pt x="970" y="611"/>
                </a:lnTo>
                <a:lnTo>
                  <a:pt x="1006" y="611"/>
                </a:lnTo>
                <a:lnTo>
                  <a:pt x="1006" y="574"/>
                </a:lnTo>
                <a:lnTo>
                  <a:pt x="970" y="574"/>
                </a:lnTo>
                <a:lnTo>
                  <a:pt x="970" y="506"/>
                </a:lnTo>
                <a:lnTo>
                  <a:pt x="970" y="506"/>
                </a:lnTo>
                <a:lnTo>
                  <a:pt x="969" y="487"/>
                </a:lnTo>
                <a:lnTo>
                  <a:pt x="967" y="469"/>
                </a:lnTo>
                <a:lnTo>
                  <a:pt x="961" y="451"/>
                </a:lnTo>
                <a:lnTo>
                  <a:pt x="955" y="435"/>
                </a:lnTo>
                <a:lnTo>
                  <a:pt x="948" y="418"/>
                </a:lnTo>
                <a:lnTo>
                  <a:pt x="939" y="403"/>
                </a:lnTo>
                <a:lnTo>
                  <a:pt x="929" y="389"/>
                </a:lnTo>
                <a:lnTo>
                  <a:pt x="916" y="376"/>
                </a:lnTo>
                <a:lnTo>
                  <a:pt x="903" y="365"/>
                </a:lnTo>
                <a:lnTo>
                  <a:pt x="889" y="354"/>
                </a:lnTo>
                <a:lnTo>
                  <a:pt x="874" y="345"/>
                </a:lnTo>
                <a:lnTo>
                  <a:pt x="859" y="337"/>
                </a:lnTo>
                <a:lnTo>
                  <a:pt x="841" y="331"/>
                </a:lnTo>
                <a:lnTo>
                  <a:pt x="825" y="327"/>
                </a:lnTo>
                <a:lnTo>
                  <a:pt x="806" y="325"/>
                </a:lnTo>
                <a:lnTo>
                  <a:pt x="788" y="323"/>
                </a:lnTo>
                <a:lnTo>
                  <a:pt x="718" y="323"/>
                </a:lnTo>
                <a:lnTo>
                  <a:pt x="718" y="288"/>
                </a:lnTo>
                <a:lnTo>
                  <a:pt x="683" y="288"/>
                </a:lnTo>
                <a:lnTo>
                  <a:pt x="683" y="323"/>
                </a:lnTo>
                <a:lnTo>
                  <a:pt x="619" y="323"/>
                </a:lnTo>
                <a:lnTo>
                  <a:pt x="619" y="323"/>
                </a:lnTo>
                <a:lnTo>
                  <a:pt x="609" y="313"/>
                </a:lnTo>
                <a:lnTo>
                  <a:pt x="599" y="306"/>
                </a:lnTo>
                <a:lnTo>
                  <a:pt x="588" y="299"/>
                </a:lnTo>
                <a:lnTo>
                  <a:pt x="575" y="294"/>
                </a:lnTo>
                <a:lnTo>
                  <a:pt x="575" y="251"/>
                </a:lnTo>
                <a:lnTo>
                  <a:pt x="503" y="251"/>
                </a:lnTo>
                <a:lnTo>
                  <a:pt x="503" y="294"/>
                </a:lnTo>
                <a:lnTo>
                  <a:pt x="503" y="294"/>
                </a:lnTo>
                <a:lnTo>
                  <a:pt x="490" y="299"/>
                </a:lnTo>
                <a:lnTo>
                  <a:pt x="479" y="306"/>
                </a:lnTo>
                <a:lnTo>
                  <a:pt x="469" y="313"/>
                </a:lnTo>
                <a:lnTo>
                  <a:pt x="459" y="323"/>
                </a:lnTo>
                <a:lnTo>
                  <a:pt x="395" y="323"/>
                </a:lnTo>
                <a:lnTo>
                  <a:pt x="395" y="288"/>
                </a:lnTo>
                <a:lnTo>
                  <a:pt x="360" y="288"/>
                </a:lnTo>
                <a:lnTo>
                  <a:pt x="360" y="323"/>
                </a:lnTo>
                <a:lnTo>
                  <a:pt x="290" y="323"/>
                </a:lnTo>
                <a:lnTo>
                  <a:pt x="290" y="323"/>
                </a:lnTo>
                <a:lnTo>
                  <a:pt x="272" y="325"/>
                </a:lnTo>
                <a:lnTo>
                  <a:pt x="253" y="327"/>
                </a:lnTo>
                <a:lnTo>
                  <a:pt x="236" y="331"/>
                </a:lnTo>
                <a:lnTo>
                  <a:pt x="219" y="337"/>
                </a:lnTo>
                <a:lnTo>
                  <a:pt x="204" y="345"/>
                </a:lnTo>
                <a:lnTo>
                  <a:pt x="189" y="354"/>
                </a:lnTo>
                <a:lnTo>
                  <a:pt x="175" y="365"/>
                </a:lnTo>
                <a:lnTo>
                  <a:pt x="161" y="376"/>
                </a:lnTo>
                <a:lnTo>
                  <a:pt x="149" y="389"/>
                </a:lnTo>
                <a:lnTo>
                  <a:pt x="139" y="403"/>
                </a:lnTo>
                <a:lnTo>
                  <a:pt x="130" y="418"/>
                </a:lnTo>
                <a:lnTo>
                  <a:pt x="123" y="435"/>
                </a:lnTo>
                <a:lnTo>
                  <a:pt x="117" y="451"/>
                </a:lnTo>
                <a:lnTo>
                  <a:pt x="111" y="469"/>
                </a:lnTo>
                <a:lnTo>
                  <a:pt x="109" y="487"/>
                </a:lnTo>
                <a:lnTo>
                  <a:pt x="108" y="506"/>
                </a:lnTo>
                <a:lnTo>
                  <a:pt x="108" y="574"/>
                </a:lnTo>
                <a:lnTo>
                  <a:pt x="72" y="574"/>
                </a:lnTo>
                <a:lnTo>
                  <a:pt x="72" y="611"/>
                </a:lnTo>
                <a:lnTo>
                  <a:pt x="108" y="611"/>
                </a:lnTo>
                <a:lnTo>
                  <a:pt x="108" y="678"/>
                </a:lnTo>
                <a:lnTo>
                  <a:pt x="108" y="678"/>
                </a:lnTo>
                <a:lnTo>
                  <a:pt x="108" y="686"/>
                </a:lnTo>
                <a:lnTo>
                  <a:pt x="105" y="693"/>
                </a:lnTo>
                <a:lnTo>
                  <a:pt x="101" y="701"/>
                </a:lnTo>
                <a:lnTo>
                  <a:pt x="96" y="706"/>
                </a:lnTo>
                <a:lnTo>
                  <a:pt x="90" y="711"/>
                </a:lnTo>
                <a:lnTo>
                  <a:pt x="84" y="715"/>
                </a:lnTo>
                <a:lnTo>
                  <a:pt x="76" y="717"/>
                </a:lnTo>
                <a:lnTo>
                  <a:pt x="67" y="719"/>
                </a:lnTo>
                <a:lnTo>
                  <a:pt x="0" y="719"/>
                </a:lnTo>
                <a:lnTo>
                  <a:pt x="0" y="862"/>
                </a:lnTo>
                <a:lnTo>
                  <a:pt x="70" y="862"/>
                </a:lnTo>
                <a:lnTo>
                  <a:pt x="70" y="862"/>
                </a:lnTo>
                <a:lnTo>
                  <a:pt x="87" y="861"/>
                </a:lnTo>
                <a:lnTo>
                  <a:pt x="106" y="858"/>
                </a:lnTo>
                <a:lnTo>
                  <a:pt x="123" y="854"/>
                </a:lnTo>
                <a:lnTo>
                  <a:pt x="141" y="848"/>
                </a:lnTo>
                <a:lnTo>
                  <a:pt x="156" y="840"/>
                </a:lnTo>
                <a:lnTo>
                  <a:pt x="171" y="832"/>
                </a:lnTo>
                <a:lnTo>
                  <a:pt x="185" y="820"/>
                </a:lnTo>
                <a:lnTo>
                  <a:pt x="198" y="809"/>
                </a:lnTo>
                <a:lnTo>
                  <a:pt x="210" y="796"/>
                </a:lnTo>
                <a:lnTo>
                  <a:pt x="220" y="782"/>
                </a:lnTo>
                <a:lnTo>
                  <a:pt x="229" y="767"/>
                </a:lnTo>
                <a:lnTo>
                  <a:pt x="237" y="750"/>
                </a:lnTo>
                <a:lnTo>
                  <a:pt x="243" y="734"/>
                </a:lnTo>
                <a:lnTo>
                  <a:pt x="248" y="716"/>
                </a:lnTo>
                <a:lnTo>
                  <a:pt x="251" y="698"/>
                </a:lnTo>
                <a:lnTo>
                  <a:pt x="252" y="679"/>
                </a:lnTo>
                <a:lnTo>
                  <a:pt x="252" y="611"/>
                </a:lnTo>
                <a:lnTo>
                  <a:pt x="288" y="611"/>
                </a:lnTo>
                <a:lnTo>
                  <a:pt x="288" y="574"/>
                </a:lnTo>
                <a:lnTo>
                  <a:pt x="252" y="574"/>
                </a:lnTo>
                <a:lnTo>
                  <a:pt x="252" y="507"/>
                </a:lnTo>
                <a:lnTo>
                  <a:pt x="252" y="507"/>
                </a:lnTo>
                <a:lnTo>
                  <a:pt x="252" y="499"/>
                </a:lnTo>
                <a:lnTo>
                  <a:pt x="255" y="492"/>
                </a:lnTo>
                <a:lnTo>
                  <a:pt x="258" y="484"/>
                </a:lnTo>
                <a:lnTo>
                  <a:pt x="263" y="479"/>
                </a:lnTo>
                <a:lnTo>
                  <a:pt x="270" y="474"/>
                </a:lnTo>
                <a:lnTo>
                  <a:pt x="276" y="470"/>
                </a:lnTo>
                <a:lnTo>
                  <a:pt x="284" y="468"/>
                </a:lnTo>
                <a:lnTo>
                  <a:pt x="293" y="466"/>
                </a:lnTo>
                <a:lnTo>
                  <a:pt x="360" y="466"/>
                </a:lnTo>
                <a:lnTo>
                  <a:pt x="360" y="503"/>
                </a:lnTo>
                <a:lnTo>
                  <a:pt x="395" y="503"/>
                </a:lnTo>
                <a:lnTo>
                  <a:pt x="395" y="466"/>
                </a:lnTo>
                <a:lnTo>
                  <a:pt x="459" y="466"/>
                </a:lnTo>
                <a:lnTo>
                  <a:pt x="459" y="466"/>
                </a:lnTo>
                <a:lnTo>
                  <a:pt x="466" y="474"/>
                </a:lnTo>
                <a:lnTo>
                  <a:pt x="475" y="482"/>
                </a:lnTo>
                <a:lnTo>
                  <a:pt x="484" y="488"/>
                </a:lnTo>
                <a:lnTo>
                  <a:pt x="494" y="493"/>
                </a:lnTo>
                <a:lnTo>
                  <a:pt x="504" y="497"/>
                </a:lnTo>
                <a:lnTo>
                  <a:pt x="516" y="501"/>
                </a:lnTo>
                <a:lnTo>
                  <a:pt x="527" y="502"/>
                </a:lnTo>
                <a:lnTo>
                  <a:pt x="538" y="503"/>
                </a:lnTo>
                <a:lnTo>
                  <a:pt x="538" y="503"/>
                </a:lnTo>
                <a:lnTo>
                  <a:pt x="551" y="502"/>
                </a:lnTo>
                <a:lnTo>
                  <a:pt x="562" y="501"/>
                </a:lnTo>
                <a:lnTo>
                  <a:pt x="573" y="497"/>
                </a:lnTo>
                <a:lnTo>
                  <a:pt x="584" y="493"/>
                </a:lnTo>
                <a:lnTo>
                  <a:pt x="593" y="488"/>
                </a:lnTo>
                <a:lnTo>
                  <a:pt x="603" y="482"/>
                </a:lnTo>
                <a:lnTo>
                  <a:pt x="611" y="474"/>
                </a:lnTo>
                <a:lnTo>
                  <a:pt x="619" y="466"/>
                </a:lnTo>
                <a:lnTo>
                  <a:pt x="683" y="466"/>
                </a:lnTo>
                <a:lnTo>
                  <a:pt x="683" y="503"/>
                </a:lnTo>
                <a:lnTo>
                  <a:pt x="718" y="503"/>
                </a:lnTo>
                <a:lnTo>
                  <a:pt x="718" y="466"/>
                </a:lnTo>
                <a:lnTo>
                  <a:pt x="785" y="466"/>
                </a:lnTo>
                <a:lnTo>
                  <a:pt x="785" y="466"/>
                </a:lnTo>
                <a:lnTo>
                  <a:pt x="794" y="468"/>
                </a:lnTo>
                <a:lnTo>
                  <a:pt x="802" y="470"/>
                </a:lnTo>
                <a:lnTo>
                  <a:pt x="808" y="474"/>
                </a:lnTo>
                <a:lnTo>
                  <a:pt x="815" y="479"/>
                </a:lnTo>
                <a:lnTo>
                  <a:pt x="820" y="484"/>
                </a:lnTo>
                <a:lnTo>
                  <a:pt x="823" y="492"/>
                </a:lnTo>
                <a:lnTo>
                  <a:pt x="826" y="499"/>
                </a:lnTo>
                <a:lnTo>
                  <a:pt x="826" y="507"/>
                </a:lnTo>
                <a:lnTo>
                  <a:pt x="826" y="574"/>
                </a:lnTo>
                <a:lnTo>
                  <a:pt x="790" y="574"/>
                </a:lnTo>
                <a:lnTo>
                  <a:pt x="790" y="611"/>
                </a:lnTo>
                <a:lnTo>
                  <a:pt x="826" y="611"/>
                </a:lnTo>
                <a:lnTo>
                  <a:pt x="826" y="679"/>
                </a:lnTo>
                <a:lnTo>
                  <a:pt x="826" y="679"/>
                </a:lnTo>
                <a:lnTo>
                  <a:pt x="827" y="698"/>
                </a:lnTo>
                <a:lnTo>
                  <a:pt x="830" y="716"/>
                </a:lnTo>
                <a:lnTo>
                  <a:pt x="835" y="734"/>
                </a:lnTo>
                <a:lnTo>
                  <a:pt x="840" y="750"/>
                </a:lnTo>
                <a:lnTo>
                  <a:pt x="849" y="767"/>
                </a:lnTo>
                <a:lnTo>
                  <a:pt x="858" y="782"/>
                </a:lnTo>
                <a:lnTo>
                  <a:pt x="868" y="796"/>
                </a:lnTo>
                <a:lnTo>
                  <a:pt x="879" y="809"/>
                </a:lnTo>
                <a:lnTo>
                  <a:pt x="893" y="820"/>
                </a:lnTo>
                <a:lnTo>
                  <a:pt x="907" y="832"/>
                </a:lnTo>
                <a:lnTo>
                  <a:pt x="922" y="840"/>
                </a:lnTo>
                <a:lnTo>
                  <a:pt x="937" y="848"/>
                </a:lnTo>
                <a:lnTo>
                  <a:pt x="954" y="854"/>
                </a:lnTo>
                <a:lnTo>
                  <a:pt x="972" y="858"/>
                </a:lnTo>
                <a:lnTo>
                  <a:pt x="989" y="861"/>
                </a:lnTo>
                <a:lnTo>
                  <a:pt x="1008" y="862"/>
                </a:lnTo>
                <a:lnTo>
                  <a:pt x="1078" y="862"/>
                </a:lnTo>
                <a:lnTo>
                  <a:pt x="1078" y="719"/>
                </a:lnTo>
                <a:lnTo>
                  <a:pt x="1011" y="719"/>
                </a:lnTo>
                <a:close/>
                <a:moveTo>
                  <a:pt x="503" y="156"/>
                </a:moveTo>
                <a:lnTo>
                  <a:pt x="503" y="216"/>
                </a:lnTo>
                <a:lnTo>
                  <a:pt x="575" y="216"/>
                </a:lnTo>
                <a:lnTo>
                  <a:pt x="575" y="156"/>
                </a:lnTo>
                <a:lnTo>
                  <a:pt x="695" y="35"/>
                </a:lnTo>
                <a:lnTo>
                  <a:pt x="754" y="35"/>
                </a:lnTo>
                <a:lnTo>
                  <a:pt x="754" y="0"/>
                </a:lnTo>
                <a:lnTo>
                  <a:pt x="323" y="0"/>
                </a:lnTo>
                <a:lnTo>
                  <a:pt x="323" y="35"/>
                </a:lnTo>
                <a:lnTo>
                  <a:pt x="383" y="35"/>
                </a:lnTo>
                <a:lnTo>
                  <a:pt x="503" y="156"/>
                </a:lnTo>
                <a:close/>
                <a:moveTo>
                  <a:pt x="645" y="35"/>
                </a:moveTo>
                <a:lnTo>
                  <a:pt x="573" y="108"/>
                </a:lnTo>
                <a:lnTo>
                  <a:pt x="504" y="108"/>
                </a:lnTo>
                <a:lnTo>
                  <a:pt x="433" y="35"/>
                </a:lnTo>
                <a:lnTo>
                  <a:pt x="645" y="35"/>
                </a:lnTo>
                <a:close/>
              </a:path>
            </a:pathLst>
          </a:cu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" name="Picture151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9028210" y="2342207"/>
            <a:ext cx="650080" cy="363960"/>
          </a:xfrm>
          <a:custGeom>
            <a:avLst/>
            <a:gdLst>
              <a:gd name="T0" fmla="*/ 891 w 1484"/>
              <a:gd name="T1" fmla="*/ 0 h 792"/>
              <a:gd name="T2" fmla="*/ 99 w 1484"/>
              <a:gd name="T3" fmla="*/ 99 h 792"/>
              <a:gd name="T4" fmla="*/ 59 w 1484"/>
              <a:gd name="T5" fmla="*/ 124 h 792"/>
              <a:gd name="T6" fmla="*/ 16 w 1484"/>
              <a:gd name="T7" fmla="*/ 225 h 792"/>
              <a:gd name="T8" fmla="*/ 3 w 1484"/>
              <a:gd name="T9" fmla="*/ 386 h 792"/>
              <a:gd name="T10" fmla="*/ 42 w 1484"/>
              <a:gd name="T11" fmla="*/ 541 h 792"/>
              <a:gd name="T12" fmla="*/ 89 w 1484"/>
              <a:gd name="T13" fmla="*/ 591 h 792"/>
              <a:gd name="T14" fmla="*/ 214 w 1484"/>
              <a:gd name="T15" fmla="*/ 647 h 792"/>
              <a:gd name="T16" fmla="*/ 150 w 1484"/>
              <a:gd name="T17" fmla="*/ 693 h 792"/>
              <a:gd name="T18" fmla="*/ 178 w 1484"/>
              <a:gd name="T19" fmla="*/ 762 h 792"/>
              <a:gd name="T20" fmla="*/ 225 w 1484"/>
              <a:gd name="T21" fmla="*/ 790 h 792"/>
              <a:gd name="T22" fmla="*/ 270 w 1484"/>
              <a:gd name="T23" fmla="*/ 783 h 792"/>
              <a:gd name="T24" fmla="*/ 307 w 1484"/>
              <a:gd name="T25" fmla="*/ 741 h 792"/>
              <a:gd name="T26" fmla="*/ 356 w 1484"/>
              <a:gd name="T27" fmla="*/ 769 h 792"/>
              <a:gd name="T28" fmla="*/ 406 w 1484"/>
              <a:gd name="T29" fmla="*/ 792 h 792"/>
              <a:gd name="T30" fmla="*/ 450 w 1484"/>
              <a:gd name="T31" fmla="*/ 778 h 792"/>
              <a:gd name="T32" fmla="*/ 495 w 1484"/>
              <a:gd name="T33" fmla="*/ 741 h 792"/>
              <a:gd name="T34" fmla="*/ 1008 w 1484"/>
              <a:gd name="T35" fmla="*/ 741 h 792"/>
              <a:gd name="T36" fmla="*/ 1045 w 1484"/>
              <a:gd name="T37" fmla="*/ 783 h 792"/>
              <a:gd name="T38" fmla="*/ 1090 w 1484"/>
              <a:gd name="T39" fmla="*/ 790 h 792"/>
              <a:gd name="T40" fmla="*/ 1137 w 1484"/>
              <a:gd name="T41" fmla="*/ 762 h 792"/>
              <a:gd name="T42" fmla="*/ 1182 w 1484"/>
              <a:gd name="T43" fmla="*/ 752 h 792"/>
              <a:gd name="T44" fmla="*/ 1224 w 1484"/>
              <a:gd name="T45" fmla="*/ 787 h 792"/>
              <a:gd name="T46" fmla="*/ 1271 w 1484"/>
              <a:gd name="T47" fmla="*/ 787 h 792"/>
              <a:gd name="T48" fmla="*/ 1313 w 1484"/>
              <a:gd name="T49" fmla="*/ 752 h 792"/>
              <a:gd name="T50" fmla="*/ 1308 w 1484"/>
              <a:gd name="T51" fmla="*/ 673 h 792"/>
              <a:gd name="T52" fmla="*/ 1336 w 1484"/>
              <a:gd name="T53" fmla="*/ 647 h 792"/>
              <a:gd name="T54" fmla="*/ 1406 w 1484"/>
              <a:gd name="T55" fmla="*/ 586 h 792"/>
              <a:gd name="T56" fmla="*/ 1449 w 1484"/>
              <a:gd name="T57" fmla="*/ 525 h 792"/>
              <a:gd name="T58" fmla="*/ 1484 w 1484"/>
              <a:gd name="T59" fmla="*/ 345 h 792"/>
              <a:gd name="T60" fmla="*/ 1456 w 1484"/>
              <a:gd name="T61" fmla="*/ 185 h 792"/>
              <a:gd name="T62" fmla="*/ 1416 w 1484"/>
              <a:gd name="T63" fmla="*/ 113 h 792"/>
              <a:gd name="T64" fmla="*/ 234 w 1484"/>
              <a:gd name="T65" fmla="*/ 750 h 792"/>
              <a:gd name="T66" fmla="*/ 209 w 1484"/>
              <a:gd name="T67" fmla="*/ 726 h 792"/>
              <a:gd name="T68" fmla="*/ 234 w 1484"/>
              <a:gd name="T69" fmla="*/ 701 h 792"/>
              <a:gd name="T70" fmla="*/ 258 w 1484"/>
              <a:gd name="T71" fmla="*/ 726 h 792"/>
              <a:gd name="T72" fmla="*/ 234 w 1484"/>
              <a:gd name="T73" fmla="*/ 750 h 792"/>
              <a:gd name="T74" fmla="*/ 389 w 1484"/>
              <a:gd name="T75" fmla="*/ 743 h 792"/>
              <a:gd name="T76" fmla="*/ 389 w 1484"/>
              <a:gd name="T77" fmla="*/ 708 h 792"/>
              <a:gd name="T78" fmla="*/ 424 w 1484"/>
              <a:gd name="T79" fmla="*/ 708 h 792"/>
              <a:gd name="T80" fmla="*/ 424 w 1484"/>
              <a:gd name="T81" fmla="*/ 743 h 792"/>
              <a:gd name="T82" fmla="*/ 1074 w 1484"/>
              <a:gd name="T83" fmla="*/ 750 h 792"/>
              <a:gd name="T84" fmla="*/ 1048 w 1484"/>
              <a:gd name="T85" fmla="*/ 726 h 792"/>
              <a:gd name="T86" fmla="*/ 1074 w 1484"/>
              <a:gd name="T87" fmla="*/ 701 h 792"/>
              <a:gd name="T88" fmla="*/ 1099 w 1484"/>
              <a:gd name="T89" fmla="*/ 726 h 792"/>
              <a:gd name="T90" fmla="*/ 1074 w 1484"/>
              <a:gd name="T91" fmla="*/ 750 h 792"/>
              <a:gd name="T92" fmla="*/ 1256 w 1484"/>
              <a:gd name="T93" fmla="*/ 748 h 792"/>
              <a:gd name="T94" fmla="*/ 1222 w 1484"/>
              <a:gd name="T95" fmla="*/ 736 h 792"/>
              <a:gd name="T96" fmla="*/ 1236 w 1484"/>
              <a:gd name="T97" fmla="*/ 703 h 792"/>
              <a:gd name="T98" fmla="*/ 1270 w 1484"/>
              <a:gd name="T99" fmla="*/ 717 h 792"/>
              <a:gd name="T100" fmla="*/ 171 w 1484"/>
              <a:gd name="T101" fmla="*/ 199 h 792"/>
              <a:gd name="T102" fmla="*/ 119 w 1484"/>
              <a:gd name="T103" fmla="*/ 209 h 792"/>
              <a:gd name="T104" fmla="*/ 77 w 1484"/>
              <a:gd name="T105" fmla="*/ 251 h 792"/>
              <a:gd name="T106" fmla="*/ 63 w 1484"/>
              <a:gd name="T107" fmla="*/ 251 h 792"/>
              <a:gd name="T108" fmla="*/ 101 w 1484"/>
              <a:gd name="T109" fmla="*/ 173 h 792"/>
              <a:gd name="T110" fmla="*/ 153 w 1484"/>
              <a:gd name="T111" fmla="*/ 150 h 792"/>
              <a:gd name="T112" fmla="*/ 253 w 1484"/>
              <a:gd name="T113" fmla="*/ 199 h 7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84" h="792">
                <a:moveTo>
                  <a:pt x="1385" y="99"/>
                </a:moveTo>
                <a:lnTo>
                  <a:pt x="841" y="99"/>
                </a:lnTo>
                <a:lnTo>
                  <a:pt x="841" y="49"/>
                </a:lnTo>
                <a:lnTo>
                  <a:pt x="891" y="49"/>
                </a:lnTo>
                <a:lnTo>
                  <a:pt x="891" y="0"/>
                </a:lnTo>
                <a:lnTo>
                  <a:pt x="595" y="0"/>
                </a:lnTo>
                <a:lnTo>
                  <a:pt x="595" y="49"/>
                </a:lnTo>
                <a:lnTo>
                  <a:pt x="643" y="49"/>
                </a:lnTo>
                <a:lnTo>
                  <a:pt x="643" y="99"/>
                </a:lnTo>
                <a:lnTo>
                  <a:pt x="99" y="99"/>
                </a:lnTo>
                <a:lnTo>
                  <a:pt x="99" y="99"/>
                </a:lnTo>
                <a:lnTo>
                  <a:pt x="89" y="101"/>
                </a:lnTo>
                <a:lnTo>
                  <a:pt x="78" y="105"/>
                </a:lnTo>
                <a:lnTo>
                  <a:pt x="68" y="113"/>
                </a:lnTo>
                <a:lnTo>
                  <a:pt x="59" y="124"/>
                </a:lnTo>
                <a:lnTo>
                  <a:pt x="51" y="136"/>
                </a:lnTo>
                <a:lnTo>
                  <a:pt x="42" y="152"/>
                </a:lnTo>
                <a:lnTo>
                  <a:pt x="35" y="167"/>
                </a:lnTo>
                <a:lnTo>
                  <a:pt x="28" y="185"/>
                </a:lnTo>
                <a:lnTo>
                  <a:pt x="16" y="225"/>
                </a:lnTo>
                <a:lnTo>
                  <a:pt x="9" y="265"/>
                </a:lnTo>
                <a:lnTo>
                  <a:pt x="3" y="307"/>
                </a:lnTo>
                <a:lnTo>
                  <a:pt x="0" y="345"/>
                </a:lnTo>
                <a:lnTo>
                  <a:pt x="0" y="345"/>
                </a:lnTo>
                <a:lnTo>
                  <a:pt x="3" y="386"/>
                </a:lnTo>
                <a:lnTo>
                  <a:pt x="9" y="427"/>
                </a:lnTo>
                <a:lnTo>
                  <a:pt x="16" y="468"/>
                </a:lnTo>
                <a:lnTo>
                  <a:pt x="28" y="508"/>
                </a:lnTo>
                <a:lnTo>
                  <a:pt x="35" y="525"/>
                </a:lnTo>
                <a:lnTo>
                  <a:pt x="42" y="541"/>
                </a:lnTo>
                <a:lnTo>
                  <a:pt x="51" y="556"/>
                </a:lnTo>
                <a:lnTo>
                  <a:pt x="59" y="569"/>
                </a:lnTo>
                <a:lnTo>
                  <a:pt x="68" y="579"/>
                </a:lnTo>
                <a:lnTo>
                  <a:pt x="78" y="586"/>
                </a:lnTo>
                <a:lnTo>
                  <a:pt x="89" y="591"/>
                </a:lnTo>
                <a:lnTo>
                  <a:pt x="99" y="593"/>
                </a:lnTo>
                <a:lnTo>
                  <a:pt x="150" y="593"/>
                </a:lnTo>
                <a:lnTo>
                  <a:pt x="150" y="647"/>
                </a:lnTo>
                <a:lnTo>
                  <a:pt x="214" y="647"/>
                </a:lnTo>
                <a:lnTo>
                  <a:pt x="214" y="647"/>
                </a:lnTo>
                <a:lnTo>
                  <a:pt x="204" y="651"/>
                </a:lnTo>
                <a:lnTo>
                  <a:pt x="194" y="658"/>
                </a:lnTo>
                <a:lnTo>
                  <a:pt x="185" y="665"/>
                </a:lnTo>
                <a:lnTo>
                  <a:pt x="178" y="673"/>
                </a:lnTo>
                <a:lnTo>
                  <a:pt x="150" y="693"/>
                </a:lnTo>
                <a:lnTo>
                  <a:pt x="150" y="741"/>
                </a:lnTo>
                <a:lnTo>
                  <a:pt x="167" y="741"/>
                </a:lnTo>
                <a:lnTo>
                  <a:pt x="167" y="741"/>
                </a:lnTo>
                <a:lnTo>
                  <a:pt x="173" y="752"/>
                </a:lnTo>
                <a:lnTo>
                  <a:pt x="178" y="762"/>
                </a:lnTo>
                <a:lnTo>
                  <a:pt x="185" y="769"/>
                </a:lnTo>
                <a:lnTo>
                  <a:pt x="194" y="778"/>
                </a:lnTo>
                <a:lnTo>
                  <a:pt x="204" y="783"/>
                </a:lnTo>
                <a:lnTo>
                  <a:pt x="214" y="787"/>
                </a:lnTo>
                <a:lnTo>
                  <a:pt x="225" y="790"/>
                </a:lnTo>
                <a:lnTo>
                  <a:pt x="237" y="792"/>
                </a:lnTo>
                <a:lnTo>
                  <a:pt x="237" y="792"/>
                </a:lnTo>
                <a:lnTo>
                  <a:pt x="249" y="790"/>
                </a:lnTo>
                <a:lnTo>
                  <a:pt x="260" y="787"/>
                </a:lnTo>
                <a:lnTo>
                  <a:pt x="270" y="783"/>
                </a:lnTo>
                <a:lnTo>
                  <a:pt x="281" y="778"/>
                </a:lnTo>
                <a:lnTo>
                  <a:pt x="289" y="769"/>
                </a:lnTo>
                <a:lnTo>
                  <a:pt x="296" y="762"/>
                </a:lnTo>
                <a:lnTo>
                  <a:pt x="302" y="752"/>
                </a:lnTo>
                <a:lnTo>
                  <a:pt x="307" y="741"/>
                </a:lnTo>
                <a:lnTo>
                  <a:pt x="337" y="741"/>
                </a:lnTo>
                <a:lnTo>
                  <a:pt x="337" y="741"/>
                </a:lnTo>
                <a:lnTo>
                  <a:pt x="342" y="752"/>
                </a:lnTo>
                <a:lnTo>
                  <a:pt x="349" y="762"/>
                </a:lnTo>
                <a:lnTo>
                  <a:pt x="356" y="769"/>
                </a:lnTo>
                <a:lnTo>
                  <a:pt x="364" y="778"/>
                </a:lnTo>
                <a:lnTo>
                  <a:pt x="373" y="783"/>
                </a:lnTo>
                <a:lnTo>
                  <a:pt x="384" y="787"/>
                </a:lnTo>
                <a:lnTo>
                  <a:pt x="396" y="790"/>
                </a:lnTo>
                <a:lnTo>
                  <a:pt x="406" y="792"/>
                </a:lnTo>
                <a:lnTo>
                  <a:pt x="406" y="792"/>
                </a:lnTo>
                <a:lnTo>
                  <a:pt x="419" y="790"/>
                </a:lnTo>
                <a:lnTo>
                  <a:pt x="431" y="787"/>
                </a:lnTo>
                <a:lnTo>
                  <a:pt x="441" y="783"/>
                </a:lnTo>
                <a:lnTo>
                  <a:pt x="450" y="778"/>
                </a:lnTo>
                <a:lnTo>
                  <a:pt x="459" y="769"/>
                </a:lnTo>
                <a:lnTo>
                  <a:pt x="466" y="762"/>
                </a:lnTo>
                <a:lnTo>
                  <a:pt x="473" y="752"/>
                </a:lnTo>
                <a:lnTo>
                  <a:pt x="476" y="741"/>
                </a:lnTo>
                <a:lnTo>
                  <a:pt x="495" y="741"/>
                </a:lnTo>
                <a:lnTo>
                  <a:pt x="495" y="693"/>
                </a:lnTo>
                <a:lnTo>
                  <a:pt x="989" y="693"/>
                </a:lnTo>
                <a:lnTo>
                  <a:pt x="989" y="741"/>
                </a:lnTo>
                <a:lnTo>
                  <a:pt x="1008" y="741"/>
                </a:lnTo>
                <a:lnTo>
                  <a:pt x="1008" y="741"/>
                </a:lnTo>
                <a:lnTo>
                  <a:pt x="1013" y="752"/>
                </a:lnTo>
                <a:lnTo>
                  <a:pt x="1018" y="762"/>
                </a:lnTo>
                <a:lnTo>
                  <a:pt x="1025" y="769"/>
                </a:lnTo>
                <a:lnTo>
                  <a:pt x="1034" y="778"/>
                </a:lnTo>
                <a:lnTo>
                  <a:pt x="1045" y="783"/>
                </a:lnTo>
                <a:lnTo>
                  <a:pt x="1055" y="787"/>
                </a:lnTo>
                <a:lnTo>
                  <a:pt x="1065" y="790"/>
                </a:lnTo>
                <a:lnTo>
                  <a:pt x="1078" y="792"/>
                </a:lnTo>
                <a:lnTo>
                  <a:pt x="1078" y="792"/>
                </a:lnTo>
                <a:lnTo>
                  <a:pt x="1090" y="790"/>
                </a:lnTo>
                <a:lnTo>
                  <a:pt x="1100" y="787"/>
                </a:lnTo>
                <a:lnTo>
                  <a:pt x="1111" y="783"/>
                </a:lnTo>
                <a:lnTo>
                  <a:pt x="1121" y="778"/>
                </a:lnTo>
                <a:lnTo>
                  <a:pt x="1130" y="769"/>
                </a:lnTo>
                <a:lnTo>
                  <a:pt x="1137" y="762"/>
                </a:lnTo>
                <a:lnTo>
                  <a:pt x="1142" y="752"/>
                </a:lnTo>
                <a:lnTo>
                  <a:pt x="1147" y="741"/>
                </a:lnTo>
                <a:lnTo>
                  <a:pt x="1177" y="741"/>
                </a:lnTo>
                <a:lnTo>
                  <a:pt x="1177" y="741"/>
                </a:lnTo>
                <a:lnTo>
                  <a:pt x="1182" y="752"/>
                </a:lnTo>
                <a:lnTo>
                  <a:pt x="1188" y="762"/>
                </a:lnTo>
                <a:lnTo>
                  <a:pt x="1196" y="769"/>
                </a:lnTo>
                <a:lnTo>
                  <a:pt x="1205" y="778"/>
                </a:lnTo>
                <a:lnTo>
                  <a:pt x="1214" y="783"/>
                </a:lnTo>
                <a:lnTo>
                  <a:pt x="1224" y="787"/>
                </a:lnTo>
                <a:lnTo>
                  <a:pt x="1236" y="790"/>
                </a:lnTo>
                <a:lnTo>
                  <a:pt x="1247" y="792"/>
                </a:lnTo>
                <a:lnTo>
                  <a:pt x="1247" y="792"/>
                </a:lnTo>
                <a:lnTo>
                  <a:pt x="1259" y="790"/>
                </a:lnTo>
                <a:lnTo>
                  <a:pt x="1271" y="787"/>
                </a:lnTo>
                <a:lnTo>
                  <a:pt x="1282" y="783"/>
                </a:lnTo>
                <a:lnTo>
                  <a:pt x="1290" y="778"/>
                </a:lnTo>
                <a:lnTo>
                  <a:pt x="1299" y="769"/>
                </a:lnTo>
                <a:lnTo>
                  <a:pt x="1306" y="762"/>
                </a:lnTo>
                <a:lnTo>
                  <a:pt x="1313" y="752"/>
                </a:lnTo>
                <a:lnTo>
                  <a:pt x="1317" y="741"/>
                </a:lnTo>
                <a:lnTo>
                  <a:pt x="1336" y="741"/>
                </a:lnTo>
                <a:lnTo>
                  <a:pt x="1336" y="693"/>
                </a:lnTo>
                <a:lnTo>
                  <a:pt x="1308" y="673"/>
                </a:lnTo>
                <a:lnTo>
                  <a:pt x="1308" y="673"/>
                </a:lnTo>
                <a:lnTo>
                  <a:pt x="1299" y="665"/>
                </a:lnTo>
                <a:lnTo>
                  <a:pt x="1290" y="658"/>
                </a:lnTo>
                <a:lnTo>
                  <a:pt x="1282" y="651"/>
                </a:lnTo>
                <a:lnTo>
                  <a:pt x="1270" y="647"/>
                </a:lnTo>
                <a:lnTo>
                  <a:pt x="1336" y="647"/>
                </a:lnTo>
                <a:lnTo>
                  <a:pt x="1336" y="593"/>
                </a:lnTo>
                <a:lnTo>
                  <a:pt x="1385" y="593"/>
                </a:lnTo>
                <a:lnTo>
                  <a:pt x="1385" y="593"/>
                </a:lnTo>
                <a:lnTo>
                  <a:pt x="1395" y="591"/>
                </a:lnTo>
                <a:lnTo>
                  <a:pt x="1406" y="586"/>
                </a:lnTo>
                <a:lnTo>
                  <a:pt x="1416" y="579"/>
                </a:lnTo>
                <a:lnTo>
                  <a:pt x="1425" y="569"/>
                </a:lnTo>
                <a:lnTo>
                  <a:pt x="1433" y="556"/>
                </a:lnTo>
                <a:lnTo>
                  <a:pt x="1442" y="541"/>
                </a:lnTo>
                <a:lnTo>
                  <a:pt x="1449" y="525"/>
                </a:lnTo>
                <a:lnTo>
                  <a:pt x="1456" y="508"/>
                </a:lnTo>
                <a:lnTo>
                  <a:pt x="1468" y="468"/>
                </a:lnTo>
                <a:lnTo>
                  <a:pt x="1477" y="427"/>
                </a:lnTo>
                <a:lnTo>
                  <a:pt x="1482" y="386"/>
                </a:lnTo>
                <a:lnTo>
                  <a:pt x="1484" y="345"/>
                </a:lnTo>
                <a:lnTo>
                  <a:pt x="1484" y="345"/>
                </a:lnTo>
                <a:lnTo>
                  <a:pt x="1482" y="307"/>
                </a:lnTo>
                <a:lnTo>
                  <a:pt x="1477" y="265"/>
                </a:lnTo>
                <a:lnTo>
                  <a:pt x="1468" y="225"/>
                </a:lnTo>
                <a:lnTo>
                  <a:pt x="1456" y="185"/>
                </a:lnTo>
                <a:lnTo>
                  <a:pt x="1449" y="167"/>
                </a:lnTo>
                <a:lnTo>
                  <a:pt x="1442" y="152"/>
                </a:lnTo>
                <a:lnTo>
                  <a:pt x="1433" y="136"/>
                </a:lnTo>
                <a:lnTo>
                  <a:pt x="1425" y="124"/>
                </a:lnTo>
                <a:lnTo>
                  <a:pt x="1416" y="113"/>
                </a:lnTo>
                <a:lnTo>
                  <a:pt x="1406" y="105"/>
                </a:lnTo>
                <a:lnTo>
                  <a:pt x="1395" y="101"/>
                </a:lnTo>
                <a:lnTo>
                  <a:pt x="1385" y="99"/>
                </a:lnTo>
                <a:lnTo>
                  <a:pt x="1385" y="99"/>
                </a:lnTo>
                <a:close/>
                <a:moveTo>
                  <a:pt x="234" y="750"/>
                </a:moveTo>
                <a:lnTo>
                  <a:pt x="234" y="750"/>
                </a:lnTo>
                <a:lnTo>
                  <a:pt x="225" y="748"/>
                </a:lnTo>
                <a:lnTo>
                  <a:pt x="216" y="743"/>
                </a:lnTo>
                <a:lnTo>
                  <a:pt x="211" y="736"/>
                </a:lnTo>
                <a:lnTo>
                  <a:pt x="209" y="726"/>
                </a:lnTo>
                <a:lnTo>
                  <a:pt x="209" y="726"/>
                </a:lnTo>
                <a:lnTo>
                  <a:pt x="211" y="717"/>
                </a:lnTo>
                <a:lnTo>
                  <a:pt x="216" y="708"/>
                </a:lnTo>
                <a:lnTo>
                  <a:pt x="225" y="703"/>
                </a:lnTo>
                <a:lnTo>
                  <a:pt x="234" y="701"/>
                </a:lnTo>
                <a:lnTo>
                  <a:pt x="234" y="701"/>
                </a:lnTo>
                <a:lnTo>
                  <a:pt x="244" y="703"/>
                </a:lnTo>
                <a:lnTo>
                  <a:pt x="251" y="708"/>
                </a:lnTo>
                <a:lnTo>
                  <a:pt x="256" y="717"/>
                </a:lnTo>
                <a:lnTo>
                  <a:pt x="258" y="726"/>
                </a:lnTo>
                <a:lnTo>
                  <a:pt x="258" y="726"/>
                </a:lnTo>
                <a:lnTo>
                  <a:pt x="256" y="736"/>
                </a:lnTo>
                <a:lnTo>
                  <a:pt x="251" y="743"/>
                </a:lnTo>
                <a:lnTo>
                  <a:pt x="244" y="748"/>
                </a:lnTo>
                <a:lnTo>
                  <a:pt x="234" y="750"/>
                </a:lnTo>
                <a:lnTo>
                  <a:pt x="234" y="750"/>
                </a:lnTo>
                <a:close/>
                <a:moveTo>
                  <a:pt x="406" y="750"/>
                </a:moveTo>
                <a:lnTo>
                  <a:pt x="406" y="750"/>
                </a:lnTo>
                <a:lnTo>
                  <a:pt x="398" y="748"/>
                </a:lnTo>
                <a:lnTo>
                  <a:pt x="389" y="743"/>
                </a:lnTo>
                <a:lnTo>
                  <a:pt x="384" y="736"/>
                </a:lnTo>
                <a:lnTo>
                  <a:pt x="382" y="726"/>
                </a:lnTo>
                <a:lnTo>
                  <a:pt x="382" y="726"/>
                </a:lnTo>
                <a:lnTo>
                  <a:pt x="384" y="717"/>
                </a:lnTo>
                <a:lnTo>
                  <a:pt x="389" y="708"/>
                </a:lnTo>
                <a:lnTo>
                  <a:pt x="398" y="703"/>
                </a:lnTo>
                <a:lnTo>
                  <a:pt x="406" y="701"/>
                </a:lnTo>
                <a:lnTo>
                  <a:pt x="406" y="701"/>
                </a:lnTo>
                <a:lnTo>
                  <a:pt x="417" y="703"/>
                </a:lnTo>
                <a:lnTo>
                  <a:pt x="424" y="708"/>
                </a:lnTo>
                <a:lnTo>
                  <a:pt x="429" y="717"/>
                </a:lnTo>
                <a:lnTo>
                  <a:pt x="431" y="726"/>
                </a:lnTo>
                <a:lnTo>
                  <a:pt x="431" y="726"/>
                </a:lnTo>
                <a:lnTo>
                  <a:pt x="429" y="736"/>
                </a:lnTo>
                <a:lnTo>
                  <a:pt x="424" y="743"/>
                </a:lnTo>
                <a:lnTo>
                  <a:pt x="417" y="748"/>
                </a:lnTo>
                <a:lnTo>
                  <a:pt x="406" y="750"/>
                </a:lnTo>
                <a:lnTo>
                  <a:pt x="406" y="750"/>
                </a:lnTo>
                <a:close/>
                <a:moveTo>
                  <a:pt x="1074" y="750"/>
                </a:moveTo>
                <a:lnTo>
                  <a:pt x="1074" y="750"/>
                </a:lnTo>
                <a:lnTo>
                  <a:pt x="1064" y="748"/>
                </a:lnTo>
                <a:lnTo>
                  <a:pt x="1057" y="743"/>
                </a:lnTo>
                <a:lnTo>
                  <a:pt x="1052" y="736"/>
                </a:lnTo>
                <a:lnTo>
                  <a:pt x="1048" y="726"/>
                </a:lnTo>
                <a:lnTo>
                  <a:pt x="1048" y="726"/>
                </a:lnTo>
                <a:lnTo>
                  <a:pt x="1052" y="717"/>
                </a:lnTo>
                <a:lnTo>
                  <a:pt x="1057" y="708"/>
                </a:lnTo>
                <a:lnTo>
                  <a:pt x="1064" y="703"/>
                </a:lnTo>
                <a:lnTo>
                  <a:pt x="1074" y="701"/>
                </a:lnTo>
                <a:lnTo>
                  <a:pt x="1074" y="701"/>
                </a:lnTo>
                <a:lnTo>
                  <a:pt x="1083" y="703"/>
                </a:lnTo>
                <a:lnTo>
                  <a:pt x="1092" y="708"/>
                </a:lnTo>
                <a:lnTo>
                  <a:pt x="1097" y="717"/>
                </a:lnTo>
                <a:lnTo>
                  <a:pt x="1099" y="726"/>
                </a:lnTo>
                <a:lnTo>
                  <a:pt x="1099" y="726"/>
                </a:lnTo>
                <a:lnTo>
                  <a:pt x="1097" y="736"/>
                </a:lnTo>
                <a:lnTo>
                  <a:pt x="1092" y="743"/>
                </a:lnTo>
                <a:lnTo>
                  <a:pt x="1083" y="748"/>
                </a:lnTo>
                <a:lnTo>
                  <a:pt x="1074" y="750"/>
                </a:lnTo>
                <a:lnTo>
                  <a:pt x="1074" y="750"/>
                </a:lnTo>
                <a:close/>
                <a:moveTo>
                  <a:pt x="1271" y="726"/>
                </a:moveTo>
                <a:lnTo>
                  <a:pt x="1271" y="726"/>
                </a:lnTo>
                <a:lnTo>
                  <a:pt x="1270" y="736"/>
                </a:lnTo>
                <a:lnTo>
                  <a:pt x="1264" y="743"/>
                </a:lnTo>
                <a:lnTo>
                  <a:pt x="1256" y="748"/>
                </a:lnTo>
                <a:lnTo>
                  <a:pt x="1247" y="750"/>
                </a:lnTo>
                <a:lnTo>
                  <a:pt x="1247" y="750"/>
                </a:lnTo>
                <a:lnTo>
                  <a:pt x="1236" y="748"/>
                </a:lnTo>
                <a:lnTo>
                  <a:pt x="1228" y="743"/>
                </a:lnTo>
                <a:lnTo>
                  <a:pt x="1222" y="736"/>
                </a:lnTo>
                <a:lnTo>
                  <a:pt x="1221" y="726"/>
                </a:lnTo>
                <a:lnTo>
                  <a:pt x="1221" y="726"/>
                </a:lnTo>
                <a:lnTo>
                  <a:pt x="1222" y="717"/>
                </a:lnTo>
                <a:lnTo>
                  <a:pt x="1228" y="708"/>
                </a:lnTo>
                <a:lnTo>
                  <a:pt x="1236" y="703"/>
                </a:lnTo>
                <a:lnTo>
                  <a:pt x="1247" y="701"/>
                </a:lnTo>
                <a:lnTo>
                  <a:pt x="1247" y="701"/>
                </a:lnTo>
                <a:lnTo>
                  <a:pt x="1256" y="703"/>
                </a:lnTo>
                <a:lnTo>
                  <a:pt x="1264" y="708"/>
                </a:lnTo>
                <a:lnTo>
                  <a:pt x="1270" y="717"/>
                </a:lnTo>
                <a:lnTo>
                  <a:pt x="1271" y="726"/>
                </a:lnTo>
                <a:lnTo>
                  <a:pt x="1271" y="726"/>
                </a:lnTo>
                <a:close/>
                <a:moveTo>
                  <a:pt x="253" y="199"/>
                </a:moveTo>
                <a:lnTo>
                  <a:pt x="253" y="199"/>
                </a:lnTo>
                <a:lnTo>
                  <a:pt x="171" y="199"/>
                </a:lnTo>
                <a:lnTo>
                  <a:pt x="171" y="199"/>
                </a:lnTo>
                <a:lnTo>
                  <a:pt x="155" y="201"/>
                </a:lnTo>
                <a:lnTo>
                  <a:pt x="141" y="202"/>
                </a:lnTo>
                <a:lnTo>
                  <a:pt x="129" y="206"/>
                </a:lnTo>
                <a:lnTo>
                  <a:pt x="119" y="209"/>
                </a:lnTo>
                <a:lnTo>
                  <a:pt x="110" y="215"/>
                </a:lnTo>
                <a:lnTo>
                  <a:pt x="101" y="222"/>
                </a:lnTo>
                <a:lnTo>
                  <a:pt x="94" y="229"/>
                </a:lnTo>
                <a:lnTo>
                  <a:pt x="87" y="236"/>
                </a:lnTo>
                <a:lnTo>
                  <a:pt x="77" y="251"/>
                </a:lnTo>
                <a:lnTo>
                  <a:pt x="68" y="269"/>
                </a:lnTo>
                <a:lnTo>
                  <a:pt x="54" y="298"/>
                </a:lnTo>
                <a:lnTo>
                  <a:pt x="54" y="298"/>
                </a:lnTo>
                <a:lnTo>
                  <a:pt x="58" y="276"/>
                </a:lnTo>
                <a:lnTo>
                  <a:pt x="63" y="251"/>
                </a:lnTo>
                <a:lnTo>
                  <a:pt x="71" y="227"/>
                </a:lnTo>
                <a:lnTo>
                  <a:pt x="80" y="204"/>
                </a:lnTo>
                <a:lnTo>
                  <a:pt x="87" y="192"/>
                </a:lnTo>
                <a:lnTo>
                  <a:pt x="94" y="181"/>
                </a:lnTo>
                <a:lnTo>
                  <a:pt x="101" y="173"/>
                </a:lnTo>
                <a:lnTo>
                  <a:pt x="110" y="166"/>
                </a:lnTo>
                <a:lnTo>
                  <a:pt x="120" y="159"/>
                </a:lnTo>
                <a:lnTo>
                  <a:pt x="131" y="154"/>
                </a:lnTo>
                <a:lnTo>
                  <a:pt x="141" y="150"/>
                </a:lnTo>
                <a:lnTo>
                  <a:pt x="153" y="150"/>
                </a:lnTo>
                <a:lnTo>
                  <a:pt x="153" y="150"/>
                </a:lnTo>
                <a:lnTo>
                  <a:pt x="253" y="150"/>
                </a:lnTo>
                <a:lnTo>
                  <a:pt x="1364" y="148"/>
                </a:lnTo>
                <a:lnTo>
                  <a:pt x="1392" y="199"/>
                </a:lnTo>
                <a:lnTo>
                  <a:pt x="253" y="199"/>
                </a:lnTo>
                <a:close/>
              </a:path>
            </a:pathLst>
          </a:cu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6" name="Picture147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9082015" y="2859897"/>
            <a:ext cx="620826" cy="254934"/>
          </a:xfrm>
          <a:custGeom>
            <a:avLst/>
            <a:gdLst>
              <a:gd name="T0" fmla="*/ 170 w 915"/>
              <a:gd name="T1" fmla="*/ 306 h 369"/>
              <a:gd name="T2" fmla="*/ 186 w 915"/>
              <a:gd name="T3" fmla="*/ 362 h 369"/>
              <a:gd name="T4" fmla="*/ 244 w 915"/>
              <a:gd name="T5" fmla="*/ 356 h 369"/>
              <a:gd name="T6" fmla="*/ 249 w 915"/>
              <a:gd name="T7" fmla="*/ 299 h 369"/>
              <a:gd name="T8" fmla="*/ 212 w 915"/>
              <a:gd name="T9" fmla="*/ 339 h 369"/>
              <a:gd name="T10" fmla="*/ 205 w 915"/>
              <a:gd name="T11" fmla="*/ 310 h 369"/>
              <a:gd name="T12" fmla="*/ 226 w 915"/>
              <a:gd name="T13" fmla="*/ 330 h 369"/>
              <a:gd name="T14" fmla="*/ 472 w 915"/>
              <a:gd name="T15" fmla="*/ 283 h 369"/>
              <a:gd name="T16" fmla="*/ 445 w 915"/>
              <a:gd name="T17" fmla="*/ 333 h 369"/>
              <a:gd name="T18" fmla="*/ 490 w 915"/>
              <a:gd name="T19" fmla="*/ 369 h 369"/>
              <a:gd name="T20" fmla="*/ 535 w 915"/>
              <a:gd name="T21" fmla="*/ 324 h 369"/>
              <a:gd name="T22" fmla="*/ 499 w 915"/>
              <a:gd name="T23" fmla="*/ 279 h 369"/>
              <a:gd name="T24" fmla="*/ 474 w 915"/>
              <a:gd name="T25" fmla="*/ 324 h 369"/>
              <a:gd name="T26" fmla="*/ 501 w 915"/>
              <a:gd name="T27" fmla="*/ 314 h 369"/>
              <a:gd name="T28" fmla="*/ 490 w 915"/>
              <a:gd name="T29" fmla="*/ 339 h 369"/>
              <a:gd name="T30" fmla="*/ 881 w 915"/>
              <a:gd name="T31" fmla="*/ 181 h 369"/>
              <a:gd name="T32" fmla="*/ 789 w 915"/>
              <a:gd name="T33" fmla="*/ 79 h 369"/>
              <a:gd name="T34" fmla="*/ 703 w 915"/>
              <a:gd name="T35" fmla="*/ 34 h 369"/>
              <a:gd name="T36" fmla="*/ 623 w 915"/>
              <a:gd name="T37" fmla="*/ 41 h 369"/>
              <a:gd name="T38" fmla="*/ 557 w 915"/>
              <a:gd name="T39" fmla="*/ 257 h 369"/>
              <a:gd name="T40" fmla="*/ 580 w 915"/>
              <a:gd name="T41" fmla="*/ 175 h 369"/>
              <a:gd name="T42" fmla="*/ 561 w 915"/>
              <a:gd name="T43" fmla="*/ 98 h 369"/>
              <a:gd name="T44" fmla="*/ 366 w 915"/>
              <a:gd name="T45" fmla="*/ 84 h 369"/>
              <a:gd name="T46" fmla="*/ 29 w 915"/>
              <a:gd name="T47" fmla="*/ 89 h 369"/>
              <a:gd name="T48" fmla="*/ 1 w 915"/>
              <a:gd name="T49" fmla="*/ 161 h 369"/>
              <a:gd name="T50" fmla="*/ 14 w 915"/>
              <a:gd name="T51" fmla="*/ 244 h 369"/>
              <a:gd name="T52" fmla="*/ 31 w 915"/>
              <a:gd name="T53" fmla="*/ 326 h 369"/>
              <a:gd name="T54" fmla="*/ 49 w 915"/>
              <a:gd name="T55" fmla="*/ 279 h 369"/>
              <a:gd name="T56" fmla="*/ 113 w 915"/>
              <a:gd name="T57" fmla="*/ 264 h 369"/>
              <a:gd name="T58" fmla="*/ 157 w 915"/>
              <a:gd name="T59" fmla="*/ 294 h 369"/>
              <a:gd name="T60" fmla="*/ 212 w 915"/>
              <a:gd name="T61" fmla="*/ 261 h 369"/>
              <a:gd name="T62" fmla="*/ 273 w 915"/>
              <a:gd name="T63" fmla="*/ 311 h 369"/>
              <a:gd name="T64" fmla="*/ 427 w 915"/>
              <a:gd name="T65" fmla="*/ 324 h 369"/>
              <a:gd name="T66" fmla="*/ 477 w 915"/>
              <a:gd name="T67" fmla="*/ 262 h 369"/>
              <a:gd name="T68" fmla="*/ 534 w 915"/>
              <a:gd name="T69" fmla="*/ 279 h 369"/>
              <a:gd name="T70" fmla="*/ 555 w 915"/>
              <a:gd name="T71" fmla="*/ 325 h 369"/>
              <a:gd name="T72" fmla="*/ 745 w 915"/>
              <a:gd name="T73" fmla="*/ 324 h 369"/>
              <a:gd name="T74" fmla="*/ 796 w 915"/>
              <a:gd name="T75" fmla="*/ 262 h 369"/>
              <a:gd name="T76" fmla="*/ 853 w 915"/>
              <a:gd name="T77" fmla="*/ 279 h 369"/>
              <a:gd name="T78" fmla="*/ 892 w 915"/>
              <a:gd name="T79" fmla="*/ 326 h 369"/>
              <a:gd name="T80" fmla="*/ 914 w 915"/>
              <a:gd name="T81" fmla="*/ 296 h 369"/>
              <a:gd name="T82" fmla="*/ 903 w 915"/>
              <a:gd name="T83" fmla="*/ 255 h 369"/>
              <a:gd name="T84" fmla="*/ 766 w 915"/>
              <a:gd name="T85" fmla="*/ 103 h 369"/>
              <a:gd name="T86" fmla="*/ 799 w 915"/>
              <a:gd name="T87" fmla="*/ 279 h 369"/>
              <a:gd name="T88" fmla="*/ 762 w 915"/>
              <a:gd name="T89" fmla="*/ 324 h 369"/>
              <a:gd name="T90" fmla="*/ 807 w 915"/>
              <a:gd name="T91" fmla="*/ 369 h 369"/>
              <a:gd name="T92" fmla="*/ 853 w 915"/>
              <a:gd name="T93" fmla="*/ 333 h 369"/>
              <a:gd name="T94" fmla="*/ 826 w 915"/>
              <a:gd name="T95" fmla="*/ 283 h 369"/>
              <a:gd name="T96" fmla="*/ 794 w 915"/>
              <a:gd name="T97" fmla="*/ 330 h 369"/>
              <a:gd name="T98" fmla="*/ 814 w 915"/>
              <a:gd name="T99" fmla="*/ 310 h 369"/>
              <a:gd name="T100" fmla="*/ 807 w 915"/>
              <a:gd name="T101" fmla="*/ 339 h 369"/>
              <a:gd name="T102" fmla="*/ 56 w 915"/>
              <a:gd name="T103" fmla="*/ 299 h 369"/>
              <a:gd name="T104" fmla="*/ 61 w 915"/>
              <a:gd name="T105" fmla="*/ 356 h 369"/>
              <a:gd name="T106" fmla="*/ 119 w 915"/>
              <a:gd name="T107" fmla="*/ 362 h 369"/>
              <a:gd name="T108" fmla="*/ 135 w 915"/>
              <a:gd name="T109" fmla="*/ 306 h 369"/>
              <a:gd name="T110" fmla="*/ 94 w 915"/>
              <a:gd name="T111" fmla="*/ 339 h 369"/>
              <a:gd name="T112" fmla="*/ 83 w 915"/>
              <a:gd name="T113" fmla="*/ 314 h 369"/>
              <a:gd name="T114" fmla="*/ 109 w 915"/>
              <a:gd name="T115" fmla="*/ 324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15" h="369">
                <a:moveTo>
                  <a:pt x="212" y="278"/>
                </a:moveTo>
                <a:lnTo>
                  <a:pt x="212" y="278"/>
                </a:lnTo>
                <a:lnTo>
                  <a:pt x="202" y="279"/>
                </a:lnTo>
                <a:lnTo>
                  <a:pt x="194" y="283"/>
                </a:lnTo>
                <a:lnTo>
                  <a:pt x="186" y="287"/>
                </a:lnTo>
                <a:lnTo>
                  <a:pt x="180" y="292"/>
                </a:lnTo>
                <a:lnTo>
                  <a:pt x="174" y="299"/>
                </a:lnTo>
                <a:lnTo>
                  <a:pt x="170" y="306"/>
                </a:lnTo>
                <a:lnTo>
                  <a:pt x="167" y="315"/>
                </a:lnTo>
                <a:lnTo>
                  <a:pt x="166" y="324"/>
                </a:lnTo>
                <a:lnTo>
                  <a:pt x="166" y="324"/>
                </a:lnTo>
                <a:lnTo>
                  <a:pt x="167" y="333"/>
                </a:lnTo>
                <a:lnTo>
                  <a:pt x="170" y="341"/>
                </a:lnTo>
                <a:lnTo>
                  <a:pt x="174" y="350"/>
                </a:lnTo>
                <a:lnTo>
                  <a:pt x="180" y="356"/>
                </a:lnTo>
                <a:lnTo>
                  <a:pt x="186" y="362"/>
                </a:lnTo>
                <a:lnTo>
                  <a:pt x="194" y="366"/>
                </a:lnTo>
                <a:lnTo>
                  <a:pt x="202" y="368"/>
                </a:lnTo>
                <a:lnTo>
                  <a:pt x="212" y="369"/>
                </a:lnTo>
                <a:lnTo>
                  <a:pt x="212" y="369"/>
                </a:lnTo>
                <a:lnTo>
                  <a:pt x="220" y="368"/>
                </a:lnTo>
                <a:lnTo>
                  <a:pt x="229" y="366"/>
                </a:lnTo>
                <a:lnTo>
                  <a:pt x="238" y="362"/>
                </a:lnTo>
                <a:lnTo>
                  <a:pt x="244" y="356"/>
                </a:lnTo>
                <a:lnTo>
                  <a:pt x="249" y="350"/>
                </a:lnTo>
                <a:lnTo>
                  <a:pt x="254" y="341"/>
                </a:lnTo>
                <a:lnTo>
                  <a:pt x="256" y="333"/>
                </a:lnTo>
                <a:lnTo>
                  <a:pt x="257" y="324"/>
                </a:lnTo>
                <a:lnTo>
                  <a:pt x="257" y="324"/>
                </a:lnTo>
                <a:lnTo>
                  <a:pt x="256" y="315"/>
                </a:lnTo>
                <a:lnTo>
                  <a:pt x="254" y="306"/>
                </a:lnTo>
                <a:lnTo>
                  <a:pt x="249" y="299"/>
                </a:lnTo>
                <a:lnTo>
                  <a:pt x="244" y="292"/>
                </a:lnTo>
                <a:lnTo>
                  <a:pt x="238" y="287"/>
                </a:lnTo>
                <a:lnTo>
                  <a:pt x="229" y="283"/>
                </a:lnTo>
                <a:lnTo>
                  <a:pt x="220" y="279"/>
                </a:lnTo>
                <a:lnTo>
                  <a:pt x="212" y="278"/>
                </a:lnTo>
                <a:lnTo>
                  <a:pt x="212" y="278"/>
                </a:lnTo>
                <a:close/>
                <a:moveTo>
                  <a:pt x="212" y="339"/>
                </a:moveTo>
                <a:lnTo>
                  <a:pt x="212" y="339"/>
                </a:lnTo>
                <a:lnTo>
                  <a:pt x="205" y="338"/>
                </a:lnTo>
                <a:lnTo>
                  <a:pt x="201" y="335"/>
                </a:lnTo>
                <a:lnTo>
                  <a:pt x="198" y="330"/>
                </a:lnTo>
                <a:lnTo>
                  <a:pt x="197" y="324"/>
                </a:lnTo>
                <a:lnTo>
                  <a:pt x="197" y="324"/>
                </a:lnTo>
                <a:lnTo>
                  <a:pt x="198" y="318"/>
                </a:lnTo>
                <a:lnTo>
                  <a:pt x="201" y="314"/>
                </a:lnTo>
                <a:lnTo>
                  <a:pt x="205" y="310"/>
                </a:lnTo>
                <a:lnTo>
                  <a:pt x="212" y="309"/>
                </a:lnTo>
                <a:lnTo>
                  <a:pt x="212" y="309"/>
                </a:lnTo>
                <a:lnTo>
                  <a:pt x="217" y="310"/>
                </a:lnTo>
                <a:lnTo>
                  <a:pt x="223" y="314"/>
                </a:lnTo>
                <a:lnTo>
                  <a:pt x="226" y="318"/>
                </a:lnTo>
                <a:lnTo>
                  <a:pt x="227" y="324"/>
                </a:lnTo>
                <a:lnTo>
                  <a:pt x="227" y="324"/>
                </a:lnTo>
                <a:lnTo>
                  <a:pt x="226" y="330"/>
                </a:lnTo>
                <a:lnTo>
                  <a:pt x="223" y="335"/>
                </a:lnTo>
                <a:lnTo>
                  <a:pt x="217" y="338"/>
                </a:lnTo>
                <a:lnTo>
                  <a:pt x="212" y="339"/>
                </a:lnTo>
                <a:lnTo>
                  <a:pt x="212" y="339"/>
                </a:lnTo>
                <a:close/>
                <a:moveTo>
                  <a:pt x="490" y="278"/>
                </a:moveTo>
                <a:lnTo>
                  <a:pt x="490" y="278"/>
                </a:lnTo>
                <a:lnTo>
                  <a:pt x="481" y="279"/>
                </a:lnTo>
                <a:lnTo>
                  <a:pt x="472" y="283"/>
                </a:lnTo>
                <a:lnTo>
                  <a:pt x="464" y="287"/>
                </a:lnTo>
                <a:lnTo>
                  <a:pt x="458" y="292"/>
                </a:lnTo>
                <a:lnTo>
                  <a:pt x="452" y="299"/>
                </a:lnTo>
                <a:lnTo>
                  <a:pt x="447" y="306"/>
                </a:lnTo>
                <a:lnTo>
                  <a:pt x="445" y="315"/>
                </a:lnTo>
                <a:lnTo>
                  <a:pt x="444" y="324"/>
                </a:lnTo>
                <a:lnTo>
                  <a:pt x="444" y="324"/>
                </a:lnTo>
                <a:lnTo>
                  <a:pt x="445" y="333"/>
                </a:lnTo>
                <a:lnTo>
                  <a:pt x="447" y="341"/>
                </a:lnTo>
                <a:lnTo>
                  <a:pt x="452" y="350"/>
                </a:lnTo>
                <a:lnTo>
                  <a:pt x="458" y="356"/>
                </a:lnTo>
                <a:lnTo>
                  <a:pt x="464" y="362"/>
                </a:lnTo>
                <a:lnTo>
                  <a:pt x="472" y="366"/>
                </a:lnTo>
                <a:lnTo>
                  <a:pt x="481" y="368"/>
                </a:lnTo>
                <a:lnTo>
                  <a:pt x="490" y="369"/>
                </a:lnTo>
                <a:lnTo>
                  <a:pt x="490" y="369"/>
                </a:lnTo>
                <a:lnTo>
                  <a:pt x="499" y="368"/>
                </a:lnTo>
                <a:lnTo>
                  <a:pt x="507" y="366"/>
                </a:lnTo>
                <a:lnTo>
                  <a:pt x="515" y="362"/>
                </a:lnTo>
                <a:lnTo>
                  <a:pt x="523" y="356"/>
                </a:lnTo>
                <a:lnTo>
                  <a:pt x="528" y="350"/>
                </a:lnTo>
                <a:lnTo>
                  <a:pt x="532" y="341"/>
                </a:lnTo>
                <a:lnTo>
                  <a:pt x="534" y="333"/>
                </a:lnTo>
                <a:lnTo>
                  <a:pt x="535" y="324"/>
                </a:lnTo>
                <a:lnTo>
                  <a:pt x="535" y="324"/>
                </a:lnTo>
                <a:lnTo>
                  <a:pt x="534" y="315"/>
                </a:lnTo>
                <a:lnTo>
                  <a:pt x="532" y="306"/>
                </a:lnTo>
                <a:lnTo>
                  <a:pt x="528" y="299"/>
                </a:lnTo>
                <a:lnTo>
                  <a:pt x="523" y="292"/>
                </a:lnTo>
                <a:lnTo>
                  <a:pt x="515" y="287"/>
                </a:lnTo>
                <a:lnTo>
                  <a:pt x="507" y="283"/>
                </a:lnTo>
                <a:lnTo>
                  <a:pt x="499" y="279"/>
                </a:lnTo>
                <a:lnTo>
                  <a:pt x="490" y="278"/>
                </a:lnTo>
                <a:lnTo>
                  <a:pt x="490" y="278"/>
                </a:lnTo>
                <a:close/>
                <a:moveTo>
                  <a:pt x="490" y="339"/>
                </a:moveTo>
                <a:lnTo>
                  <a:pt x="490" y="339"/>
                </a:lnTo>
                <a:lnTo>
                  <a:pt x="484" y="338"/>
                </a:lnTo>
                <a:lnTo>
                  <a:pt x="480" y="335"/>
                </a:lnTo>
                <a:lnTo>
                  <a:pt x="476" y="330"/>
                </a:lnTo>
                <a:lnTo>
                  <a:pt x="474" y="324"/>
                </a:lnTo>
                <a:lnTo>
                  <a:pt x="474" y="324"/>
                </a:lnTo>
                <a:lnTo>
                  <a:pt x="476" y="318"/>
                </a:lnTo>
                <a:lnTo>
                  <a:pt x="480" y="314"/>
                </a:lnTo>
                <a:lnTo>
                  <a:pt x="484" y="310"/>
                </a:lnTo>
                <a:lnTo>
                  <a:pt x="490" y="309"/>
                </a:lnTo>
                <a:lnTo>
                  <a:pt x="490" y="309"/>
                </a:lnTo>
                <a:lnTo>
                  <a:pt x="496" y="310"/>
                </a:lnTo>
                <a:lnTo>
                  <a:pt x="501" y="314"/>
                </a:lnTo>
                <a:lnTo>
                  <a:pt x="504" y="318"/>
                </a:lnTo>
                <a:lnTo>
                  <a:pt x="505" y="324"/>
                </a:lnTo>
                <a:lnTo>
                  <a:pt x="505" y="324"/>
                </a:lnTo>
                <a:lnTo>
                  <a:pt x="504" y="330"/>
                </a:lnTo>
                <a:lnTo>
                  <a:pt x="501" y="335"/>
                </a:lnTo>
                <a:lnTo>
                  <a:pt x="496" y="338"/>
                </a:lnTo>
                <a:lnTo>
                  <a:pt x="490" y="339"/>
                </a:lnTo>
                <a:lnTo>
                  <a:pt x="490" y="339"/>
                </a:lnTo>
                <a:close/>
                <a:moveTo>
                  <a:pt x="896" y="252"/>
                </a:moveTo>
                <a:lnTo>
                  <a:pt x="896" y="200"/>
                </a:lnTo>
                <a:lnTo>
                  <a:pt x="896" y="200"/>
                </a:lnTo>
                <a:lnTo>
                  <a:pt x="895" y="195"/>
                </a:lnTo>
                <a:lnTo>
                  <a:pt x="893" y="192"/>
                </a:lnTo>
                <a:lnTo>
                  <a:pt x="891" y="189"/>
                </a:lnTo>
                <a:lnTo>
                  <a:pt x="888" y="186"/>
                </a:lnTo>
                <a:lnTo>
                  <a:pt x="881" y="181"/>
                </a:lnTo>
                <a:lnTo>
                  <a:pt x="871" y="176"/>
                </a:lnTo>
                <a:lnTo>
                  <a:pt x="820" y="159"/>
                </a:lnTo>
                <a:lnTo>
                  <a:pt x="801" y="99"/>
                </a:lnTo>
                <a:lnTo>
                  <a:pt x="801" y="99"/>
                </a:lnTo>
                <a:lnTo>
                  <a:pt x="797" y="90"/>
                </a:lnTo>
                <a:lnTo>
                  <a:pt x="795" y="85"/>
                </a:lnTo>
                <a:lnTo>
                  <a:pt x="791" y="82"/>
                </a:lnTo>
                <a:lnTo>
                  <a:pt x="789" y="79"/>
                </a:lnTo>
                <a:lnTo>
                  <a:pt x="785" y="77"/>
                </a:lnTo>
                <a:lnTo>
                  <a:pt x="781" y="76"/>
                </a:lnTo>
                <a:lnTo>
                  <a:pt x="776" y="75"/>
                </a:lnTo>
                <a:lnTo>
                  <a:pt x="750" y="75"/>
                </a:lnTo>
                <a:lnTo>
                  <a:pt x="750" y="75"/>
                </a:lnTo>
                <a:lnTo>
                  <a:pt x="731" y="57"/>
                </a:lnTo>
                <a:lnTo>
                  <a:pt x="718" y="46"/>
                </a:lnTo>
                <a:lnTo>
                  <a:pt x="703" y="34"/>
                </a:lnTo>
                <a:lnTo>
                  <a:pt x="686" y="23"/>
                </a:lnTo>
                <a:lnTo>
                  <a:pt x="667" y="14"/>
                </a:lnTo>
                <a:lnTo>
                  <a:pt x="657" y="10"/>
                </a:lnTo>
                <a:lnTo>
                  <a:pt x="646" y="5"/>
                </a:lnTo>
                <a:lnTo>
                  <a:pt x="634" y="2"/>
                </a:lnTo>
                <a:lnTo>
                  <a:pt x="623" y="0"/>
                </a:lnTo>
                <a:lnTo>
                  <a:pt x="623" y="0"/>
                </a:lnTo>
                <a:lnTo>
                  <a:pt x="623" y="41"/>
                </a:lnTo>
                <a:lnTo>
                  <a:pt x="623" y="75"/>
                </a:lnTo>
                <a:lnTo>
                  <a:pt x="623" y="75"/>
                </a:lnTo>
                <a:lnTo>
                  <a:pt x="623" y="266"/>
                </a:lnTo>
                <a:lnTo>
                  <a:pt x="537" y="266"/>
                </a:lnTo>
                <a:lnTo>
                  <a:pt x="537" y="266"/>
                </a:lnTo>
                <a:lnTo>
                  <a:pt x="544" y="264"/>
                </a:lnTo>
                <a:lnTo>
                  <a:pt x="551" y="261"/>
                </a:lnTo>
                <a:lnTo>
                  <a:pt x="557" y="257"/>
                </a:lnTo>
                <a:lnTo>
                  <a:pt x="561" y="252"/>
                </a:lnTo>
                <a:lnTo>
                  <a:pt x="566" y="244"/>
                </a:lnTo>
                <a:lnTo>
                  <a:pt x="569" y="237"/>
                </a:lnTo>
                <a:lnTo>
                  <a:pt x="572" y="228"/>
                </a:lnTo>
                <a:lnTo>
                  <a:pt x="574" y="220"/>
                </a:lnTo>
                <a:lnTo>
                  <a:pt x="577" y="204"/>
                </a:lnTo>
                <a:lnTo>
                  <a:pt x="578" y="189"/>
                </a:lnTo>
                <a:lnTo>
                  <a:pt x="580" y="175"/>
                </a:lnTo>
                <a:lnTo>
                  <a:pt x="580" y="175"/>
                </a:lnTo>
                <a:lnTo>
                  <a:pt x="578" y="161"/>
                </a:lnTo>
                <a:lnTo>
                  <a:pt x="577" y="146"/>
                </a:lnTo>
                <a:lnTo>
                  <a:pt x="574" y="129"/>
                </a:lnTo>
                <a:lnTo>
                  <a:pt x="572" y="121"/>
                </a:lnTo>
                <a:lnTo>
                  <a:pt x="569" y="113"/>
                </a:lnTo>
                <a:lnTo>
                  <a:pt x="566" y="106"/>
                </a:lnTo>
                <a:lnTo>
                  <a:pt x="561" y="98"/>
                </a:lnTo>
                <a:lnTo>
                  <a:pt x="557" y="93"/>
                </a:lnTo>
                <a:lnTo>
                  <a:pt x="551" y="89"/>
                </a:lnTo>
                <a:lnTo>
                  <a:pt x="544" y="85"/>
                </a:lnTo>
                <a:lnTo>
                  <a:pt x="537" y="84"/>
                </a:lnTo>
                <a:lnTo>
                  <a:pt x="457" y="84"/>
                </a:lnTo>
                <a:lnTo>
                  <a:pt x="457" y="54"/>
                </a:lnTo>
                <a:lnTo>
                  <a:pt x="366" y="54"/>
                </a:lnTo>
                <a:lnTo>
                  <a:pt x="366" y="84"/>
                </a:lnTo>
                <a:lnTo>
                  <a:pt x="214" y="84"/>
                </a:lnTo>
                <a:lnTo>
                  <a:pt x="214" y="54"/>
                </a:lnTo>
                <a:lnTo>
                  <a:pt x="123" y="54"/>
                </a:lnTo>
                <a:lnTo>
                  <a:pt x="123" y="84"/>
                </a:lnTo>
                <a:lnTo>
                  <a:pt x="43" y="84"/>
                </a:lnTo>
                <a:lnTo>
                  <a:pt x="43" y="84"/>
                </a:lnTo>
                <a:lnTo>
                  <a:pt x="35" y="85"/>
                </a:lnTo>
                <a:lnTo>
                  <a:pt x="29" y="89"/>
                </a:lnTo>
                <a:lnTo>
                  <a:pt x="23" y="93"/>
                </a:lnTo>
                <a:lnTo>
                  <a:pt x="18" y="98"/>
                </a:lnTo>
                <a:lnTo>
                  <a:pt x="14" y="106"/>
                </a:lnTo>
                <a:lnTo>
                  <a:pt x="11" y="113"/>
                </a:lnTo>
                <a:lnTo>
                  <a:pt x="8" y="121"/>
                </a:lnTo>
                <a:lnTo>
                  <a:pt x="5" y="129"/>
                </a:lnTo>
                <a:lnTo>
                  <a:pt x="2" y="146"/>
                </a:lnTo>
                <a:lnTo>
                  <a:pt x="1" y="161"/>
                </a:lnTo>
                <a:lnTo>
                  <a:pt x="0" y="175"/>
                </a:lnTo>
                <a:lnTo>
                  <a:pt x="0" y="175"/>
                </a:lnTo>
                <a:lnTo>
                  <a:pt x="1" y="189"/>
                </a:lnTo>
                <a:lnTo>
                  <a:pt x="2" y="204"/>
                </a:lnTo>
                <a:lnTo>
                  <a:pt x="5" y="220"/>
                </a:lnTo>
                <a:lnTo>
                  <a:pt x="8" y="228"/>
                </a:lnTo>
                <a:lnTo>
                  <a:pt x="11" y="237"/>
                </a:lnTo>
                <a:lnTo>
                  <a:pt x="14" y="244"/>
                </a:lnTo>
                <a:lnTo>
                  <a:pt x="18" y="252"/>
                </a:lnTo>
                <a:lnTo>
                  <a:pt x="23" y="257"/>
                </a:lnTo>
                <a:lnTo>
                  <a:pt x="29" y="261"/>
                </a:lnTo>
                <a:lnTo>
                  <a:pt x="35" y="264"/>
                </a:lnTo>
                <a:lnTo>
                  <a:pt x="43" y="266"/>
                </a:lnTo>
                <a:lnTo>
                  <a:pt x="0" y="266"/>
                </a:lnTo>
                <a:lnTo>
                  <a:pt x="0" y="326"/>
                </a:lnTo>
                <a:lnTo>
                  <a:pt x="31" y="326"/>
                </a:lnTo>
                <a:lnTo>
                  <a:pt x="31" y="326"/>
                </a:lnTo>
                <a:lnTo>
                  <a:pt x="31" y="324"/>
                </a:lnTo>
                <a:lnTo>
                  <a:pt x="31" y="324"/>
                </a:lnTo>
                <a:lnTo>
                  <a:pt x="31" y="318"/>
                </a:lnTo>
                <a:lnTo>
                  <a:pt x="32" y="311"/>
                </a:lnTo>
                <a:lnTo>
                  <a:pt x="35" y="300"/>
                </a:lnTo>
                <a:lnTo>
                  <a:pt x="42" y="289"/>
                </a:lnTo>
                <a:lnTo>
                  <a:pt x="49" y="279"/>
                </a:lnTo>
                <a:lnTo>
                  <a:pt x="58" y="272"/>
                </a:lnTo>
                <a:lnTo>
                  <a:pt x="69" y="267"/>
                </a:lnTo>
                <a:lnTo>
                  <a:pt x="81" y="262"/>
                </a:lnTo>
                <a:lnTo>
                  <a:pt x="87" y="262"/>
                </a:lnTo>
                <a:lnTo>
                  <a:pt x="94" y="261"/>
                </a:lnTo>
                <a:lnTo>
                  <a:pt x="94" y="261"/>
                </a:lnTo>
                <a:lnTo>
                  <a:pt x="103" y="262"/>
                </a:lnTo>
                <a:lnTo>
                  <a:pt x="113" y="264"/>
                </a:lnTo>
                <a:lnTo>
                  <a:pt x="121" y="269"/>
                </a:lnTo>
                <a:lnTo>
                  <a:pt x="130" y="273"/>
                </a:lnTo>
                <a:lnTo>
                  <a:pt x="138" y="279"/>
                </a:lnTo>
                <a:lnTo>
                  <a:pt x="143" y="286"/>
                </a:lnTo>
                <a:lnTo>
                  <a:pt x="148" y="294"/>
                </a:lnTo>
                <a:lnTo>
                  <a:pt x="153" y="303"/>
                </a:lnTo>
                <a:lnTo>
                  <a:pt x="153" y="303"/>
                </a:lnTo>
                <a:lnTo>
                  <a:pt x="157" y="294"/>
                </a:lnTo>
                <a:lnTo>
                  <a:pt x="161" y="286"/>
                </a:lnTo>
                <a:lnTo>
                  <a:pt x="168" y="279"/>
                </a:lnTo>
                <a:lnTo>
                  <a:pt x="175" y="273"/>
                </a:lnTo>
                <a:lnTo>
                  <a:pt x="184" y="269"/>
                </a:lnTo>
                <a:lnTo>
                  <a:pt x="192" y="264"/>
                </a:lnTo>
                <a:lnTo>
                  <a:pt x="202" y="262"/>
                </a:lnTo>
                <a:lnTo>
                  <a:pt x="212" y="261"/>
                </a:lnTo>
                <a:lnTo>
                  <a:pt x="212" y="261"/>
                </a:lnTo>
                <a:lnTo>
                  <a:pt x="218" y="262"/>
                </a:lnTo>
                <a:lnTo>
                  <a:pt x="225" y="262"/>
                </a:lnTo>
                <a:lnTo>
                  <a:pt x="237" y="267"/>
                </a:lnTo>
                <a:lnTo>
                  <a:pt x="247" y="272"/>
                </a:lnTo>
                <a:lnTo>
                  <a:pt x="256" y="279"/>
                </a:lnTo>
                <a:lnTo>
                  <a:pt x="263" y="289"/>
                </a:lnTo>
                <a:lnTo>
                  <a:pt x="270" y="300"/>
                </a:lnTo>
                <a:lnTo>
                  <a:pt x="273" y="311"/>
                </a:lnTo>
                <a:lnTo>
                  <a:pt x="274" y="318"/>
                </a:lnTo>
                <a:lnTo>
                  <a:pt x="274" y="324"/>
                </a:lnTo>
                <a:lnTo>
                  <a:pt x="274" y="324"/>
                </a:lnTo>
                <a:lnTo>
                  <a:pt x="274" y="326"/>
                </a:lnTo>
                <a:lnTo>
                  <a:pt x="427" y="326"/>
                </a:lnTo>
                <a:lnTo>
                  <a:pt x="427" y="326"/>
                </a:lnTo>
                <a:lnTo>
                  <a:pt x="427" y="324"/>
                </a:lnTo>
                <a:lnTo>
                  <a:pt x="427" y="324"/>
                </a:lnTo>
                <a:lnTo>
                  <a:pt x="427" y="318"/>
                </a:lnTo>
                <a:lnTo>
                  <a:pt x="428" y="311"/>
                </a:lnTo>
                <a:lnTo>
                  <a:pt x="432" y="300"/>
                </a:lnTo>
                <a:lnTo>
                  <a:pt x="438" y="289"/>
                </a:lnTo>
                <a:lnTo>
                  <a:pt x="445" y="279"/>
                </a:lnTo>
                <a:lnTo>
                  <a:pt x="455" y="272"/>
                </a:lnTo>
                <a:lnTo>
                  <a:pt x="466" y="267"/>
                </a:lnTo>
                <a:lnTo>
                  <a:pt x="477" y="262"/>
                </a:lnTo>
                <a:lnTo>
                  <a:pt x="484" y="262"/>
                </a:lnTo>
                <a:lnTo>
                  <a:pt x="490" y="261"/>
                </a:lnTo>
                <a:lnTo>
                  <a:pt x="490" y="261"/>
                </a:lnTo>
                <a:lnTo>
                  <a:pt x="497" y="262"/>
                </a:lnTo>
                <a:lnTo>
                  <a:pt x="502" y="262"/>
                </a:lnTo>
                <a:lnTo>
                  <a:pt x="514" y="267"/>
                </a:lnTo>
                <a:lnTo>
                  <a:pt x="525" y="272"/>
                </a:lnTo>
                <a:lnTo>
                  <a:pt x="534" y="279"/>
                </a:lnTo>
                <a:lnTo>
                  <a:pt x="542" y="289"/>
                </a:lnTo>
                <a:lnTo>
                  <a:pt x="548" y="300"/>
                </a:lnTo>
                <a:lnTo>
                  <a:pt x="552" y="311"/>
                </a:lnTo>
                <a:lnTo>
                  <a:pt x="553" y="318"/>
                </a:lnTo>
                <a:lnTo>
                  <a:pt x="553" y="324"/>
                </a:lnTo>
                <a:lnTo>
                  <a:pt x="553" y="324"/>
                </a:lnTo>
                <a:lnTo>
                  <a:pt x="553" y="324"/>
                </a:lnTo>
                <a:lnTo>
                  <a:pt x="555" y="325"/>
                </a:lnTo>
                <a:lnTo>
                  <a:pt x="566" y="326"/>
                </a:lnTo>
                <a:lnTo>
                  <a:pt x="743" y="326"/>
                </a:lnTo>
                <a:lnTo>
                  <a:pt x="743" y="326"/>
                </a:lnTo>
                <a:lnTo>
                  <a:pt x="730" y="326"/>
                </a:lnTo>
                <a:lnTo>
                  <a:pt x="745" y="326"/>
                </a:lnTo>
                <a:lnTo>
                  <a:pt x="745" y="326"/>
                </a:lnTo>
                <a:lnTo>
                  <a:pt x="745" y="324"/>
                </a:lnTo>
                <a:lnTo>
                  <a:pt x="745" y="324"/>
                </a:lnTo>
                <a:lnTo>
                  <a:pt x="745" y="318"/>
                </a:lnTo>
                <a:lnTo>
                  <a:pt x="746" y="311"/>
                </a:lnTo>
                <a:lnTo>
                  <a:pt x="750" y="300"/>
                </a:lnTo>
                <a:lnTo>
                  <a:pt x="756" y="289"/>
                </a:lnTo>
                <a:lnTo>
                  <a:pt x="763" y="279"/>
                </a:lnTo>
                <a:lnTo>
                  <a:pt x="773" y="272"/>
                </a:lnTo>
                <a:lnTo>
                  <a:pt x="784" y="267"/>
                </a:lnTo>
                <a:lnTo>
                  <a:pt x="796" y="262"/>
                </a:lnTo>
                <a:lnTo>
                  <a:pt x="801" y="262"/>
                </a:lnTo>
                <a:lnTo>
                  <a:pt x="807" y="261"/>
                </a:lnTo>
                <a:lnTo>
                  <a:pt x="807" y="261"/>
                </a:lnTo>
                <a:lnTo>
                  <a:pt x="814" y="262"/>
                </a:lnTo>
                <a:lnTo>
                  <a:pt x="820" y="262"/>
                </a:lnTo>
                <a:lnTo>
                  <a:pt x="832" y="267"/>
                </a:lnTo>
                <a:lnTo>
                  <a:pt x="843" y="272"/>
                </a:lnTo>
                <a:lnTo>
                  <a:pt x="853" y="279"/>
                </a:lnTo>
                <a:lnTo>
                  <a:pt x="860" y="289"/>
                </a:lnTo>
                <a:lnTo>
                  <a:pt x="866" y="300"/>
                </a:lnTo>
                <a:lnTo>
                  <a:pt x="870" y="311"/>
                </a:lnTo>
                <a:lnTo>
                  <a:pt x="871" y="318"/>
                </a:lnTo>
                <a:lnTo>
                  <a:pt x="871" y="324"/>
                </a:lnTo>
                <a:lnTo>
                  <a:pt x="871" y="324"/>
                </a:lnTo>
                <a:lnTo>
                  <a:pt x="871" y="326"/>
                </a:lnTo>
                <a:lnTo>
                  <a:pt x="892" y="326"/>
                </a:lnTo>
                <a:lnTo>
                  <a:pt x="892" y="326"/>
                </a:lnTo>
                <a:lnTo>
                  <a:pt x="897" y="325"/>
                </a:lnTo>
                <a:lnTo>
                  <a:pt x="901" y="323"/>
                </a:lnTo>
                <a:lnTo>
                  <a:pt x="905" y="320"/>
                </a:lnTo>
                <a:lnTo>
                  <a:pt x="909" y="316"/>
                </a:lnTo>
                <a:lnTo>
                  <a:pt x="911" y="310"/>
                </a:lnTo>
                <a:lnTo>
                  <a:pt x="913" y="304"/>
                </a:lnTo>
                <a:lnTo>
                  <a:pt x="914" y="296"/>
                </a:lnTo>
                <a:lnTo>
                  <a:pt x="915" y="288"/>
                </a:lnTo>
                <a:lnTo>
                  <a:pt x="915" y="288"/>
                </a:lnTo>
                <a:lnTo>
                  <a:pt x="914" y="280"/>
                </a:lnTo>
                <a:lnTo>
                  <a:pt x="913" y="274"/>
                </a:lnTo>
                <a:lnTo>
                  <a:pt x="912" y="268"/>
                </a:lnTo>
                <a:lnTo>
                  <a:pt x="910" y="262"/>
                </a:lnTo>
                <a:lnTo>
                  <a:pt x="906" y="258"/>
                </a:lnTo>
                <a:lnTo>
                  <a:pt x="903" y="255"/>
                </a:lnTo>
                <a:lnTo>
                  <a:pt x="900" y="253"/>
                </a:lnTo>
                <a:lnTo>
                  <a:pt x="896" y="252"/>
                </a:lnTo>
                <a:lnTo>
                  <a:pt x="896" y="252"/>
                </a:lnTo>
                <a:close/>
                <a:moveTo>
                  <a:pt x="689" y="150"/>
                </a:moveTo>
                <a:lnTo>
                  <a:pt x="689" y="102"/>
                </a:lnTo>
                <a:lnTo>
                  <a:pt x="760" y="102"/>
                </a:lnTo>
                <a:lnTo>
                  <a:pt x="760" y="102"/>
                </a:lnTo>
                <a:lnTo>
                  <a:pt x="766" y="103"/>
                </a:lnTo>
                <a:lnTo>
                  <a:pt x="769" y="106"/>
                </a:lnTo>
                <a:lnTo>
                  <a:pt x="772" y="109"/>
                </a:lnTo>
                <a:lnTo>
                  <a:pt x="774" y="113"/>
                </a:lnTo>
                <a:lnTo>
                  <a:pt x="790" y="159"/>
                </a:lnTo>
                <a:lnTo>
                  <a:pt x="689" y="150"/>
                </a:lnTo>
                <a:close/>
                <a:moveTo>
                  <a:pt x="807" y="278"/>
                </a:moveTo>
                <a:lnTo>
                  <a:pt x="807" y="278"/>
                </a:lnTo>
                <a:lnTo>
                  <a:pt x="799" y="279"/>
                </a:lnTo>
                <a:lnTo>
                  <a:pt x="790" y="283"/>
                </a:lnTo>
                <a:lnTo>
                  <a:pt x="783" y="287"/>
                </a:lnTo>
                <a:lnTo>
                  <a:pt x="775" y="292"/>
                </a:lnTo>
                <a:lnTo>
                  <a:pt x="770" y="299"/>
                </a:lnTo>
                <a:lnTo>
                  <a:pt x="766" y="306"/>
                </a:lnTo>
                <a:lnTo>
                  <a:pt x="763" y="315"/>
                </a:lnTo>
                <a:lnTo>
                  <a:pt x="762" y="324"/>
                </a:lnTo>
                <a:lnTo>
                  <a:pt x="762" y="324"/>
                </a:lnTo>
                <a:lnTo>
                  <a:pt x="763" y="333"/>
                </a:lnTo>
                <a:lnTo>
                  <a:pt x="766" y="341"/>
                </a:lnTo>
                <a:lnTo>
                  <a:pt x="770" y="350"/>
                </a:lnTo>
                <a:lnTo>
                  <a:pt x="775" y="356"/>
                </a:lnTo>
                <a:lnTo>
                  <a:pt x="783" y="362"/>
                </a:lnTo>
                <a:lnTo>
                  <a:pt x="790" y="366"/>
                </a:lnTo>
                <a:lnTo>
                  <a:pt x="799" y="368"/>
                </a:lnTo>
                <a:lnTo>
                  <a:pt x="807" y="369"/>
                </a:lnTo>
                <a:lnTo>
                  <a:pt x="807" y="369"/>
                </a:lnTo>
                <a:lnTo>
                  <a:pt x="817" y="368"/>
                </a:lnTo>
                <a:lnTo>
                  <a:pt x="826" y="366"/>
                </a:lnTo>
                <a:lnTo>
                  <a:pt x="833" y="362"/>
                </a:lnTo>
                <a:lnTo>
                  <a:pt x="840" y="356"/>
                </a:lnTo>
                <a:lnTo>
                  <a:pt x="846" y="350"/>
                </a:lnTo>
                <a:lnTo>
                  <a:pt x="850" y="341"/>
                </a:lnTo>
                <a:lnTo>
                  <a:pt x="853" y="333"/>
                </a:lnTo>
                <a:lnTo>
                  <a:pt x="854" y="324"/>
                </a:lnTo>
                <a:lnTo>
                  <a:pt x="854" y="324"/>
                </a:lnTo>
                <a:lnTo>
                  <a:pt x="853" y="315"/>
                </a:lnTo>
                <a:lnTo>
                  <a:pt x="850" y="306"/>
                </a:lnTo>
                <a:lnTo>
                  <a:pt x="846" y="299"/>
                </a:lnTo>
                <a:lnTo>
                  <a:pt x="840" y="292"/>
                </a:lnTo>
                <a:lnTo>
                  <a:pt x="833" y="287"/>
                </a:lnTo>
                <a:lnTo>
                  <a:pt x="826" y="283"/>
                </a:lnTo>
                <a:lnTo>
                  <a:pt x="817" y="279"/>
                </a:lnTo>
                <a:lnTo>
                  <a:pt x="807" y="278"/>
                </a:lnTo>
                <a:lnTo>
                  <a:pt x="807" y="278"/>
                </a:lnTo>
                <a:close/>
                <a:moveTo>
                  <a:pt x="807" y="339"/>
                </a:moveTo>
                <a:lnTo>
                  <a:pt x="807" y="339"/>
                </a:lnTo>
                <a:lnTo>
                  <a:pt x="802" y="338"/>
                </a:lnTo>
                <a:lnTo>
                  <a:pt x="797" y="335"/>
                </a:lnTo>
                <a:lnTo>
                  <a:pt x="794" y="330"/>
                </a:lnTo>
                <a:lnTo>
                  <a:pt x="792" y="324"/>
                </a:lnTo>
                <a:lnTo>
                  <a:pt x="792" y="324"/>
                </a:lnTo>
                <a:lnTo>
                  <a:pt x="794" y="318"/>
                </a:lnTo>
                <a:lnTo>
                  <a:pt x="797" y="314"/>
                </a:lnTo>
                <a:lnTo>
                  <a:pt x="802" y="310"/>
                </a:lnTo>
                <a:lnTo>
                  <a:pt x="807" y="309"/>
                </a:lnTo>
                <a:lnTo>
                  <a:pt x="807" y="309"/>
                </a:lnTo>
                <a:lnTo>
                  <a:pt x="814" y="310"/>
                </a:lnTo>
                <a:lnTo>
                  <a:pt x="818" y="314"/>
                </a:lnTo>
                <a:lnTo>
                  <a:pt x="821" y="318"/>
                </a:lnTo>
                <a:lnTo>
                  <a:pt x="824" y="324"/>
                </a:lnTo>
                <a:lnTo>
                  <a:pt x="824" y="324"/>
                </a:lnTo>
                <a:lnTo>
                  <a:pt x="821" y="330"/>
                </a:lnTo>
                <a:lnTo>
                  <a:pt x="818" y="335"/>
                </a:lnTo>
                <a:lnTo>
                  <a:pt x="814" y="338"/>
                </a:lnTo>
                <a:lnTo>
                  <a:pt x="807" y="339"/>
                </a:lnTo>
                <a:lnTo>
                  <a:pt x="807" y="339"/>
                </a:lnTo>
                <a:close/>
                <a:moveTo>
                  <a:pt x="94" y="278"/>
                </a:moveTo>
                <a:lnTo>
                  <a:pt x="94" y="278"/>
                </a:lnTo>
                <a:lnTo>
                  <a:pt x="85" y="279"/>
                </a:lnTo>
                <a:lnTo>
                  <a:pt x="76" y="283"/>
                </a:lnTo>
                <a:lnTo>
                  <a:pt x="68" y="287"/>
                </a:lnTo>
                <a:lnTo>
                  <a:pt x="61" y="292"/>
                </a:lnTo>
                <a:lnTo>
                  <a:pt x="56" y="299"/>
                </a:lnTo>
                <a:lnTo>
                  <a:pt x="52" y="306"/>
                </a:lnTo>
                <a:lnTo>
                  <a:pt x="48" y="315"/>
                </a:lnTo>
                <a:lnTo>
                  <a:pt x="48" y="324"/>
                </a:lnTo>
                <a:lnTo>
                  <a:pt x="48" y="324"/>
                </a:lnTo>
                <a:lnTo>
                  <a:pt x="48" y="333"/>
                </a:lnTo>
                <a:lnTo>
                  <a:pt x="52" y="341"/>
                </a:lnTo>
                <a:lnTo>
                  <a:pt x="56" y="350"/>
                </a:lnTo>
                <a:lnTo>
                  <a:pt x="61" y="356"/>
                </a:lnTo>
                <a:lnTo>
                  <a:pt x="68" y="362"/>
                </a:lnTo>
                <a:lnTo>
                  <a:pt x="76" y="366"/>
                </a:lnTo>
                <a:lnTo>
                  <a:pt x="85" y="368"/>
                </a:lnTo>
                <a:lnTo>
                  <a:pt x="94" y="369"/>
                </a:lnTo>
                <a:lnTo>
                  <a:pt x="94" y="369"/>
                </a:lnTo>
                <a:lnTo>
                  <a:pt x="103" y="368"/>
                </a:lnTo>
                <a:lnTo>
                  <a:pt x="112" y="366"/>
                </a:lnTo>
                <a:lnTo>
                  <a:pt x="119" y="362"/>
                </a:lnTo>
                <a:lnTo>
                  <a:pt x="126" y="356"/>
                </a:lnTo>
                <a:lnTo>
                  <a:pt x="131" y="350"/>
                </a:lnTo>
                <a:lnTo>
                  <a:pt x="135" y="341"/>
                </a:lnTo>
                <a:lnTo>
                  <a:pt x="139" y="333"/>
                </a:lnTo>
                <a:lnTo>
                  <a:pt x="140" y="324"/>
                </a:lnTo>
                <a:lnTo>
                  <a:pt x="140" y="324"/>
                </a:lnTo>
                <a:lnTo>
                  <a:pt x="139" y="315"/>
                </a:lnTo>
                <a:lnTo>
                  <a:pt x="135" y="306"/>
                </a:lnTo>
                <a:lnTo>
                  <a:pt x="131" y="299"/>
                </a:lnTo>
                <a:lnTo>
                  <a:pt x="126" y="292"/>
                </a:lnTo>
                <a:lnTo>
                  <a:pt x="119" y="287"/>
                </a:lnTo>
                <a:lnTo>
                  <a:pt x="112" y="283"/>
                </a:lnTo>
                <a:lnTo>
                  <a:pt x="103" y="279"/>
                </a:lnTo>
                <a:lnTo>
                  <a:pt x="94" y="278"/>
                </a:lnTo>
                <a:lnTo>
                  <a:pt x="94" y="278"/>
                </a:lnTo>
                <a:close/>
                <a:moveTo>
                  <a:pt x="94" y="339"/>
                </a:moveTo>
                <a:lnTo>
                  <a:pt x="94" y="339"/>
                </a:lnTo>
                <a:lnTo>
                  <a:pt x="88" y="338"/>
                </a:lnTo>
                <a:lnTo>
                  <a:pt x="83" y="335"/>
                </a:lnTo>
                <a:lnTo>
                  <a:pt x="80" y="330"/>
                </a:lnTo>
                <a:lnTo>
                  <a:pt x="78" y="324"/>
                </a:lnTo>
                <a:lnTo>
                  <a:pt x="78" y="324"/>
                </a:lnTo>
                <a:lnTo>
                  <a:pt x="80" y="318"/>
                </a:lnTo>
                <a:lnTo>
                  <a:pt x="83" y="314"/>
                </a:lnTo>
                <a:lnTo>
                  <a:pt x="88" y="310"/>
                </a:lnTo>
                <a:lnTo>
                  <a:pt x="94" y="309"/>
                </a:lnTo>
                <a:lnTo>
                  <a:pt x="94" y="309"/>
                </a:lnTo>
                <a:lnTo>
                  <a:pt x="100" y="310"/>
                </a:lnTo>
                <a:lnTo>
                  <a:pt x="104" y="314"/>
                </a:lnTo>
                <a:lnTo>
                  <a:pt x="108" y="318"/>
                </a:lnTo>
                <a:lnTo>
                  <a:pt x="109" y="324"/>
                </a:lnTo>
                <a:lnTo>
                  <a:pt x="109" y="324"/>
                </a:lnTo>
                <a:lnTo>
                  <a:pt x="108" y="330"/>
                </a:lnTo>
                <a:lnTo>
                  <a:pt x="104" y="335"/>
                </a:lnTo>
                <a:lnTo>
                  <a:pt x="100" y="338"/>
                </a:lnTo>
                <a:lnTo>
                  <a:pt x="94" y="339"/>
                </a:lnTo>
                <a:lnTo>
                  <a:pt x="94" y="339"/>
                </a:lnTo>
                <a:close/>
              </a:path>
            </a:pathLst>
          </a:cu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9" name="Freeform 61"/>
          <p:cNvSpPr>
            <a:spLocks/>
          </p:cNvSpPr>
          <p:nvPr/>
        </p:nvSpPr>
        <p:spPr bwMode="auto">
          <a:xfrm>
            <a:off x="14255276" y="5471678"/>
            <a:ext cx="602105" cy="370225"/>
          </a:xfrm>
          <a:custGeom>
            <a:avLst/>
            <a:gdLst>
              <a:gd name="T0" fmla="*/ 475 w 476"/>
              <a:gd name="T1" fmla="*/ 70 h 126"/>
              <a:gd name="T2" fmla="*/ 460 w 476"/>
              <a:gd name="T3" fmla="*/ 66 h 126"/>
              <a:gd name="T4" fmla="*/ 454 w 476"/>
              <a:gd name="T5" fmla="*/ 48 h 126"/>
              <a:gd name="T6" fmla="*/ 452 w 476"/>
              <a:gd name="T7" fmla="*/ 43 h 126"/>
              <a:gd name="T8" fmla="*/ 451 w 476"/>
              <a:gd name="T9" fmla="*/ 44 h 126"/>
              <a:gd name="T10" fmla="*/ 446 w 476"/>
              <a:gd name="T11" fmla="*/ 66 h 126"/>
              <a:gd name="T12" fmla="*/ 441 w 476"/>
              <a:gd name="T13" fmla="*/ 71 h 126"/>
              <a:gd name="T14" fmla="*/ 436 w 476"/>
              <a:gd name="T15" fmla="*/ 67 h 126"/>
              <a:gd name="T16" fmla="*/ 430 w 476"/>
              <a:gd name="T17" fmla="*/ 70 h 126"/>
              <a:gd name="T18" fmla="*/ 348 w 476"/>
              <a:gd name="T19" fmla="*/ 73 h 126"/>
              <a:gd name="T20" fmla="*/ 346 w 476"/>
              <a:gd name="T21" fmla="*/ 66 h 126"/>
              <a:gd name="T22" fmla="*/ 318 w 476"/>
              <a:gd name="T23" fmla="*/ 61 h 126"/>
              <a:gd name="T24" fmla="*/ 317 w 476"/>
              <a:gd name="T25" fmla="*/ 73 h 126"/>
              <a:gd name="T26" fmla="*/ 290 w 476"/>
              <a:gd name="T27" fmla="*/ 65 h 126"/>
              <a:gd name="T28" fmla="*/ 240 w 476"/>
              <a:gd name="T29" fmla="*/ 72 h 126"/>
              <a:gd name="T30" fmla="*/ 269 w 476"/>
              <a:gd name="T31" fmla="*/ 56 h 126"/>
              <a:gd name="T32" fmla="*/ 240 w 476"/>
              <a:gd name="T33" fmla="*/ 70 h 126"/>
              <a:gd name="T34" fmla="*/ 239 w 476"/>
              <a:gd name="T35" fmla="*/ 49 h 126"/>
              <a:gd name="T36" fmla="*/ 209 w 476"/>
              <a:gd name="T37" fmla="*/ 55 h 126"/>
              <a:gd name="T38" fmla="*/ 239 w 476"/>
              <a:gd name="T39" fmla="*/ 72 h 126"/>
              <a:gd name="T40" fmla="*/ 168 w 476"/>
              <a:gd name="T41" fmla="*/ 57 h 126"/>
              <a:gd name="T42" fmla="*/ 166 w 476"/>
              <a:gd name="T43" fmla="*/ 72 h 126"/>
              <a:gd name="T44" fmla="*/ 103 w 476"/>
              <a:gd name="T45" fmla="*/ 62 h 126"/>
              <a:gd name="T46" fmla="*/ 94 w 476"/>
              <a:gd name="T47" fmla="*/ 56 h 126"/>
              <a:gd name="T48" fmla="*/ 98 w 476"/>
              <a:gd name="T49" fmla="*/ 65 h 126"/>
              <a:gd name="T50" fmla="*/ 103 w 476"/>
              <a:gd name="T51" fmla="*/ 42 h 126"/>
              <a:gd name="T52" fmla="*/ 87 w 476"/>
              <a:gd name="T53" fmla="*/ 34 h 126"/>
              <a:gd name="T54" fmla="*/ 79 w 476"/>
              <a:gd name="T55" fmla="*/ 32 h 126"/>
              <a:gd name="T56" fmla="*/ 78 w 476"/>
              <a:gd name="T57" fmla="*/ 22 h 126"/>
              <a:gd name="T58" fmla="*/ 78 w 476"/>
              <a:gd name="T59" fmla="*/ 32 h 126"/>
              <a:gd name="T60" fmla="*/ 74 w 476"/>
              <a:gd name="T61" fmla="*/ 33 h 126"/>
              <a:gd name="T62" fmla="*/ 64 w 476"/>
              <a:gd name="T63" fmla="*/ 5 h 126"/>
              <a:gd name="T64" fmla="*/ 56 w 476"/>
              <a:gd name="T65" fmla="*/ 4 h 126"/>
              <a:gd name="T66" fmla="*/ 55 w 476"/>
              <a:gd name="T67" fmla="*/ 0 h 126"/>
              <a:gd name="T68" fmla="*/ 55 w 476"/>
              <a:gd name="T69" fmla="*/ 7 h 126"/>
              <a:gd name="T70" fmla="*/ 59 w 476"/>
              <a:gd name="T71" fmla="*/ 35 h 126"/>
              <a:gd name="T72" fmla="*/ 54 w 476"/>
              <a:gd name="T73" fmla="*/ 32 h 126"/>
              <a:gd name="T74" fmla="*/ 53 w 476"/>
              <a:gd name="T75" fmla="*/ 21 h 126"/>
              <a:gd name="T76" fmla="*/ 49 w 476"/>
              <a:gd name="T77" fmla="*/ 32 h 126"/>
              <a:gd name="T78" fmla="*/ 48 w 476"/>
              <a:gd name="T79" fmla="*/ 34 h 126"/>
              <a:gd name="T80" fmla="*/ 45 w 476"/>
              <a:gd name="T81" fmla="*/ 25 h 126"/>
              <a:gd name="T82" fmla="*/ 40 w 476"/>
              <a:gd name="T83" fmla="*/ 25 h 126"/>
              <a:gd name="T84" fmla="*/ 35 w 476"/>
              <a:gd name="T85" fmla="*/ 26 h 126"/>
              <a:gd name="T86" fmla="*/ 29 w 476"/>
              <a:gd name="T87" fmla="*/ 59 h 126"/>
              <a:gd name="T88" fmla="*/ 27 w 476"/>
              <a:gd name="T89" fmla="*/ 64 h 126"/>
              <a:gd name="T90" fmla="*/ 19 w 476"/>
              <a:gd name="T91" fmla="*/ 74 h 126"/>
              <a:gd name="T92" fmla="*/ 1 w 476"/>
              <a:gd name="T93" fmla="*/ 76 h 126"/>
              <a:gd name="T94" fmla="*/ 18 w 476"/>
              <a:gd name="T95" fmla="*/ 100 h 126"/>
              <a:gd name="T96" fmla="*/ 14 w 476"/>
              <a:gd name="T97" fmla="*/ 112 h 126"/>
              <a:gd name="T98" fmla="*/ 22 w 476"/>
              <a:gd name="T99" fmla="*/ 102 h 126"/>
              <a:gd name="T100" fmla="*/ 33 w 476"/>
              <a:gd name="T101" fmla="*/ 111 h 126"/>
              <a:gd name="T102" fmla="*/ 475 w 476"/>
              <a:gd name="T103" fmla="*/ 114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76" h="126">
                <a:moveTo>
                  <a:pt x="470" y="105"/>
                </a:moveTo>
                <a:cubicBezTo>
                  <a:pt x="467" y="103"/>
                  <a:pt x="464" y="101"/>
                  <a:pt x="464" y="98"/>
                </a:cubicBezTo>
                <a:cubicBezTo>
                  <a:pt x="464" y="88"/>
                  <a:pt x="474" y="72"/>
                  <a:pt x="475" y="70"/>
                </a:cubicBezTo>
                <a:cubicBezTo>
                  <a:pt x="471" y="70"/>
                  <a:pt x="469" y="70"/>
                  <a:pt x="465" y="70"/>
                </a:cubicBezTo>
                <a:cubicBezTo>
                  <a:pt x="465" y="68"/>
                  <a:pt x="465" y="68"/>
                  <a:pt x="465" y="68"/>
                </a:cubicBezTo>
                <a:cubicBezTo>
                  <a:pt x="465" y="65"/>
                  <a:pt x="463" y="66"/>
                  <a:pt x="460" y="66"/>
                </a:cubicBezTo>
                <a:cubicBezTo>
                  <a:pt x="454" y="66"/>
                  <a:pt x="454" y="66"/>
                  <a:pt x="454" y="66"/>
                </a:cubicBezTo>
                <a:cubicBezTo>
                  <a:pt x="454" y="48"/>
                  <a:pt x="454" y="48"/>
                  <a:pt x="454" y="48"/>
                </a:cubicBezTo>
                <a:cubicBezTo>
                  <a:pt x="454" y="48"/>
                  <a:pt x="454" y="48"/>
                  <a:pt x="454" y="48"/>
                </a:cubicBezTo>
                <a:cubicBezTo>
                  <a:pt x="454" y="47"/>
                  <a:pt x="454" y="47"/>
                  <a:pt x="454" y="47"/>
                </a:cubicBezTo>
                <a:cubicBezTo>
                  <a:pt x="454" y="45"/>
                  <a:pt x="454" y="45"/>
                  <a:pt x="454" y="45"/>
                </a:cubicBezTo>
                <a:cubicBezTo>
                  <a:pt x="454" y="44"/>
                  <a:pt x="453" y="43"/>
                  <a:pt x="452" y="43"/>
                </a:cubicBezTo>
                <a:cubicBezTo>
                  <a:pt x="452" y="43"/>
                  <a:pt x="452" y="43"/>
                  <a:pt x="451" y="44"/>
                </a:cubicBezTo>
                <a:cubicBezTo>
                  <a:pt x="451" y="44"/>
                  <a:pt x="451" y="44"/>
                  <a:pt x="451" y="44"/>
                </a:cubicBezTo>
                <a:cubicBezTo>
                  <a:pt x="451" y="44"/>
                  <a:pt x="451" y="44"/>
                  <a:pt x="451" y="44"/>
                </a:cubicBezTo>
                <a:cubicBezTo>
                  <a:pt x="451" y="45"/>
                  <a:pt x="451" y="45"/>
                  <a:pt x="451" y="45"/>
                </a:cubicBezTo>
                <a:cubicBezTo>
                  <a:pt x="451" y="66"/>
                  <a:pt x="451" y="66"/>
                  <a:pt x="451" y="66"/>
                </a:cubicBezTo>
                <a:cubicBezTo>
                  <a:pt x="446" y="66"/>
                  <a:pt x="446" y="66"/>
                  <a:pt x="446" y="66"/>
                </a:cubicBezTo>
                <a:cubicBezTo>
                  <a:pt x="444" y="66"/>
                  <a:pt x="441" y="65"/>
                  <a:pt x="441" y="68"/>
                </a:cubicBezTo>
                <a:cubicBezTo>
                  <a:pt x="441" y="71"/>
                  <a:pt x="441" y="71"/>
                  <a:pt x="441" y="71"/>
                </a:cubicBezTo>
                <a:cubicBezTo>
                  <a:pt x="441" y="71"/>
                  <a:pt x="441" y="71"/>
                  <a:pt x="441" y="71"/>
                </a:cubicBezTo>
                <a:cubicBezTo>
                  <a:pt x="440" y="71"/>
                  <a:pt x="439" y="71"/>
                  <a:pt x="438" y="71"/>
                </a:cubicBezTo>
                <a:cubicBezTo>
                  <a:pt x="437" y="71"/>
                  <a:pt x="436" y="70"/>
                  <a:pt x="436" y="70"/>
                </a:cubicBezTo>
                <a:cubicBezTo>
                  <a:pt x="436" y="67"/>
                  <a:pt x="436" y="67"/>
                  <a:pt x="436" y="67"/>
                </a:cubicBezTo>
                <a:cubicBezTo>
                  <a:pt x="436" y="66"/>
                  <a:pt x="434" y="66"/>
                  <a:pt x="433" y="66"/>
                </a:cubicBezTo>
                <a:cubicBezTo>
                  <a:pt x="431" y="66"/>
                  <a:pt x="430" y="66"/>
                  <a:pt x="430" y="67"/>
                </a:cubicBezTo>
                <a:cubicBezTo>
                  <a:pt x="430" y="70"/>
                  <a:pt x="430" y="70"/>
                  <a:pt x="430" y="70"/>
                </a:cubicBezTo>
                <a:cubicBezTo>
                  <a:pt x="429" y="70"/>
                  <a:pt x="402" y="70"/>
                  <a:pt x="390" y="70"/>
                </a:cubicBezTo>
                <a:cubicBezTo>
                  <a:pt x="389" y="72"/>
                  <a:pt x="388" y="74"/>
                  <a:pt x="386" y="74"/>
                </a:cubicBezTo>
                <a:cubicBezTo>
                  <a:pt x="383" y="74"/>
                  <a:pt x="369" y="74"/>
                  <a:pt x="348" y="73"/>
                </a:cubicBezTo>
                <a:cubicBezTo>
                  <a:pt x="348" y="66"/>
                  <a:pt x="348" y="66"/>
                  <a:pt x="348" y="66"/>
                </a:cubicBezTo>
                <a:cubicBezTo>
                  <a:pt x="348" y="66"/>
                  <a:pt x="348" y="65"/>
                  <a:pt x="347" y="65"/>
                </a:cubicBezTo>
                <a:cubicBezTo>
                  <a:pt x="347" y="65"/>
                  <a:pt x="346" y="66"/>
                  <a:pt x="346" y="66"/>
                </a:cubicBezTo>
                <a:cubicBezTo>
                  <a:pt x="346" y="73"/>
                  <a:pt x="346" y="73"/>
                  <a:pt x="346" y="73"/>
                </a:cubicBezTo>
                <a:cubicBezTo>
                  <a:pt x="338" y="73"/>
                  <a:pt x="328" y="73"/>
                  <a:pt x="318" y="73"/>
                </a:cubicBezTo>
                <a:cubicBezTo>
                  <a:pt x="318" y="61"/>
                  <a:pt x="318" y="61"/>
                  <a:pt x="318" y="61"/>
                </a:cubicBezTo>
                <a:cubicBezTo>
                  <a:pt x="318" y="60"/>
                  <a:pt x="318" y="60"/>
                  <a:pt x="317" y="60"/>
                </a:cubicBezTo>
                <a:cubicBezTo>
                  <a:pt x="317" y="60"/>
                  <a:pt x="317" y="60"/>
                  <a:pt x="317" y="61"/>
                </a:cubicBezTo>
                <a:cubicBezTo>
                  <a:pt x="317" y="73"/>
                  <a:pt x="317" y="73"/>
                  <a:pt x="317" y="73"/>
                </a:cubicBezTo>
                <a:cubicBezTo>
                  <a:pt x="308" y="73"/>
                  <a:pt x="300" y="73"/>
                  <a:pt x="291" y="73"/>
                </a:cubicBezTo>
                <a:cubicBezTo>
                  <a:pt x="291" y="66"/>
                  <a:pt x="291" y="66"/>
                  <a:pt x="291" y="66"/>
                </a:cubicBezTo>
                <a:cubicBezTo>
                  <a:pt x="291" y="66"/>
                  <a:pt x="291" y="65"/>
                  <a:pt x="290" y="65"/>
                </a:cubicBezTo>
                <a:cubicBezTo>
                  <a:pt x="290" y="65"/>
                  <a:pt x="289" y="66"/>
                  <a:pt x="289" y="66"/>
                </a:cubicBezTo>
                <a:cubicBezTo>
                  <a:pt x="289" y="73"/>
                  <a:pt x="289" y="73"/>
                  <a:pt x="289" y="73"/>
                </a:cubicBezTo>
                <a:cubicBezTo>
                  <a:pt x="274" y="73"/>
                  <a:pt x="257" y="73"/>
                  <a:pt x="240" y="72"/>
                </a:cubicBezTo>
                <a:cubicBezTo>
                  <a:pt x="240" y="72"/>
                  <a:pt x="240" y="72"/>
                  <a:pt x="240" y="72"/>
                </a:cubicBezTo>
                <a:cubicBezTo>
                  <a:pt x="240" y="71"/>
                  <a:pt x="240" y="71"/>
                  <a:pt x="240" y="71"/>
                </a:cubicBezTo>
                <a:cubicBezTo>
                  <a:pt x="269" y="56"/>
                  <a:pt x="269" y="56"/>
                  <a:pt x="269" y="56"/>
                </a:cubicBezTo>
                <a:cubicBezTo>
                  <a:pt x="270" y="55"/>
                  <a:pt x="270" y="55"/>
                  <a:pt x="270" y="55"/>
                </a:cubicBezTo>
                <a:cubicBezTo>
                  <a:pt x="270" y="54"/>
                  <a:pt x="269" y="54"/>
                  <a:pt x="269" y="54"/>
                </a:cubicBezTo>
                <a:cubicBezTo>
                  <a:pt x="240" y="70"/>
                  <a:pt x="240" y="70"/>
                  <a:pt x="240" y="70"/>
                </a:cubicBezTo>
                <a:cubicBezTo>
                  <a:pt x="240" y="49"/>
                  <a:pt x="240" y="49"/>
                  <a:pt x="240" y="49"/>
                </a:cubicBezTo>
                <a:cubicBezTo>
                  <a:pt x="240" y="48"/>
                  <a:pt x="240" y="48"/>
                  <a:pt x="239" y="48"/>
                </a:cubicBezTo>
                <a:cubicBezTo>
                  <a:pt x="239" y="48"/>
                  <a:pt x="239" y="48"/>
                  <a:pt x="239" y="49"/>
                </a:cubicBezTo>
                <a:cubicBezTo>
                  <a:pt x="239" y="70"/>
                  <a:pt x="239" y="70"/>
                  <a:pt x="239" y="70"/>
                </a:cubicBezTo>
                <a:cubicBezTo>
                  <a:pt x="210" y="54"/>
                  <a:pt x="210" y="54"/>
                  <a:pt x="210" y="54"/>
                </a:cubicBezTo>
                <a:cubicBezTo>
                  <a:pt x="209" y="54"/>
                  <a:pt x="209" y="54"/>
                  <a:pt x="209" y="55"/>
                </a:cubicBezTo>
                <a:cubicBezTo>
                  <a:pt x="209" y="55"/>
                  <a:pt x="209" y="55"/>
                  <a:pt x="209" y="56"/>
                </a:cubicBezTo>
                <a:cubicBezTo>
                  <a:pt x="238" y="71"/>
                  <a:pt x="238" y="71"/>
                  <a:pt x="238" y="71"/>
                </a:cubicBezTo>
                <a:cubicBezTo>
                  <a:pt x="239" y="72"/>
                  <a:pt x="239" y="72"/>
                  <a:pt x="239" y="72"/>
                </a:cubicBezTo>
                <a:cubicBezTo>
                  <a:pt x="239" y="72"/>
                  <a:pt x="239" y="72"/>
                  <a:pt x="239" y="72"/>
                </a:cubicBezTo>
                <a:cubicBezTo>
                  <a:pt x="214" y="72"/>
                  <a:pt x="189" y="72"/>
                  <a:pt x="168" y="72"/>
                </a:cubicBezTo>
                <a:cubicBezTo>
                  <a:pt x="168" y="57"/>
                  <a:pt x="168" y="57"/>
                  <a:pt x="168" y="57"/>
                </a:cubicBezTo>
                <a:cubicBezTo>
                  <a:pt x="168" y="57"/>
                  <a:pt x="167" y="57"/>
                  <a:pt x="167" y="57"/>
                </a:cubicBezTo>
                <a:cubicBezTo>
                  <a:pt x="167" y="57"/>
                  <a:pt x="166" y="57"/>
                  <a:pt x="166" y="57"/>
                </a:cubicBezTo>
                <a:cubicBezTo>
                  <a:pt x="166" y="72"/>
                  <a:pt x="166" y="72"/>
                  <a:pt x="166" y="72"/>
                </a:cubicBezTo>
                <a:cubicBezTo>
                  <a:pt x="131" y="71"/>
                  <a:pt x="106" y="71"/>
                  <a:pt x="104" y="71"/>
                </a:cubicBezTo>
                <a:cubicBezTo>
                  <a:pt x="104" y="63"/>
                  <a:pt x="104" y="63"/>
                  <a:pt x="104" y="63"/>
                </a:cubicBezTo>
                <a:cubicBezTo>
                  <a:pt x="104" y="63"/>
                  <a:pt x="104" y="62"/>
                  <a:pt x="103" y="62"/>
                </a:cubicBezTo>
                <a:cubicBezTo>
                  <a:pt x="101" y="62"/>
                  <a:pt x="101" y="62"/>
                  <a:pt x="101" y="62"/>
                </a:cubicBezTo>
                <a:cubicBezTo>
                  <a:pt x="95" y="56"/>
                  <a:pt x="95" y="56"/>
                  <a:pt x="95" y="56"/>
                </a:cubicBezTo>
                <a:cubicBezTo>
                  <a:pt x="94" y="56"/>
                  <a:pt x="94" y="56"/>
                  <a:pt x="94" y="56"/>
                </a:cubicBezTo>
                <a:cubicBezTo>
                  <a:pt x="99" y="62"/>
                  <a:pt x="99" y="62"/>
                  <a:pt x="99" y="62"/>
                </a:cubicBezTo>
                <a:cubicBezTo>
                  <a:pt x="98" y="62"/>
                  <a:pt x="98" y="62"/>
                  <a:pt x="98" y="62"/>
                </a:cubicBezTo>
                <a:cubicBezTo>
                  <a:pt x="98" y="64"/>
                  <a:pt x="98" y="65"/>
                  <a:pt x="98" y="65"/>
                </a:cubicBezTo>
                <a:cubicBezTo>
                  <a:pt x="93" y="65"/>
                  <a:pt x="93" y="65"/>
                  <a:pt x="93" y="65"/>
                </a:cubicBezTo>
                <a:cubicBezTo>
                  <a:pt x="93" y="65"/>
                  <a:pt x="93" y="54"/>
                  <a:pt x="93" y="49"/>
                </a:cubicBezTo>
                <a:cubicBezTo>
                  <a:pt x="93" y="48"/>
                  <a:pt x="101" y="43"/>
                  <a:pt x="103" y="42"/>
                </a:cubicBezTo>
                <a:cubicBezTo>
                  <a:pt x="103" y="37"/>
                  <a:pt x="103" y="37"/>
                  <a:pt x="103" y="37"/>
                </a:cubicBezTo>
                <a:cubicBezTo>
                  <a:pt x="87" y="37"/>
                  <a:pt x="87" y="37"/>
                  <a:pt x="87" y="37"/>
                </a:cubicBezTo>
                <a:cubicBezTo>
                  <a:pt x="87" y="34"/>
                  <a:pt x="87" y="34"/>
                  <a:pt x="87" y="34"/>
                </a:cubicBezTo>
                <a:cubicBezTo>
                  <a:pt x="87" y="33"/>
                  <a:pt x="86" y="32"/>
                  <a:pt x="85" y="32"/>
                </a:cubicBezTo>
                <a:cubicBezTo>
                  <a:pt x="80" y="32"/>
                  <a:pt x="80" y="32"/>
                  <a:pt x="80" y="32"/>
                </a:cubicBezTo>
                <a:cubicBezTo>
                  <a:pt x="79" y="32"/>
                  <a:pt x="79" y="32"/>
                  <a:pt x="79" y="32"/>
                </a:cubicBezTo>
                <a:cubicBezTo>
                  <a:pt x="79" y="26"/>
                  <a:pt x="79" y="26"/>
                  <a:pt x="79" y="26"/>
                </a:cubicBezTo>
                <a:cubicBezTo>
                  <a:pt x="79" y="25"/>
                  <a:pt x="80" y="25"/>
                  <a:pt x="80" y="24"/>
                </a:cubicBezTo>
                <a:cubicBezTo>
                  <a:pt x="80" y="23"/>
                  <a:pt x="79" y="22"/>
                  <a:pt x="78" y="22"/>
                </a:cubicBezTo>
                <a:cubicBezTo>
                  <a:pt x="77" y="22"/>
                  <a:pt x="77" y="23"/>
                  <a:pt x="77" y="24"/>
                </a:cubicBezTo>
                <a:cubicBezTo>
                  <a:pt x="77" y="25"/>
                  <a:pt x="77" y="25"/>
                  <a:pt x="78" y="26"/>
                </a:cubicBezTo>
                <a:cubicBezTo>
                  <a:pt x="78" y="32"/>
                  <a:pt x="78" y="32"/>
                  <a:pt x="78" y="32"/>
                </a:cubicBezTo>
                <a:cubicBezTo>
                  <a:pt x="78" y="32"/>
                  <a:pt x="78" y="32"/>
                  <a:pt x="78" y="32"/>
                </a:cubicBezTo>
                <a:cubicBezTo>
                  <a:pt x="75" y="32"/>
                  <a:pt x="75" y="32"/>
                  <a:pt x="75" y="32"/>
                </a:cubicBezTo>
                <a:cubicBezTo>
                  <a:pt x="75" y="32"/>
                  <a:pt x="74" y="33"/>
                  <a:pt x="74" y="33"/>
                </a:cubicBezTo>
                <a:cubicBezTo>
                  <a:pt x="61" y="33"/>
                  <a:pt x="61" y="33"/>
                  <a:pt x="61" y="33"/>
                </a:cubicBezTo>
                <a:cubicBezTo>
                  <a:pt x="61" y="28"/>
                  <a:pt x="61" y="11"/>
                  <a:pt x="61" y="11"/>
                </a:cubicBezTo>
                <a:cubicBezTo>
                  <a:pt x="64" y="10"/>
                  <a:pt x="64" y="8"/>
                  <a:pt x="64" y="5"/>
                </a:cubicBezTo>
                <a:cubicBezTo>
                  <a:pt x="65" y="5"/>
                  <a:pt x="66" y="5"/>
                  <a:pt x="66" y="5"/>
                </a:cubicBezTo>
                <a:cubicBezTo>
                  <a:pt x="66" y="5"/>
                  <a:pt x="66" y="5"/>
                  <a:pt x="66" y="5"/>
                </a:cubicBezTo>
                <a:cubicBezTo>
                  <a:pt x="63" y="4"/>
                  <a:pt x="60" y="4"/>
                  <a:pt x="56" y="4"/>
                </a:cubicBezTo>
                <a:cubicBezTo>
                  <a:pt x="56" y="0"/>
                  <a:pt x="56" y="0"/>
                  <a:pt x="56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5" y="4"/>
                  <a:pt x="55" y="4"/>
                  <a:pt x="55" y="4"/>
                </a:cubicBezTo>
                <a:cubicBezTo>
                  <a:pt x="55" y="4"/>
                  <a:pt x="55" y="5"/>
                  <a:pt x="55" y="5"/>
                </a:cubicBezTo>
                <a:cubicBezTo>
                  <a:pt x="55" y="7"/>
                  <a:pt x="55" y="7"/>
                  <a:pt x="55" y="7"/>
                </a:cubicBezTo>
                <a:cubicBezTo>
                  <a:pt x="55" y="8"/>
                  <a:pt x="55" y="10"/>
                  <a:pt x="55" y="10"/>
                </a:cubicBezTo>
                <a:cubicBezTo>
                  <a:pt x="55" y="10"/>
                  <a:pt x="59" y="11"/>
                  <a:pt x="59" y="14"/>
                </a:cubicBezTo>
                <a:cubicBezTo>
                  <a:pt x="59" y="16"/>
                  <a:pt x="59" y="30"/>
                  <a:pt x="59" y="35"/>
                </a:cubicBezTo>
                <a:cubicBezTo>
                  <a:pt x="58" y="34"/>
                  <a:pt x="58" y="34"/>
                  <a:pt x="58" y="34"/>
                </a:cubicBezTo>
                <a:cubicBezTo>
                  <a:pt x="56" y="32"/>
                  <a:pt x="56" y="32"/>
                  <a:pt x="56" y="32"/>
                </a:cubicBezTo>
                <a:cubicBezTo>
                  <a:pt x="54" y="32"/>
                  <a:pt x="54" y="32"/>
                  <a:pt x="54" y="32"/>
                </a:cubicBezTo>
                <a:cubicBezTo>
                  <a:pt x="54" y="21"/>
                  <a:pt x="54" y="21"/>
                  <a:pt x="54" y="21"/>
                </a:cubicBezTo>
                <a:cubicBezTo>
                  <a:pt x="54" y="21"/>
                  <a:pt x="54" y="21"/>
                  <a:pt x="54" y="21"/>
                </a:cubicBezTo>
                <a:cubicBezTo>
                  <a:pt x="53" y="21"/>
                  <a:pt x="53" y="21"/>
                  <a:pt x="53" y="21"/>
                </a:cubicBezTo>
                <a:cubicBezTo>
                  <a:pt x="53" y="32"/>
                  <a:pt x="53" y="32"/>
                  <a:pt x="53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33"/>
                  <a:pt x="48" y="33"/>
                  <a:pt x="48" y="34"/>
                </a:cubicBezTo>
                <a:cubicBezTo>
                  <a:pt x="48" y="34"/>
                  <a:pt x="48" y="34"/>
                  <a:pt x="48" y="34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25"/>
                  <a:pt x="47" y="25"/>
                  <a:pt x="47" y="25"/>
                </a:cubicBezTo>
                <a:cubicBezTo>
                  <a:pt x="45" y="25"/>
                  <a:pt x="45" y="25"/>
                  <a:pt x="45" y="25"/>
                </a:cubicBezTo>
                <a:cubicBezTo>
                  <a:pt x="44" y="23"/>
                  <a:pt x="44" y="21"/>
                  <a:pt x="44" y="20"/>
                </a:cubicBezTo>
                <a:cubicBezTo>
                  <a:pt x="44" y="17"/>
                  <a:pt x="40" y="16"/>
                  <a:pt x="40" y="16"/>
                </a:cubicBezTo>
                <a:cubicBezTo>
                  <a:pt x="40" y="25"/>
                  <a:pt x="40" y="25"/>
                  <a:pt x="40" y="25"/>
                </a:cubicBezTo>
                <a:cubicBezTo>
                  <a:pt x="40" y="25"/>
                  <a:pt x="40" y="25"/>
                  <a:pt x="40" y="25"/>
                </a:cubicBezTo>
                <a:cubicBezTo>
                  <a:pt x="36" y="25"/>
                  <a:pt x="36" y="25"/>
                  <a:pt x="36" y="25"/>
                </a:cubicBezTo>
                <a:cubicBezTo>
                  <a:pt x="35" y="25"/>
                  <a:pt x="35" y="25"/>
                  <a:pt x="35" y="26"/>
                </a:cubicBezTo>
                <a:cubicBezTo>
                  <a:pt x="35" y="56"/>
                  <a:pt x="35" y="56"/>
                  <a:pt x="35" y="56"/>
                </a:cubicBezTo>
                <a:cubicBezTo>
                  <a:pt x="33" y="57"/>
                  <a:pt x="30" y="56"/>
                  <a:pt x="28" y="56"/>
                </a:cubicBezTo>
                <a:cubicBezTo>
                  <a:pt x="29" y="57"/>
                  <a:pt x="28" y="59"/>
                  <a:pt x="29" y="59"/>
                </a:cubicBezTo>
                <a:cubicBezTo>
                  <a:pt x="30" y="60"/>
                  <a:pt x="30" y="60"/>
                  <a:pt x="30" y="61"/>
                </a:cubicBezTo>
                <a:cubicBezTo>
                  <a:pt x="30" y="64"/>
                  <a:pt x="30" y="64"/>
                  <a:pt x="30" y="64"/>
                </a:cubicBezTo>
                <a:cubicBezTo>
                  <a:pt x="29" y="64"/>
                  <a:pt x="28" y="64"/>
                  <a:pt x="27" y="64"/>
                </a:cubicBezTo>
                <a:cubicBezTo>
                  <a:pt x="27" y="70"/>
                  <a:pt x="27" y="70"/>
                  <a:pt x="27" y="70"/>
                </a:cubicBezTo>
                <a:cubicBezTo>
                  <a:pt x="26" y="70"/>
                  <a:pt x="25" y="70"/>
                  <a:pt x="23" y="70"/>
                </a:cubicBezTo>
                <a:cubicBezTo>
                  <a:pt x="23" y="74"/>
                  <a:pt x="23" y="74"/>
                  <a:pt x="19" y="74"/>
                </a:cubicBezTo>
                <a:cubicBezTo>
                  <a:pt x="16" y="74"/>
                  <a:pt x="14" y="74"/>
                  <a:pt x="12" y="74"/>
                </a:cubicBezTo>
                <a:cubicBezTo>
                  <a:pt x="11" y="75"/>
                  <a:pt x="11" y="76"/>
                  <a:pt x="11" y="76"/>
                </a:cubicBezTo>
                <a:cubicBezTo>
                  <a:pt x="1" y="76"/>
                  <a:pt x="1" y="76"/>
                  <a:pt x="1" y="76"/>
                </a:cubicBezTo>
                <a:cubicBezTo>
                  <a:pt x="1" y="79"/>
                  <a:pt x="1" y="82"/>
                  <a:pt x="1" y="85"/>
                </a:cubicBezTo>
                <a:cubicBezTo>
                  <a:pt x="0" y="89"/>
                  <a:pt x="3" y="91"/>
                  <a:pt x="6" y="93"/>
                </a:cubicBezTo>
                <a:cubicBezTo>
                  <a:pt x="8" y="94"/>
                  <a:pt x="15" y="98"/>
                  <a:pt x="18" y="100"/>
                </a:cubicBezTo>
                <a:cubicBezTo>
                  <a:pt x="19" y="100"/>
                  <a:pt x="18" y="102"/>
                  <a:pt x="18" y="103"/>
                </a:cubicBezTo>
                <a:cubicBezTo>
                  <a:pt x="18" y="105"/>
                  <a:pt x="15" y="103"/>
                  <a:pt x="14" y="104"/>
                </a:cubicBezTo>
                <a:cubicBezTo>
                  <a:pt x="14" y="112"/>
                  <a:pt x="14" y="112"/>
                  <a:pt x="14" y="112"/>
                </a:cubicBezTo>
                <a:cubicBezTo>
                  <a:pt x="17" y="112"/>
                  <a:pt x="20" y="112"/>
                  <a:pt x="23" y="112"/>
                </a:cubicBezTo>
                <a:cubicBezTo>
                  <a:pt x="23" y="112"/>
                  <a:pt x="24" y="112"/>
                  <a:pt x="24" y="111"/>
                </a:cubicBezTo>
                <a:cubicBezTo>
                  <a:pt x="24" y="108"/>
                  <a:pt x="25" y="103"/>
                  <a:pt x="22" y="102"/>
                </a:cubicBezTo>
                <a:cubicBezTo>
                  <a:pt x="22" y="102"/>
                  <a:pt x="22" y="102"/>
                  <a:pt x="22" y="101"/>
                </a:cubicBezTo>
                <a:cubicBezTo>
                  <a:pt x="23" y="101"/>
                  <a:pt x="28" y="103"/>
                  <a:pt x="30" y="104"/>
                </a:cubicBezTo>
                <a:cubicBezTo>
                  <a:pt x="32" y="104"/>
                  <a:pt x="34" y="109"/>
                  <a:pt x="33" y="111"/>
                </a:cubicBezTo>
                <a:cubicBezTo>
                  <a:pt x="32" y="112"/>
                  <a:pt x="33" y="114"/>
                  <a:pt x="34" y="114"/>
                </a:cubicBezTo>
                <a:cubicBezTo>
                  <a:pt x="40" y="115"/>
                  <a:pt x="446" y="126"/>
                  <a:pt x="467" y="126"/>
                </a:cubicBezTo>
                <a:cubicBezTo>
                  <a:pt x="472" y="126"/>
                  <a:pt x="474" y="120"/>
                  <a:pt x="475" y="114"/>
                </a:cubicBezTo>
                <a:cubicBezTo>
                  <a:pt x="476" y="110"/>
                  <a:pt x="474" y="107"/>
                  <a:pt x="470" y="105"/>
                </a:cubicBezTo>
              </a:path>
            </a:pathLst>
          </a:cu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>
              <a:solidFill>
                <a:srgbClr val="3C3C3C"/>
              </a:solidFill>
              <a:latin typeface="Arial"/>
            </a:endParaRPr>
          </a:p>
        </p:txBody>
      </p:sp>
      <p:sp>
        <p:nvSpPr>
          <p:cNvPr id="247" name="TextBox 246"/>
          <p:cNvSpPr txBox="1"/>
          <p:nvPr>
            <p:custDataLst>
              <p:tags r:id="rId9"/>
            </p:custDataLst>
          </p:nvPr>
        </p:nvSpPr>
        <p:spPr>
          <a:xfrm>
            <a:off x="3913235" y="3497452"/>
            <a:ext cx="7386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600" dirty="0" err="1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Массомер</a:t>
            </a:r>
            <a:r>
              <a:rPr lang="ru-RU" sz="6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 НПЗ</a:t>
            </a:r>
          </a:p>
          <a:p>
            <a:pPr algn="ctr">
              <a:defRPr/>
            </a:pPr>
            <a:r>
              <a:rPr lang="ru-RU" sz="6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брутто = нетто</a:t>
            </a:r>
          </a:p>
          <a:p>
            <a:pPr algn="ctr">
              <a:defRPr/>
            </a:pPr>
            <a:r>
              <a:rPr lang="ru-RU" sz="6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(Балласта нет)</a:t>
            </a:r>
          </a:p>
        </p:txBody>
      </p:sp>
      <p:sp>
        <p:nvSpPr>
          <p:cNvPr id="248" name="Прямоугольник 247"/>
          <p:cNvSpPr/>
          <p:nvPr>
            <p:custDataLst>
              <p:tags r:id="rId10"/>
            </p:custDataLst>
          </p:nvPr>
        </p:nvSpPr>
        <p:spPr>
          <a:xfrm>
            <a:off x="3913161" y="3099931"/>
            <a:ext cx="252000" cy="189164"/>
          </a:xfrm>
          <a:prstGeom prst="rect">
            <a:avLst/>
          </a:prstGeom>
          <a:solidFill>
            <a:schemeClr val="lt1"/>
          </a:solidFill>
          <a:ln w="3175"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0" rIns="36000" bIns="0" rtlCol="0" anchor="ctr"/>
          <a:lstStyle/>
          <a:p>
            <a:pPr algn="ctr">
              <a:defRPr/>
            </a:pPr>
            <a:r>
              <a:rPr lang="ru-RU" sz="5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М</a:t>
            </a:r>
            <a:r>
              <a:rPr lang="en-US" sz="5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,  </a:t>
            </a:r>
            <a:r>
              <a:rPr lang="el-GR" sz="5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ρ</a:t>
            </a:r>
            <a:r>
              <a:rPr lang="en-US" sz="5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 </a:t>
            </a:r>
            <a:endParaRPr lang="ru-RU" sz="500" dirty="0">
              <a:solidFill>
                <a:srgbClr val="0070BA">
                  <a:lumMod val="75000"/>
                </a:srgbClr>
              </a:solidFill>
              <a:latin typeface="DINPro-Regular" panose="02000503030000020004" pitchFamily="50" charset="0"/>
              <a:cs typeface="Arial" panose="020B0604020202020204" pitchFamily="34" charset="0"/>
            </a:endParaRPr>
          </a:p>
        </p:txBody>
      </p:sp>
      <p:cxnSp>
        <p:nvCxnSpPr>
          <p:cNvPr id="249" name="Прямая со стрелкой 248"/>
          <p:cNvCxnSpPr>
            <a:stCxn id="250" idx="2"/>
          </p:cNvCxnSpPr>
          <p:nvPr/>
        </p:nvCxnSpPr>
        <p:spPr>
          <a:xfrm>
            <a:off x="2158830" y="2450038"/>
            <a:ext cx="408414" cy="147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0" name="Picture127"/>
          <p:cNvSpPr>
            <a:spLocks noChangeAspect="1" noEditPoints="1"/>
          </p:cNvSpPr>
          <p:nvPr>
            <p:custDataLst>
              <p:tags r:id="rId11"/>
            </p:custDataLst>
          </p:nvPr>
        </p:nvSpPr>
        <p:spPr bwMode="auto">
          <a:xfrm>
            <a:off x="1619793" y="2122650"/>
            <a:ext cx="577616" cy="461879"/>
          </a:xfrm>
          <a:custGeom>
            <a:avLst/>
            <a:gdLst>
              <a:gd name="T0" fmla="*/ 994 w 1078"/>
              <a:gd name="T1" fmla="*/ 715 h 862"/>
              <a:gd name="T2" fmla="*/ 973 w 1078"/>
              <a:gd name="T3" fmla="*/ 693 h 862"/>
              <a:gd name="T4" fmla="*/ 1006 w 1078"/>
              <a:gd name="T5" fmla="*/ 611 h 862"/>
              <a:gd name="T6" fmla="*/ 970 w 1078"/>
              <a:gd name="T7" fmla="*/ 506 h 862"/>
              <a:gd name="T8" fmla="*/ 955 w 1078"/>
              <a:gd name="T9" fmla="*/ 435 h 862"/>
              <a:gd name="T10" fmla="*/ 916 w 1078"/>
              <a:gd name="T11" fmla="*/ 376 h 862"/>
              <a:gd name="T12" fmla="*/ 859 w 1078"/>
              <a:gd name="T13" fmla="*/ 337 h 862"/>
              <a:gd name="T14" fmla="*/ 788 w 1078"/>
              <a:gd name="T15" fmla="*/ 323 h 862"/>
              <a:gd name="T16" fmla="*/ 683 w 1078"/>
              <a:gd name="T17" fmla="*/ 323 h 862"/>
              <a:gd name="T18" fmla="*/ 599 w 1078"/>
              <a:gd name="T19" fmla="*/ 306 h 862"/>
              <a:gd name="T20" fmla="*/ 503 w 1078"/>
              <a:gd name="T21" fmla="*/ 251 h 862"/>
              <a:gd name="T22" fmla="*/ 479 w 1078"/>
              <a:gd name="T23" fmla="*/ 306 h 862"/>
              <a:gd name="T24" fmla="*/ 395 w 1078"/>
              <a:gd name="T25" fmla="*/ 288 h 862"/>
              <a:gd name="T26" fmla="*/ 290 w 1078"/>
              <a:gd name="T27" fmla="*/ 323 h 862"/>
              <a:gd name="T28" fmla="*/ 219 w 1078"/>
              <a:gd name="T29" fmla="*/ 337 h 862"/>
              <a:gd name="T30" fmla="*/ 161 w 1078"/>
              <a:gd name="T31" fmla="*/ 376 h 862"/>
              <a:gd name="T32" fmla="*/ 123 w 1078"/>
              <a:gd name="T33" fmla="*/ 435 h 862"/>
              <a:gd name="T34" fmla="*/ 108 w 1078"/>
              <a:gd name="T35" fmla="*/ 506 h 862"/>
              <a:gd name="T36" fmla="*/ 108 w 1078"/>
              <a:gd name="T37" fmla="*/ 611 h 862"/>
              <a:gd name="T38" fmla="*/ 105 w 1078"/>
              <a:gd name="T39" fmla="*/ 693 h 862"/>
              <a:gd name="T40" fmla="*/ 84 w 1078"/>
              <a:gd name="T41" fmla="*/ 715 h 862"/>
              <a:gd name="T42" fmla="*/ 0 w 1078"/>
              <a:gd name="T43" fmla="*/ 862 h 862"/>
              <a:gd name="T44" fmla="*/ 106 w 1078"/>
              <a:gd name="T45" fmla="*/ 858 h 862"/>
              <a:gd name="T46" fmla="*/ 171 w 1078"/>
              <a:gd name="T47" fmla="*/ 832 h 862"/>
              <a:gd name="T48" fmla="*/ 220 w 1078"/>
              <a:gd name="T49" fmla="*/ 782 h 862"/>
              <a:gd name="T50" fmla="*/ 248 w 1078"/>
              <a:gd name="T51" fmla="*/ 716 h 862"/>
              <a:gd name="T52" fmla="*/ 288 w 1078"/>
              <a:gd name="T53" fmla="*/ 611 h 862"/>
              <a:gd name="T54" fmla="*/ 252 w 1078"/>
              <a:gd name="T55" fmla="*/ 507 h 862"/>
              <a:gd name="T56" fmla="*/ 263 w 1078"/>
              <a:gd name="T57" fmla="*/ 479 h 862"/>
              <a:gd name="T58" fmla="*/ 293 w 1078"/>
              <a:gd name="T59" fmla="*/ 466 h 862"/>
              <a:gd name="T60" fmla="*/ 395 w 1078"/>
              <a:gd name="T61" fmla="*/ 466 h 862"/>
              <a:gd name="T62" fmla="*/ 475 w 1078"/>
              <a:gd name="T63" fmla="*/ 482 h 862"/>
              <a:gd name="T64" fmla="*/ 516 w 1078"/>
              <a:gd name="T65" fmla="*/ 501 h 862"/>
              <a:gd name="T66" fmla="*/ 551 w 1078"/>
              <a:gd name="T67" fmla="*/ 502 h 862"/>
              <a:gd name="T68" fmla="*/ 593 w 1078"/>
              <a:gd name="T69" fmla="*/ 488 h 862"/>
              <a:gd name="T70" fmla="*/ 683 w 1078"/>
              <a:gd name="T71" fmla="*/ 466 h 862"/>
              <a:gd name="T72" fmla="*/ 785 w 1078"/>
              <a:gd name="T73" fmla="*/ 466 h 862"/>
              <a:gd name="T74" fmla="*/ 808 w 1078"/>
              <a:gd name="T75" fmla="*/ 474 h 862"/>
              <a:gd name="T76" fmla="*/ 826 w 1078"/>
              <a:gd name="T77" fmla="*/ 499 h 862"/>
              <a:gd name="T78" fmla="*/ 790 w 1078"/>
              <a:gd name="T79" fmla="*/ 611 h 862"/>
              <a:gd name="T80" fmla="*/ 827 w 1078"/>
              <a:gd name="T81" fmla="*/ 698 h 862"/>
              <a:gd name="T82" fmla="*/ 849 w 1078"/>
              <a:gd name="T83" fmla="*/ 767 h 862"/>
              <a:gd name="T84" fmla="*/ 893 w 1078"/>
              <a:gd name="T85" fmla="*/ 820 h 862"/>
              <a:gd name="T86" fmla="*/ 954 w 1078"/>
              <a:gd name="T87" fmla="*/ 854 h 862"/>
              <a:gd name="T88" fmla="*/ 1078 w 1078"/>
              <a:gd name="T89" fmla="*/ 862 h 862"/>
              <a:gd name="T90" fmla="*/ 503 w 1078"/>
              <a:gd name="T91" fmla="*/ 216 h 862"/>
              <a:gd name="T92" fmla="*/ 754 w 1078"/>
              <a:gd name="T93" fmla="*/ 35 h 862"/>
              <a:gd name="T94" fmla="*/ 383 w 1078"/>
              <a:gd name="T95" fmla="*/ 35 h 862"/>
              <a:gd name="T96" fmla="*/ 504 w 1078"/>
              <a:gd name="T97" fmla="*/ 108 h 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78" h="862">
                <a:moveTo>
                  <a:pt x="1011" y="719"/>
                </a:moveTo>
                <a:lnTo>
                  <a:pt x="1011" y="719"/>
                </a:lnTo>
                <a:lnTo>
                  <a:pt x="1002" y="717"/>
                </a:lnTo>
                <a:lnTo>
                  <a:pt x="994" y="715"/>
                </a:lnTo>
                <a:lnTo>
                  <a:pt x="988" y="711"/>
                </a:lnTo>
                <a:lnTo>
                  <a:pt x="982" y="706"/>
                </a:lnTo>
                <a:lnTo>
                  <a:pt x="977" y="701"/>
                </a:lnTo>
                <a:lnTo>
                  <a:pt x="973" y="693"/>
                </a:lnTo>
                <a:lnTo>
                  <a:pt x="970" y="686"/>
                </a:lnTo>
                <a:lnTo>
                  <a:pt x="970" y="678"/>
                </a:lnTo>
                <a:lnTo>
                  <a:pt x="970" y="611"/>
                </a:lnTo>
                <a:lnTo>
                  <a:pt x="1006" y="611"/>
                </a:lnTo>
                <a:lnTo>
                  <a:pt x="1006" y="574"/>
                </a:lnTo>
                <a:lnTo>
                  <a:pt x="970" y="574"/>
                </a:lnTo>
                <a:lnTo>
                  <a:pt x="970" y="506"/>
                </a:lnTo>
                <a:lnTo>
                  <a:pt x="970" y="506"/>
                </a:lnTo>
                <a:lnTo>
                  <a:pt x="969" y="487"/>
                </a:lnTo>
                <a:lnTo>
                  <a:pt x="967" y="469"/>
                </a:lnTo>
                <a:lnTo>
                  <a:pt x="961" y="451"/>
                </a:lnTo>
                <a:lnTo>
                  <a:pt x="955" y="435"/>
                </a:lnTo>
                <a:lnTo>
                  <a:pt x="948" y="418"/>
                </a:lnTo>
                <a:lnTo>
                  <a:pt x="939" y="403"/>
                </a:lnTo>
                <a:lnTo>
                  <a:pt x="929" y="389"/>
                </a:lnTo>
                <a:lnTo>
                  <a:pt x="916" y="376"/>
                </a:lnTo>
                <a:lnTo>
                  <a:pt x="903" y="365"/>
                </a:lnTo>
                <a:lnTo>
                  <a:pt x="889" y="354"/>
                </a:lnTo>
                <a:lnTo>
                  <a:pt x="874" y="345"/>
                </a:lnTo>
                <a:lnTo>
                  <a:pt x="859" y="337"/>
                </a:lnTo>
                <a:lnTo>
                  <a:pt x="841" y="331"/>
                </a:lnTo>
                <a:lnTo>
                  <a:pt x="825" y="327"/>
                </a:lnTo>
                <a:lnTo>
                  <a:pt x="806" y="325"/>
                </a:lnTo>
                <a:lnTo>
                  <a:pt x="788" y="323"/>
                </a:lnTo>
                <a:lnTo>
                  <a:pt x="718" y="323"/>
                </a:lnTo>
                <a:lnTo>
                  <a:pt x="718" y="288"/>
                </a:lnTo>
                <a:lnTo>
                  <a:pt x="683" y="288"/>
                </a:lnTo>
                <a:lnTo>
                  <a:pt x="683" y="323"/>
                </a:lnTo>
                <a:lnTo>
                  <a:pt x="619" y="323"/>
                </a:lnTo>
                <a:lnTo>
                  <a:pt x="619" y="323"/>
                </a:lnTo>
                <a:lnTo>
                  <a:pt x="609" y="313"/>
                </a:lnTo>
                <a:lnTo>
                  <a:pt x="599" y="306"/>
                </a:lnTo>
                <a:lnTo>
                  <a:pt x="588" y="299"/>
                </a:lnTo>
                <a:lnTo>
                  <a:pt x="575" y="294"/>
                </a:lnTo>
                <a:lnTo>
                  <a:pt x="575" y="251"/>
                </a:lnTo>
                <a:lnTo>
                  <a:pt x="503" y="251"/>
                </a:lnTo>
                <a:lnTo>
                  <a:pt x="503" y="294"/>
                </a:lnTo>
                <a:lnTo>
                  <a:pt x="503" y="294"/>
                </a:lnTo>
                <a:lnTo>
                  <a:pt x="490" y="299"/>
                </a:lnTo>
                <a:lnTo>
                  <a:pt x="479" y="306"/>
                </a:lnTo>
                <a:lnTo>
                  <a:pt x="469" y="313"/>
                </a:lnTo>
                <a:lnTo>
                  <a:pt x="459" y="323"/>
                </a:lnTo>
                <a:lnTo>
                  <a:pt x="395" y="323"/>
                </a:lnTo>
                <a:lnTo>
                  <a:pt x="395" y="288"/>
                </a:lnTo>
                <a:lnTo>
                  <a:pt x="360" y="288"/>
                </a:lnTo>
                <a:lnTo>
                  <a:pt x="360" y="323"/>
                </a:lnTo>
                <a:lnTo>
                  <a:pt x="290" y="323"/>
                </a:lnTo>
                <a:lnTo>
                  <a:pt x="290" y="323"/>
                </a:lnTo>
                <a:lnTo>
                  <a:pt x="272" y="325"/>
                </a:lnTo>
                <a:lnTo>
                  <a:pt x="253" y="327"/>
                </a:lnTo>
                <a:lnTo>
                  <a:pt x="236" y="331"/>
                </a:lnTo>
                <a:lnTo>
                  <a:pt x="219" y="337"/>
                </a:lnTo>
                <a:lnTo>
                  <a:pt x="204" y="345"/>
                </a:lnTo>
                <a:lnTo>
                  <a:pt x="189" y="354"/>
                </a:lnTo>
                <a:lnTo>
                  <a:pt x="175" y="365"/>
                </a:lnTo>
                <a:lnTo>
                  <a:pt x="161" y="376"/>
                </a:lnTo>
                <a:lnTo>
                  <a:pt x="149" y="389"/>
                </a:lnTo>
                <a:lnTo>
                  <a:pt x="139" y="403"/>
                </a:lnTo>
                <a:lnTo>
                  <a:pt x="130" y="418"/>
                </a:lnTo>
                <a:lnTo>
                  <a:pt x="123" y="435"/>
                </a:lnTo>
                <a:lnTo>
                  <a:pt x="117" y="451"/>
                </a:lnTo>
                <a:lnTo>
                  <a:pt x="111" y="469"/>
                </a:lnTo>
                <a:lnTo>
                  <a:pt x="109" y="487"/>
                </a:lnTo>
                <a:lnTo>
                  <a:pt x="108" y="506"/>
                </a:lnTo>
                <a:lnTo>
                  <a:pt x="108" y="574"/>
                </a:lnTo>
                <a:lnTo>
                  <a:pt x="72" y="574"/>
                </a:lnTo>
                <a:lnTo>
                  <a:pt x="72" y="611"/>
                </a:lnTo>
                <a:lnTo>
                  <a:pt x="108" y="611"/>
                </a:lnTo>
                <a:lnTo>
                  <a:pt x="108" y="678"/>
                </a:lnTo>
                <a:lnTo>
                  <a:pt x="108" y="678"/>
                </a:lnTo>
                <a:lnTo>
                  <a:pt x="108" y="686"/>
                </a:lnTo>
                <a:lnTo>
                  <a:pt x="105" y="693"/>
                </a:lnTo>
                <a:lnTo>
                  <a:pt x="101" y="701"/>
                </a:lnTo>
                <a:lnTo>
                  <a:pt x="96" y="706"/>
                </a:lnTo>
                <a:lnTo>
                  <a:pt x="90" y="711"/>
                </a:lnTo>
                <a:lnTo>
                  <a:pt x="84" y="715"/>
                </a:lnTo>
                <a:lnTo>
                  <a:pt x="76" y="717"/>
                </a:lnTo>
                <a:lnTo>
                  <a:pt x="67" y="719"/>
                </a:lnTo>
                <a:lnTo>
                  <a:pt x="0" y="719"/>
                </a:lnTo>
                <a:lnTo>
                  <a:pt x="0" y="862"/>
                </a:lnTo>
                <a:lnTo>
                  <a:pt x="70" y="862"/>
                </a:lnTo>
                <a:lnTo>
                  <a:pt x="70" y="862"/>
                </a:lnTo>
                <a:lnTo>
                  <a:pt x="87" y="861"/>
                </a:lnTo>
                <a:lnTo>
                  <a:pt x="106" y="858"/>
                </a:lnTo>
                <a:lnTo>
                  <a:pt x="123" y="854"/>
                </a:lnTo>
                <a:lnTo>
                  <a:pt x="141" y="848"/>
                </a:lnTo>
                <a:lnTo>
                  <a:pt x="156" y="840"/>
                </a:lnTo>
                <a:lnTo>
                  <a:pt x="171" y="832"/>
                </a:lnTo>
                <a:lnTo>
                  <a:pt x="185" y="820"/>
                </a:lnTo>
                <a:lnTo>
                  <a:pt x="198" y="809"/>
                </a:lnTo>
                <a:lnTo>
                  <a:pt x="210" y="796"/>
                </a:lnTo>
                <a:lnTo>
                  <a:pt x="220" y="782"/>
                </a:lnTo>
                <a:lnTo>
                  <a:pt x="229" y="767"/>
                </a:lnTo>
                <a:lnTo>
                  <a:pt x="237" y="750"/>
                </a:lnTo>
                <a:lnTo>
                  <a:pt x="243" y="734"/>
                </a:lnTo>
                <a:lnTo>
                  <a:pt x="248" y="716"/>
                </a:lnTo>
                <a:lnTo>
                  <a:pt x="251" y="698"/>
                </a:lnTo>
                <a:lnTo>
                  <a:pt x="252" y="679"/>
                </a:lnTo>
                <a:lnTo>
                  <a:pt x="252" y="611"/>
                </a:lnTo>
                <a:lnTo>
                  <a:pt x="288" y="611"/>
                </a:lnTo>
                <a:lnTo>
                  <a:pt x="288" y="574"/>
                </a:lnTo>
                <a:lnTo>
                  <a:pt x="252" y="574"/>
                </a:lnTo>
                <a:lnTo>
                  <a:pt x="252" y="507"/>
                </a:lnTo>
                <a:lnTo>
                  <a:pt x="252" y="507"/>
                </a:lnTo>
                <a:lnTo>
                  <a:pt x="252" y="499"/>
                </a:lnTo>
                <a:lnTo>
                  <a:pt x="255" y="492"/>
                </a:lnTo>
                <a:lnTo>
                  <a:pt x="258" y="484"/>
                </a:lnTo>
                <a:lnTo>
                  <a:pt x="263" y="479"/>
                </a:lnTo>
                <a:lnTo>
                  <a:pt x="270" y="474"/>
                </a:lnTo>
                <a:lnTo>
                  <a:pt x="276" y="470"/>
                </a:lnTo>
                <a:lnTo>
                  <a:pt x="284" y="468"/>
                </a:lnTo>
                <a:lnTo>
                  <a:pt x="293" y="466"/>
                </a:lnTo>
                <a:lnTo>
                  <a:pt x="360" y="466"/>
                </a:lnTo>
                <a:lnTo>
                  <a:pt x="360" y="503"/>
                </a:lnTo>
                <a:lnTo>
                  <a:pt x="395" y="503"/>
                </a:lnTo>
                <a:lnTo>
                  <a:pt x="395" y="466"/>
                </a:lnTo>
                <a:lnTo>
                  <a:pt x="459" y="466"/>
                </a:lnTo>
                <a:lnTo>
                  <a:pt x="459" y="466"/>
                </a:lnTo>
                <a:lnTo>
                  <a:pt x="466" y="474"/>
                </a:lnTo>
                <a:lnTo>
                  <a:pt x="475" y="482"/>
                </a:lnTo>
                <a:lnTo>
                  <a:pt x="484" y="488"/>
                </a:lnTo>
                <a:lnTo>
                  <a:pt x="494" y="493"/>
                </a:lnTo>
                <a:lnTo>
                  <a:pt x="504" y="497"/>
                </a:lnTo>
                <a:lnTo>
                  <a:pt x="516" y="501"/>
                </a:lnTo>
                <a:lnTo>
                  <a:pt x="527" y="502"/>
                </a:lnTo>
                <a:lnTo>
                  <a:pt x="538" y="503"/>
                </a:lnTo>
                <a:lnTo>
                  <a:pt x="538" y="503"/>
                </a:lnTo>
                <a:lnTo>
                  <a:pt x="551" y="502"/>
                </a:lnTo>
                <a:lnTo>
                  <a:pt x="562" y="501"/>
                </a:lnTo>
                <a:lnTo>
                  <a:pt x="573" y="497"/>
                </a:lnTo>
                <a:lnTo>
                  <a:pt x="584" y="493"/>
                </a:lnTo>
                <a:lnTo>
                  <a:pt x="593" y="488"/>
                </a:lnTo>
                <a:lnTo>
                  <a:pt x="603" y="482"/>
                </a:lnTo>
                <a:lnTo>
                  <a:pt x="611" y="474"/>
                </a:lnTo>
                <a:lnTo>
                  <a:pt x="619" y="466"/>
                </a:lnTo>
                <a:lnTo>
                  <a:pt x="683" y="466"/>
                </a:lnTo>
                <a:lnTo>
                  <a:pt x="683" y="503"/>
                </a:lnTo>
                <a:lnTo>
                  <a:pt x="718" y="503"/>
                </a:lnTo>
                <a:lnTo>
                  <a:pt x="718" y="466"/>
                </a:lnTo>
                <a:lnTo>
                  <a:pt x="785" y="466"/>
                </a:lnTo>
                <a:lnTo>
                  <a:pt x="785" y="466"/>
                </a:lnTo>
                <a:lnTo>
                  <a:pt x="794" y="468"/>
                </a:lnTo>
                <a:lnTo>
                  <a:pt x="802" y="470"/>
                </a:lnTo>
                <a:lnTo>
                  <a:pt x="808" y="474"/>
                </a:lnTo>
                <a:lnTo>
                  <a:pt x="815" y="479"/>
                </a:lnTo>
                <a:lnTo>
                  <a:pt x="820" y="484"/>
                </a:lnTo>
                <a:lnTo>
                  <a:pt x="823" y="492"/>
                </a:lnTo>
                <a:lnTo>
                  <a:pt x="826" y="499"/>
                </a:lnTo>
                <a:lnTo>
                  <a:pt x="826" y="507"/>
                </a:lnTo>
                <a:lnTo>
                  <a:pt x="826" y="574"/>
                </a:lnTo>
                <a:lnTo>
                  <a:pt x="790" y="574"/>
                </a:lnTo>
                <a:lnTo>
                  <a:pt x="790" y="611"/>
                </a:lnTo>
                <a:lnTo>
                  <a:pt x="826" y="611"/>
                </a:lnTo>
                <a:lnTo>
                  <a:pt x="826" y="679"/>
                </a:lnTo>
                <a:lnTo>
                  <a:pt x="826" y="679"/>
                </a:lnTo>
                <a:lnTo>
                  <a:pt x="827" y="698"/>
                </a:lnTo>
                <a:lnTo>
                  <a:pt x="830" y="716"/>
                </a:lnTo>
                <a:lnTo>
                  <a:pt x="835" y="734"/>
                </a:lnTo>
                <a:lnTo>
                  <a:pt x="840" y="750"/>
                </a:lnTo>
                <a:lnTo>
                  <a:pt x="849" y="767"/>
                </a:lnTo>
                <a:lnTo>
                  <a:pt x="858" y="782"/>
                </a:lnTo>
                <a:lnTo>
                  <a:pt x="868" y="796"/>
                </a:lnTo>
                <a:lnTo>
                  <a:pt x="879" y="809"/>
                </a:lnTo>
                <a:lnTo>
                  <a:pt x="893" y="820"/>
                </a:lnTo>
                <a:lnTo>
                  <a:pt x="907" y="832"/>
                </a:lnTo>
                <a:lnTo>
                  <a:pt x="922" y="840"/>
                </a:lnTo>
                <a:lnTo>
                  <a:pt x="937" y="848"/>
                </a:lnTo>
                <a:lnTo>
                  <a:pt x="954" y="854"/>
                </a:lnTo>
                <a:lnTo>
                  <a:pt x="972" y="858"/>
                </a:lnTo>
                <a:lnTo>
                  <a:pt x="989" y="861"/>
                </a:lnTo>
                <a:lnTo>
                  <a:pt x="1008" y="862"/>
                </a:lnTo>
                <a:lnTo>
                  <a:pt x="1078" y="862"/>
                </a:lnTo>
                <a:lnTo>
                  <a:pt x="1078" y="719"/>
                </a:lnTo>
                <a:lnTo>
                  <a:pt x="1011" y="719"/>
                </a:lnTo>
                <a:close/>
                <a:moveTo>
                  <a:pt x="503" y="156"/>
                </a:moveTo>
                <a:lnTo>
                  <a:pt x="503" y="216"/>
                </a:lnTo>
                <a:lnTo>
                  <a:pt x="575" y="216"/>
                </a:lnTo>
                <a:lnTo>
                  <a:pt x="575" y="156"/>
                </a:lnTo>
                <a:lnTo>
                  <a:pt x="695" y="35"/>
                </a:lnTo>
                <a:lnTo>
                  <a:pt x="754" y="35"/>
                </a:lnTo>
                <a:lnTo>
                  <a:pt x="754" y="0"/>
                </a:lnTo>
                <a:lnTo>
                  <a:pt x="323" y="0"/>
                </a:lnTo>
                <a:lnTo>
                  <a:pt x="323" y="35"/>
                </a:lnTo>
                <a:lnTo>
                  <a:pt x="383" y="35"/>
                </a:lnTo>
                <a:lnTo>
                  <a:pt x="503" y="156"/>
                </a:lnTo>
                <a:close/>
                <a:moveTo>
                  <a:pt x="645" y="35"/>
                </a:moveTo>
                <a:lnTo>
                  <a:pt x="573" y="108"/>
                </a:lnTo>
                <a:lnTo>
                  <a:pt x="504" y="108"/>
                </a:lnTo>
                <a:lnTo>
                  <a:pt x="433" y="35"/>
                </a:lnTo>
                <a:lnTo>
                  <a:pt x="645" y="35"/>
                </a:lnTo>
                <a:close/>
              </a:path>
            </a:pathLst>
          </a:cu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1" name="Picture151"/>
          <p:cNvSpPr>
            <a:spLocks noChangeAspect="1" noEditPoints="1"/>
          </p:cNvSpPr>
          <p:nvPr>
            <p:custDataLst>
              <p:tags r:id="rId12"/>
            </p:custDataLst>
          </p:nvPr>
        </p:nvSpPr>
        <p:spPr bwMode="auto">
          <a:xfrm>
            <a:off x="1577078" y="3231901"/>
            <a:ext cx="650080" cy="363960"/>
          </a:xfrm>
          <a:custGeom>
            <a:avLst/>
            <a:gdLst>
              <a:gd name="T0" fmla="*/ 891 w 1484"/>
              <a:gd name="T1" fmla="*/ 0 h 792"/>
              <a:gd name="T2" fmla="*/ 99 w 1484"/>
              <a:gd name="T3" fmla="*/ 99 h 792"/>
              <a:gd name="T4" fmla="*/ 59 w 1484"/>
              <a:gd name="T5" fmla="*/ 124 h 792"/>
              <a:gd name="T6" fmla="*/ 16 w 1484"/>
              <a:gd name="T7" fmla="*/ 225 h 792"/>
              <a:gd name="T8" fmla="*/ 3 w 1484"/>
              <a:gd name="T9" fmla="*/ 386 h 792"/>
              <a:gd name="T10" fmla="*/ 42 w 1484"/>
              <a:gd name="T11" fmla="*/ 541 h 792"/>
              <a:gd name="T12" fmla="*/ 89 w 1484"/>
              <a:gd name="T13" fmla="*/ 591 h 792"/>
              <a:gd name="T14" fmla="*/ 214 w 1484"/>
              <a:gd name="T15" fmla="*/ 647 h 792"/>
              <a:gd name="T16" fmla="*/ 150 w 1484"/>
              <a:gd name="T17" fmla="*/ 693 h 792"/>
              <a:gd name="T18" fmla="*/ 178 w 1484"/>
              <a:gd name="T19" fmla="*/ 762 h 792"/>
              <a:gd name="T20" fmla="*/ 225 w 1484"/>
              <a:gd name="T21" fmla="*/ 790 h 792"/>
              <a:gd name="T22" fmla="*/ 270 w 1484"/>
              <a:gd name="T23" fmla="*/ 783 h 792"/>
              <a:gd name="T24" fmla="*/ 307 w 1484"/>
              <a:gd name="T25" fmla="*/ 741 h 792"/>
              <a:gd name="T26" fmla="*/ 356 w 1484"/>
              <a:gd name="T27" fmla="*/ 769 h 792"/>
              <a:gd name="T28" fmla="*/ 406 w 1484"/>
              <a:gd name="T29" fmla="*/ 792 h 792"/>
              <a:gd name="T30" fmla="*/ 450 w 1484"/>
              <a:gd name="T31" fmla="*/ 778 h 792"/>
              <a:gd name="T32" fmla="*/ 495 w 1484"/>
              <a:gd name="T33" fmla="*/ 741 h 792"/>
              <a:gd name="T34" fmla="*/ 1008 w 1484"/>
              <a:gd name="T35" fmla="*/ 741 h 792"/>
              <a:gd name="T36" fmla="*/ 1045 w 1484"/>
              <a:gd name="T37" fmla="*/ 783 h 792"/>
              <a:gd name="T38" fmla="*/ 1090 w 1484"/>
              <a:gd name="T39" fmla="*/ 790 h 792"/>
              <a:gd name="T40" fmla="*/ 1137 w 1484"/>
              <a:gd name="T41" fmla="*/ 762 h 792"/>
              <a:gd name="T42" fmla="*/ 1182 w 1484"/>
              <a:gd name="T43" fmla="*/ 752 h 792"/>
              <a:gd name="T44" fmla="*/ 1224 w 1484"/>
              <a:gd name="T45" fmla="*/ 787 h 792"/>
              <a:gd name="T46" fmla="*/ 1271 w 1484"/>
              <a:gd name="T47" fmla="*/ 787 h 792"/>
              <a:gd name="T48" fmla="*/ 1313 w 1484"/>
              <a:gd name="T49" fmla="*/ 752 h 792"/>
              <a:gd name="T50" fmla="*/ 1308 w 1484"/>
              <a:gd name="T51" fmla="*/ 673 h 792"/>
              <a:gd name="T52" fmla="*/ 1336 w 1484"/>
              <a:gd name="T53" fmla="*/ 647 h 792"/>
              <a:gd name="T54" fmla="*/ 1406 w 1484"/>
              <a:gd name="T55" fmla="*/ 586 h 792"/>
              <a:gd name="T56" fmla="*/ 1449 w 1484"/>
              <a:gd name="T57" fmla="*/ 525 h 792"/>
              <a:gd name="T58" fmla="*/ 1484 w 1484"/>
              <a:gd name="T59" fmla="*/ 345 h 792"/>
              <a:gd name="T60" fmla="*/ 1456 w 1484"/>
              <a:gd name="T61" fmla="*/ 185 h 792"/>
              <a:gd name="T62" fmla="*/ 1416 w 1484"/>
              <a:gd name="T63" fmla="*/ 113 h 792"/>
              <a:gd name="T64" fmla="*/ 234 w 1484"/>
              <a:gd name="T65" fmla="*/ 750 h 792"/>
              <a:gd name="T66" fmla="*/ 209 w 1484"/>
              <a:gd name="T67" fmla="*/ 726 h 792"/>
              <a:gd name="T68" fmla="*/ 234 w 1484"/>
              <a:gd name="T69" fmla="*/ 701 h 792"/>
              <a:gd name="T70" fmla="*/ 258 w 1484"/>
              <a:gd name="T71" fmla="*/ 726 h 792"/>
              <a:gd name="T72" fmla="*/ 234 w 1484"/>
              <a:gd name="T73" fmla="*/ 750 h 792"/>
              <a:gd name="T74" fmla="*/ 389 w 1484"/>
              <a:gd name="T75" fmla="*/ 743 h 792"/>
              <a:gd name="T76" fmla="*/ 389 w 1484"/>
              <a:gd name="T77" fmla="*/ 708 h 792"/>
              <a:gd name="T78" fmla="*/ 424 w 1484"/>
              <a:gd name="T79" fmla="*/ 708 h 792"/>
              <a:gd name="T80" fmla="*/ 424 w 1484"/>
              <a:gd name="T81" fmla="*/ 743 h 792"/>
              <a:gd name="T82" fmla="*/ 1074 w 1484"/>
              <a:gd name="T83" fmla="*/ 750 h 792"/>
              <a:gd name="T84" fmla="*/ 1048 w 1484"/>
              <a:gd name="T85" fmla="*/ 726 h 792"/>
              <a:gd name="T86" fmla="*/ 1074 w 1484"/>
              <a:gd name="T87" fmla="*/ 701 h 792"/>
              <a:gd name="T88" fmla="*/ 1099 w 1484"/>
              <a:gd name="T89" fmla="*/ 726 h 792"/>
              <a:gd name="T90" fmla="*/ 1074 w 1484"/>
              <a:gd name="T91" fmla="*/ 750 h 792"/>
              <a:gd name="T92" fmla="*/ 1256 w 1484"/>
              <a:gd name="T93" fmla="*/ 748 h 792"/>
              <a:gd name="T94" fmla="*/ 1222 w 1484"/>
              <a:gd name="T95" fmla="*/ 736 h 792"/>
              <a:gd name="T96" fmla="*/ 1236 w 1484"/>
              <a:gd name="T97" fmla="*/ 703 h 792"/>
              <a:gd name="T98" fmla="*/ 1270 w 1484"/>
              <a:gd name="T99" fmla="*/ 717 h 792"/>
              <a:gd name="T100" fmla="*/ 171 w 1484"/>
              <a:gd name="T101" fmla="*/ 199 h 792"/>
              <a:gd name="T102" fmla="*/ 119 w 1484"/>
              <a:gd name="T103" fmla="*/ 209 h 792"/>
              <a:gd name="T104" fmla="*/ 77 w 1484"/>
              <a:gd name="T105" fmla="*/ 251 h 792"/>
              <a:gd name="T106" fmla="*/ 63 w 1484"/>
              <a:gd name="T107" fmla="*/ 251 h 792"/>
              <a:gd name="T108" fmla="*/ 101 w 1484"/>
              <a:gd name="T109" fmla="*/ 173 h 792"/>
              <a:gd name="T110" fmla="*/ 153 w 1484"/>
              <a:gd name="T111" fmla="*/ 150 h 792"/>
              <a:gd name="T112" fmla="*/ 253 w 1484"/>
              <a:gd name="T113" fmla="*/ 199 h 7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484" h="792">
                <a:moveTo>
                  <a:pt x="1385" y="99"/>
                </a:moveTo>
                <a:lnTo>
                  <a:pt x="841" y="99"/>
                </a:lnTo>
                <a:lnTo>
                  <a:pt x="841" y="49"/>
                </a:lnTo>
                <a:lnTo>
                  <a:pt x="891" y="49"/>
                </a:lnTo>
                <a:lnTo>
                  <a:pt x="891" y="0"/>
                </a:lnTo>
                <a:lnTo>
                  <a:pt x="595" y="0"/>
                </a:lnTo>
                <a:lnTo>
                  <a:pt x="595" y="49"/>
                </a:lnTo>
                <a:lnTo>
                  <a:pt x="643" y="49"/>
                </a:lnTo>
                <a:lnTo>
                  <a:pt x="643" y="99"/>
                </a:lnTo>
                <a:lnTo>
                  <a:pt x="99" y="99"/>
                </a:lnTo>
                <a:lnTo>
                  <a:pt x="99" y="99"/>
                </a:lnTo>
                <a:lnTo>
                  <a:pt x="89" y="101"/>
                </a:lnTo>
                <a:lnTo>
                  <a:pt x="78" y="105"/>
                </a:lnTo>
                <a:lnTo>
                  <a:pt x="68" y="113"/>
                </a:lnTo>
                <a:lnTo>
                  <a:pt x="59" y="124"/>
                </a:lnTo>
                <a:lnTo>
                  <a:pt x="51" y="136"/>
                </a:lnTo>
                <a:lnTo>
                  <a:pt x="42" y="152"/>
                </a:lnTo>
                <a:lnTo>
                  <a:pt x="35" y="167"/>
                </a:lnTo>
                <a:lnTo>
                  <a:pt x="28" y="185"/>
                </a:lnTo>
                <a:lnTo>
                  <a:pt x="16" y="225"/>
                </a:lnTo>
                <a:lnTo>
                  <a:pt x="9" y="265"/>
                </a:lnTo>
                <a:lnTo>
                  <a:pt x="3" y="307"/>
                </a:lnTo>
                <a:lnTo>
                  <a:pt x="0" y="345"/>
                </a:lnTo>
                <a:lnTo>
                  <a:pt x="0" y="345"/>
                </a:lnTo>
                <a:lnTo>
                  <a:pt x="3" y="386"/>
                </a:lnTo>
                <a:lnTo>
                  <a:pt x="9" y="427"/>
                </a:lnTo>
                <a:lnTo>
                  <a:pt x="16" y="468"/>
                </a:lnTo>
                <a:lnTo>
                  <a:pt x="28" y="508"/>
                </a:lnTo>
                <a:lnTo>
                  <a:pt x="35" y="525"/>
                </a:lnTo>
                <a:lnTo>
                  <a:pt x="42" y="541"/>
                </a:lnTo>
                <a:lnTo>
                  <a:pt x="51" y="556"/>
                </a:lnTo>
                <a:lnTo>
                  <a:pt x="59" y="569"/>
                </a:lnTo>
                <a:lnTo>
                  <a:pt x="68" y="579"/>
                </a:lnTo>
                <a:lnTo>
                  <a:pt x="78" y="586"/>
                </a:lnTo>
                <a:lnTo>
                  <a:pt x="89" y="591"/>
                </a:lnTo>
                <a:lnTo>
                  <a:pt x="99" y="593"/>
                </a:lnTo>
                <a:lnTo>
                  <a:pt x="150" y="593"/>
                </a:lnTo>
                <a:lnTo>
                  <a:pt x="150" y="647"/>
                </a:lnTo>
                <a:lnTo>
                  <a:pt x="214" y="647"/>
                </a:lnTo>
                <a:lnTo>
                  <a:pt x="214" y="647"/>
                </a:lnTo>
                <a:lnTo>
                  <a:pt x="204" y="651"/>
                </a:lnTo>
                <a:lnTo>
                  <a:pt x="194" y="658"/>
                </a:lnTo>
                <a:lnTo>
                  <a:pt x="185" y="665"/>
                </a:lnTo>
                <a:lnTo>
                  <a:pt x="178" y="673"/>
                </a:lnTo>
                <a:lnTo>
                  <a:pt x="150" y="693"/>
                </a:lnTo>
                <a:lnTo>
                  <a:pt x="150" y="741"/>
                </a:lnTo>
                <a:lnTo>
                  <a:pt x="167" y="741"/>
                </a:lnTo>
                <a:lnTo>
                  <a:pt x="167" y="741"/>
                </a:lnTo>
                <a:lnTo>
                  <a:pt x="173" y="752"/>
                </a:lnTo>
                <a:lnTo>
                  <a:pt x="178" y="762"/>
                </a:lnTo>
                <a:lnTo>
                  <a:pt x="185" y="769"/>
                </a:lnTo>
                <a:lnTo>
                  <a:pt x="194" y="778"/>
                </a:lnTo>
                <a:lnTo>
                  <a:pt x="204" y="783"/>
                </a:lnTo>
                <a:lnTo>
                  <a:pt x="214" y="787"/>
                </a:lnTo>
                <a:lnTo>
                  <a:pt x="225" y="790"/>
                </a:lnTo>
                <a:lnTo>
                  <a:pt x="237" y="792"/>
                </a:lnTo>
                <a:lnTo>
                  <a:pt x="237" y="792"/>
                </a:lnTo>
                <a:lnTo>
                  <a:pt x="249" y="790"/>
                </a:lnTo>
                <a:lnTo>
                  <a:pt x="260" y="787"/>
                </a:lnTo>
                <a:lnTo>
                  <a:pt x="270" y="783"/>
                </a:lnTo>
                <a:lnTo>
                  <a:pt x="281" y="778"/>
                </a:lnTo>
                <a:lnTo>
                  <a:pt x="289" y="769"/>
                </a:lnTo>
                <a:lnTo>
                  <a:pt x="296" y="762"/>
                </a:lnTo>
                <a:lnTo>
                  <a:pt x="302" y="752"/>
                </a:lnTo>
                <a:lnTo>
                  <a:pt x="307" y="741"/>
                </a:lnTo>
                <a:lnTo>
                  <a:pt x="337" y="741"/>
                </a:lnTo>
                <a:lnTo>
                  <a:pt x="337" y="741"/>
                </a:lnTo>
                <a:lnTo>
                  <a:pt x="342" y="752"/>
                </a:lnTo>
                <a:lnTo>
                  <a:pt x="349" y="762"/>
                </a:lnTo>
                <a:lnTo>
                  <a:pt x="356" y="769"/>
                </a:lnTo>
                <a:lnTo>
                  <a:pt x="364" y="778"/>
                </a:lnTo>
                <a:lnTo>
                  <a:pt x="373" y="783"/>
                </a:lnTo>
                <a:lnTo>
                  <a:pt x="384" y="787"/>
                </a:lnTo>
                <a:lnTo>
                  <a:pt x="396" y="790"/>
                </a:lnTo>
                <a:lnTo>
                  <a:pt x="406" y="792"/>
                </a:lnTo>
                <a:lnTo>
                  <a:pt x="406" y="792"/>
                </a:lnTo>
                <a:lnTo>
                  <a:pt x="419" y="790"/>
                </a:lnTo>
                <a:lnTo>
                  <a:pt x="431" y="787"/>
                </a:lnTo>
                <a:lnTo>
                  <a:pt x="441" y="783"/>
                </a:lnTo>
                <a:lnTo>
                  <a:pt x="450" y="778"/>
                </a:lnTo>
                <a:lnTo>
                  <a:pt x="459" y="769"/>
                </a:lnTo>
                <a:lnTo>
                  <a:pt x="466" y="762"/>
                </a:lnTo>
                <a:lnTo>
                  <a:pt x="473" y="752"/>
                </a:lnTo>
                <a:lnTo>
                  <a:pt x="476" y="741"/>
                </a:lnTo>
                <a:lnTo>
                  <a:pt x="495" y="741"/>
                </a:lnTo>
                <a:lnTo>
                  <a:pt x="495" y="693"/>
                </a:lnTo>
                <a:lnTo>
                  <a:pt x="989" y="693"/>
                </a:lnTo>
                <a:lnTo>
                  <a:pt x="989" y="741"/>
                </a:lnTo>
                <a:lnTo>
                  <a:pt x="1008" y="741"/>
                </a:lnTo>
                <a:lnTo>
                  <a:pt x="1008" y="741"/>
                </a:lnTo>
                <a:lnTo>
                  <a:pt x="1013" y="752"/>
                </a:lnTo>
                <a:lnTo>
                  <a:pt x="1018" y="762"/>
                </a:lnTo>
                <a:lnTo>
                  <a:pt x="1025" y="769"/>
                </a:lnTo>
                <a:lnTo>
                  <a:pt x="1034" y="778"/>
                </a:lnTo>
                <a:lnTo>
                  <a:pt x="1045" y="783"/>
                </a:lnTo>
                <a:lnTo>
                  <a:pt x="1055" y="787"/>
                </a:lnTo>
                <a:lnTo>
                  <a:pt x="1065" y="790"/>
                </a:lnTo>
                <a:lnTo>
                  <a:pt x="1078" y="792"/>
                </a:lnTo>
                <a:lnTo>
                  <a:pt x="1078" y="792"/>
                </a:lnTo>
                <a:lnTo>
                  <a:pt x="1090" y="790"/>
                </a:lnTo>
                <a:lnTo>
                  <a:pt x="1100" y="787"/>
                </a:lnTo>
                <a:lnTo>
                  <a:pt x="1111" y="783"/>
                </a:lnTo>
                <a:lnTo>
                  <a:pt x="1121" y="778"/>
                </a:lnTo>
                <a:lnTo>
                  <a:pt x="1130" y="769"/>
                </a:lnTo>
                <a:lnTo>
                  <a:pt x="1137" y="762"/>
                </a:lnTo>
                <a:lnTo>
                  <a:pt x="1142" y="752"/>
                </a:lnTo>
                <a:lnTo>
                  <a:pt x="1147" y="741"/>
                </a:lnTo>
                <a:lnTo>
                  <a:pt x="1177" y="741"/>
                </a:lnTo>
                <a:lnTo>
                  <a:pt x="1177" y="741"/>
                </a:lnTo>
                <a:lnTo>
                  <a:pt x="1182" y="752"/>
                </a:lnTo>
                <a:lnTo>
                  <a:pt x="1188" y="762"/>
                </a:lnTo>
                <a:lnTo>
                  <a:pt x="1196" y="769"/>
                </a:lnTo>
                <a:lnTo>
                  <a:pt x="1205" y="778"/>
                </a:lnTo>
                <a:lnTo>
                  <a:pt x="1214" y="783"/>
                </a:lnTo>
                <a:lnTo>
                  <a:pt x="1224" y="787"/>
                </a:lnTo>
                <a:lnTo>
                  <a:pt x="1236" y="790"/>
                </a:lnTo>
                <a:lnTo>
                  <a:pt x="1247" y="792"/>
                </a:lnTo>
                <a:lnTo>
                  <a:pt x="1247" y="792"/>
                </a:lnTo>
                <a:lnTo>
                  <a:pt x="1259" y="790"/>
                </a:lnTo>
                <a:lnTo>
                  <a:pt x="1271" y="787"/>
                </a:lnTo>
                <a:lnTo>
                  <a:pt x="1282" y="783"/>
                </a:lnTo>
                <a:lnTo>
                  <a:pt x="1290" y="778"/>
                </a:lnTo>
                <a:lnTo>
                  <a:pt x="1299" y="769"/>
                </a:lnTo>
                <a:lnTo>
                  <a:pt x="1306" y="762"/>
                </a:lnTo>
                <a:lnTo>
                  <a:pt x="1313" y="752"/>
                </a:lnTo>
                <a:lnTo>
                  <a:pt x="1317" y="741"/>
                </a:lnTo>
                <a:lnTo>
                  <a:pt x="1336" y="741"/>
                </a:lnTo>
                <a:lnTo>
                  <a:pt x="1336" y="693"/>
                </a:lnTo>
                <a:lnTo>
                  <a:pt x="1308" y="673"/>
                </a:lnTo>
                <a:lnTo>
                  <a:pt x="1308" y="673"/>
                </a:lnTo>
                <a:lnTo>
                  <a:pt x="1299" y="665"/>
                </a:lnTo>
                <a:lnTo>
                  <a:pt x="1290" y="658"/>
                </a:lnTo>
                <a:lnTo>
                  <a:pt x="1282" y="651"/>
                </a:lnTo>
                <a:lnTo>
                  <a:pt x="1270" y="647"/>
                </a:lnTo>
                <a:lnTo>
                  <a:pt x="1336" y="647"/>
                </a:lnTo>
                <a:lnTo>
                  <a:pt x="1336" y="593"/>
                </a:lnTo>
                <a:lnTo>
                  <a:pt x="1385" y="593"/>
                </a:lnTo>
                <a:lnTo>
                  <a:pt x="1385" y="593"/>
                </a:lnTo>
                <a:lnTo>
                  <a:pt x="1395" y="591"/>
                </a:lnTo>
                <a:lnTo>
                  <a:pt x="1406" y="586"/>
                </a:lnTo>
                <a:lnTo>
                  <a:pt x="1416" y="579"/>
                </a:lnTo>
                <a:lnTo>
                  <a:pt x="1425" y="569"/>
                </a:lnTo>
                <a:lnTo>
                  <a:pt x="1433" y="556"/>
                </a:lnTo>
                <a:lnTo>
                  <a:pt x="1442" y="541"/>
                </a:lnTo>
                <a:lnTo>
                  <a:pt x="1449" y="525"/>
                </a:lnTo>
                <a:lnTo>
                  <a:pt x="1456" y="508"/>
                </a:lnTo>
                <a:lnTo>
                  <a:pt x="1468" y="468"/>
                </a:lnTo>
                <a:lnTo>
                  <a:pt x="1477" y="427"/>
                </a:lnTo>
                <a:lnTo>
                  <a:pt x="1482" y="386"/>
                </a:lnTo>
                <a:lnTo>
                  <a:pt x="1484" y="345"/>
                </a:lnTo>
                <a:lnTo>
                  <a:pt x="1484" y="345"/>
                </a:lnTo>
                <a:lnTo>
                  <a:pt x="1482" y="307"/>
                </a:lnTo>
                <a:lnTo>
                  <a:pt x="1477" y="265"/>
                </a:lnTo>
                <a:lnTo>
                  <a:pt x="1468" y="225"/>
                </a:lnTo>
                <a:lnTo>
                  <a:pt x="1456" y="185"/>
                </a:lnTo>
                <a:lnTo>
                  <a:pt x="1449" y="167"/>
                </a:lnTo>
                <a:lnTo>
                  <a:pt x="1442" y="152"/>
                </a:lnTo>
                <a:lnTo>
                  <a:pt x="1433" y="136"/>
                </a:lnTo>
                <a:lnTo>
                  <a:pt x="1425" y="124"/>
                </a:lnTo>
                <a:lnTo>
                  <a:pt x="1416" y="113"/>
                </a:lnTo>
                <a:lnTo>
                  <a:pt x="1406" y="105"/>
                </a:lnTo>
                <a:lnTo>
                  <a:pt x="1395" y="101"/>
                </a:lnTo>
                <a:lnTo>
                  <a:pt x="1385" y="99"/>
                </a:lnTo>
                <a:lnTo>
                  <a:pt x="1385" y="99"/>
                </a:lnTo>
                <a:close/>
                <a:moveTo>
                  <a:pt x="234" y="750"/>
                </a:moveTo>
                <a:lnTo>
                  <a:pt x="234" y="750"/>
                </a:lnTo>
                <a:lnTo>
                  <a:pt x="225" y="748"/>
                </a:lnTo>
                <a:lnTo>
                  <a:pt x="216" y="743"/>
                </a:lnTo>
                <a:lnTo>
                  <a:pt x="211" y="736"/>
                </a:lnTo>
                <a:lnTo>
                  <a:pt x="209" y="726"/>
                </a:lnTo>
                <a:lnTo>
                  <a:pt x="209" y="726"/>
                </a:lnTo>
                <a:lnTo>
                  <a:pt x="211" y="717"/>
                </a:lnTo>
                <a:lnTo>
                  <a:pt x="216" y="708"/>
                </a:lnTo>
                <a:lnTo>
                  <a:pt x="225" y="703"/>
                </a:lnTo>
                <a:lnTo>
                  <a:pt x="234" y="701"/>
                </a:lnTo>
                <a:lnTo>
                  <a:pt x="234" y="701"/>
                </a:lnTo>
                <a:lnTo>
                  <a:pt x="244" y="703"/>
                </a:lnTo>
                <a:lnTo>
                  <a:pt x="251" y="708"/>
                </a:lnTo>
                <a:lnTo>
                  <a:pt x="256" y="717"/>
                </a:lnTo>
                <a:lnTo>
                  <a:pt x="258" y="726"/>
                </a:lnTo>
                <a:lnTo>
                  <a:pt x="258" y="726"/>
                </a:lnTo>
                <a:lnTo>
                  <a:pt x="256" y="736"/>
                </a:lnTo>
                <a:lnTo>
                  <a:pt x="251" y="743"/>
                </a:lnTo>
                <a:lnTo>
                  <a:pt x="244" y="748"/>
                </a:lnTo>
                <a:lnTo>
                  <a:pt x="234" y="750"/>
                </a:lnTo>
                <a:lnTo>
                  <a:pt x="234" y="750"/>
                </a:lnTo>
                <a:close/>
                <a:moveTo>
                  <a:pt x="406" y="750"/>
                </a:moveTo>
                <a:lnTo>
                  <a:pt x="406" y="750"/>
                </a:lnTo>
                <a:lnTo>
                  <a:pt x="398" y="748"/>
                </a:lnTo>
                <a:lnTo>
                  <a:pt x="389" y="743"/>
                </a:lnTo>
                <a:lnTo>
                  <a:pt x="384" y="736"/>
                </a:lnTo>
                <a:lnTo>
                  <a:pt x="382" y="726"/>
                </a:lnTo>
                <a:lnTo>
                  <a:pt x="382" y="726"/>
                </a:lnTo>
                <a:lnTo>
                  <a:pt x="384" y="717"/>
                </a:lnTo>
                <a:lnTo>
                  <a:pt x="389" y="708"/>
                </a:lnTo>
                <a:lnTo>
                  <a:pt x="398" y="703"/>
                </a:lnTo>
                <a:lnTo>
                  <a:pt x="406" y="701"/>
                </a:lnTo>
                <a:lnTo>
                  <a:pt x="406" y="701"/>
                </a:lnTo>
                <a:lnTo>
                  <a:pt x="417" y="703"/>
                </a:lnTo>
                <a:lnTo>
                  <a:pt x="424" y="708"/>
                </a:lnTo>
                <a:lnTo>
                  <a:pt x="429" y="717"/>
                </a:lnTo>
                <a:lnTo>
                  <a:pt x="431" y="726"/>
                </a:lnTo>
                <a:lnTo>
                  <a:pt x="431" y="726"/>
                </a:lnTo>
                <a:lnTo>
                  <a:pt x="429" y="736"/>
                </a:lnTo>
                <a:lnTo>
                  <a:pt x="424" y="743"/>
                </a:lnTo>
                <a:lnTo>
                  <a:pt x="417" y="748"/>
                </a:lnTo>
                <a:lnTo>
                  <a:pt x="406" y="750"/>
                </a:lnTo>
                <a:lnTo>
                  <a:pt x="406" y="750"/>
                </a:lnTo>
                <a:close/>
                <a:moveTo>
                  <a:pt x="1074" y="750"/>
                </a:moveTo>
                <a:lnTo>
                  <a:pt x="1074" y="750"/>
                </a:lnTo>
                <a:lnTo>
                  <a:pt x="1064" y="748"/>
                </a:lnTo>
                <a:lnTo>
                  <a:pt x="1057" y="743"/>
                </a:lnTo>
                <a:lnTo>
                  <a:pt x="1052" y="736"/>
                </a:lnTo>
                <a:lnTo>
                  <a:pt x="1048" y="726"/>
                </a:lnTo>
                <a:lnTo>
                  <a:pt x="1048" y="726"/>
                </a:lnTo>
                <a:lnTo>
                  <a:pt x="1052" y="717"/>
                </a:lnTo>
                <a:lnTo>
                  <a:pt x="1057" y="708"/>
                </a:lnTo>
                <a:lnTo>
                  <a:pt x="1064" y="703"/>
                </a:lnTo>
                <a:lnTo>
                  <a:pt x="1074" y="701"/>
                </a:lnTo>
                <a:lnTo>
                  <a:pt x="1074" y="701"/>
                </a:lnTo>
                <a:lnTo>
                  <a:pt x="1083" y="703"/>
                </a:lnTo>
                <a:lnTo>
                  <a:pt x="1092" y="708"/>
                </a:lnTo>
                <a:lnTo>
                  <a:pt x="1097" y="717"/>
                </a:lnTo>
                <a:lnTo>
                  <a:pt x="1099" y="726"/>
                </a:lnTo>
                <a:lnTo>
                  <a:pt x="1099" y="726"/>
                </a:lnTo>
                <a:lnTo>
                  <a:pt x="1097" y="736"/>
                </a:lnTo>
                <a:lnTo>
                  <a:pt x="1092" y="743"/>
                </a:lnTo>
                <a:lnTo>
                  <a:pt x="1083" y="748"/>
                </a:lnTo>
                <a:lnTo>
                  <a:pt x="1074" y="750"/>
                </a:lnTo>
                <a:lnTo>
                  <a:pt x="1074" y="750"/>
                </a:lnTo>
                <a:close/>
                <a:moveTo>
                  <a:pt x="1271" y="726"/>
                </a:moveTo>
                <a:lnTo>
                  <a:pt x="1271" y="726"/>
                </a:lnTo>
                <a:lnTo>
                  <a:pt x="1270" y="736"/>
                </a:lnTo>
                <a:lnTo>
                  <a:pt x="1264" y="743"/>
                </a:lnTo>
                <a:lnTo>
                  <a:pt x="1256" y="748"/>
                </a:lnTo>
                <a:lnTo>
                  <a:pt x="1247" y="750"/>
                </a:lnTo>
                <a:lnTo>
                  <a:pt x="1247" y="750"/>
                </a:lnTo>
                <a:lnTo>
                  <a:pt x="1236" y="748"/>
                </a:lnTo>
                <a:lnTo>
                  <a:pt x="1228" y="743"/>
                </a:lnTo>
                <a:lnTo>
                  <a:pt x="1222" y="736"/>
                </a:lnTo>
                <a:lnTo>
                  <a:pt x="1221" y="726"/>
                </a:lnTo>
                <a:lnTo>
                  <a:pt x="1221" y="726"/>
                </a:lnTo>
                <a:lnTo>
                  <a:pt x="1222" y="717"/>
                </a:lnTo>
                <a:lnTo>
                  <a:pt x="1228" y="708"/>
                </a:lnTo>
                <a:lnTo>
                  <a:pt x="1236" y="703"/>
                </a:lnTo>
                <a:lnTo>
                  <a:pt x="1247" y="701"/>
                </a:lnTo>
                <a:lnTo>
                  <a:pt x="1247" y="701"/>
                </a:lnTo>
                <a:lnTo>
                  <a:pt x="1256" y="703"/>
                </a:lnTo>
                <a:lnTo>
                  <a:pt x="1264" y="708"/>
                </a:lnTo>
                <a:lnTo>
                  <a:pt x="1270" y="717"/>
                </a:lnTo>
                <a:lnTo>
                  <a:pt x="1271" y="726"/>
                </a:lnTo>
                <a:lnTo>
                  <a:pt x="1271" y="726"/>
                </a:lnTo>
                <a:close/>
                <a:moveTo>
                  <a:pt x="253" y="199"/>
                </a:moveTo>
                <a:lnTo>
                  <a:pt x="253" y="199"/>
                </a:lnTo>
                <a:lnTo>
                  <a:pt x="171" y="199"/>
                </a:lnTo>
                <a:lnTo>
                  <a:pt x="171" y="199"/>
                </a:lnTo>
                <a:lnTo>
                  <a:pt x="155" y="201"/>
                </a:lnTo>
                <a:lnTo>
                  <a:pt x="141" y="202"/>
                </a:lnTo>
                <a:lnTo>
                  <a:pt x="129" y="206"/>
                </a:lnTo>
                <a:lnTo>
                  <a:pt x="119" y="209"/>
                </a:lnTo>
                <a:lnTo>
                  <a:pt x="110" y="215"/>
                </a:lnTo>
                <a:lnTo>
                  <a:pt x="101" y="222"/>
                </a:lnTo>
                <a:lnTo>
                  <a:pt x="94" y="229"/>
                </a:lnTo>
                <a:lnTo>
                  <a:pt x="87" y="236"/>
                </a:lnTo>
                <a:lnTo>
                  <a:pt x="77" y="251"/>
                </a:lnTo>
                <a:lnTo>
                  <a:pt x="68" y="269"/>
                </a:lnTo>
                <a:lnTo>
                  <a:pt x="54" y="298"/>
                </a:lnTo>
                <a:lnTo>
                  <a:pt x="54" y="298"/>
                </a:lnTo>
                <a:lnTo>
                  <a:pt x="58" y="276"/>
                </a:lnTo>
                <a:lnTo>
                  <a:pt x="63" y="251"/>
                </a:lnTo>
                <a:lnTo>
                  <a:pt x="71" y="227"/>
                </a:lnTo>
                <a:lnTo>
                  <a:pt x="80" y="204"/>
                </a:lnTo>
                <a:lnTo>
                  <a:pt x="87" y="192"/>
                </a:lnTo>
                <a:lnTo>
                  <a:pt x="94" y="181"/>
                </a:lnTo>
                <a:lnTo>
                  <a:pt x="101" y="173"/>
                </a:lnTo>
                <a:lnTo>
                  <a:pt x="110" y="166"/>
                </a:lnTo>
                <a:lnTo>
                  <a:pt x="120" y="159"/>
                </a:lnTo>
                <a:lnTo>
                  <a:pt x="131" y="154"/>
                </a:lnTo>
                <a:lnTo>
                  <a:pt x="141" y="150"/>
                </a:lnTo>
                <a:lnTo>
                  <a:pt x="153" y="150"/>
                </a:lnTo>
                <a:lnTo>
                  <a:pt x="153" y="150"/>
                </a:lnTo>
                <a:lnTo>
                  <a:pt x="253" y="150"/>
                </a:lnTo>
                <a:lnTo>
                  <a:pt x="1364" y="148"/>
                </a:lnTo>
                <a:lnTo>
                  <a:pt x="1392" y="199"/>
                </a:lnTo>
                <a:lnTo>
                  <a:pt x="253" y="199"/>
                </a:lnTo>
                <a:close/>
              </a:path>
            </a:pathLst>
          </a:cu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1" name="Прямая со стрелкой 320"/>
          <p:cNvCxnSpPr/>
          <p:nvPr/>
        </p:nvCxnSpPr>
        <p:spPr>
          <a:xfrm>
            <a:off x="3919978" y="2409194"/>
            <a:ext cx="495074" cy="0"/>
          </a:xfrm>
          <a:prstGeom prst="straightConnector1">
            <a:avLst/>
          </a:prstGeom>
          <a:ln w="28575">
            <a:solidFill>
              <a:srgbClr val="2378D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3" name="Рисунок 322"/>
          <p:cNvPicPr>
            <a:picLocks/>
          </p:cNvPicPr>
          <p:nvPr/>
        </p:nvPicPr>
        <p:blipFill>
          <a:blip r:embed="rId17" r:link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711" y="1313111"/>
            <a:ext cx="1714500" cy="1514475"/>
          </a:xfrm>
          <a:prstGeom prst="rect">
            <a:avLst/>
          </a:prstGeom>
        </p:spPr>
      </p:pic>
      <p:pic>
        <p:nvPicPr>
          <p:cNvPr id="324" name="Рисунок 323"/>
          <p:cNvPicPr>
            <a:picLocks/>
          </p:cNvPicPr>
          <p:nvPr/>
        </p:nvPicPr>
        <p:blipFill>
          <a:blip r:embed="rId17" r:link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7878" y="2360680"/>
            <a:ext cx="1714500" cy="1514475"/>
          </a:xfrm>
          <a:prstGeom prst="rect">
            <a:avLst/>
          </a:prstGeom>
        </p:spPr>
      </p:pic>
      <p:pic>
        <p:nvPicPr>
          <p:cNvPr id="325" name="Рисунок 324"/>
          <p:cNvPicPr>
            <a:picLocks/>
          </p:cNvPicPr>
          <p:nvPr/>
        </p:nvPicPr>
        <p:blipFill>
          <a:blip r:embed="rId19" r:link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677" y="1906313"/>
            <a:ext cx="1921669" cy="1664494"/>
          </a:xfrm>
          <a:prstGeom prst="rect">
            <a:avLst/>
          </a:prstGeom>
        </p:spPr>
      </p:pic>
      <p:sp>
        <p:nvSpPr>
          <p:cNvPr id="194" name="Овал 193"/>
          <p:cNvSpPr/>
          <p:nvPr/>
        </p:nvSpPr>
        <p:spPr>
          <a:xfrm>
            <a:off x="3922878" y="2291590"/>
            <a:ext cx="217448" cy="204582"/>
          </a:xfrm>
          <a:prstGeom prst="ellipse">
            <a:avLst/>
          </a:prstGeom>
          <a:solidFill>
            <a:srgbClr val="FF0000"/>
          </a:solidFill>
          <a:ln w="3175">
            <a:solidFill>
              <a:schemeClr val="bg2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328" name="Прямая со стрелкой 327"/>
          <p:cNvCxnSpPr/>
          <p:nvPr/>
        </p:nvCxnSpPr>
        <p:spPr>
          <a:xfrm flipV="1">
            <a:off x="2255488" y="3469732"/>
            <a:ext cx="582963" cy="10517"/>
          </a:xfrm>
          <a:prstGeom prst="straightConnector1">
            <a:avLst/>
          </a:prstGeom>
          <a:ln w="28575">
            <a:solidFill>
              <a:srgbClr val="2378D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Овал 165"/>
          <p:cNvSpPr/>
          <p:nvPr/>
        </p:nvSpPr>
        <p:spPr>
          <a:xfrm>
            <a:off x="2213901" y="2315951"/>
            <a:ext cx="238970" cy="234426"/>
          </a:xfrm>
          <a:prstGeom prst="ellipse">
            <a:avLst/>
          </a:prstGeom>
          <a:ln w="3175">
            <a:solidFill>
              <a:schemeClr val="bg2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9" name="TextBox 328"/>
          <p:cNvSpPr txBox="1"/>
          <p:nvPr>
            <p:custDataLst>
              <p:tags r:id="rId13"/>
            </p:custDataLst>
          </p:nvPr>
        </p:nvSpPr>
        <p:spPr>
          <a:xfrm>
            <a:off x="3722175" y="1853765"/>
            <a:ext cx="74425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600" dirty="0" err="1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Массомер</a:t>
            </a:r>
            <a:r>
              <a:rPr lang="ru-RU" sz="6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 НПЗ и БИК</a:t>
            </a:r>
          </a:p>
          <a:p>
            <a:pPr algn="ctr">
              <a:defRPr/>
            </a:pPr>
            <a:r>
              <a:rPr lang="ru-RU" sz="6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? - брутто </a:t>
            </a:r>
          </a:p>
          <a:p>
            <a:pPr algn="ctr">
              <a:defRPr/>
            </a:pPr>
            <a:r>
              <a:rPr lang="ru-RU" sz="600" dirty="0">
                <a:solidFill>
                  <a:srgbClr val="0070BA">
                    <a:lumMod val="75000"/>
                  </a:srgbClr>
                </a:solidFill>
                <a:latin typeface="DINPro-Regular" panose="02000503030000020004" pitchFamily="50" charset="0"/>
                <a:cs typeface="Arial" panose="020B0604020202020204" pitchFamily="34" charset="0"/>
              </a:rPr>
              <a:t>? - нетто</a:t>
            </a:r>
          </a:p>
          <a:p>
            <a:pPr algn="ctr">
              <a:defRPr/>
            </a:pPr>
            <a:endParaRPr lang="ru-RU" sz="600" dirty="0">
              <a:solidFill>
                <a:srgbClr val="0070BA">
                  <a:lumMod val="75000"/>
                </a:srgbClr>
              </a:solidFill>
              <a:latin typeface="DINPro-Regular" panose="02000503030000020004" pitchFamily="50" charset="0"/>
              <a:cs typeface="Arial" panose="020B0604020202020204" pitchFamily="34" charset="0"/>
            </a:endParaRPr>
          </a:p>
        </p:txBody>
      </p:sp>
      <p:pic>
        <p:nvPicPr>
          <p:cNvPr id="125" name="Рисунок 124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727160" y="3197332"/>
            <a:ext cx="737680" cy="463336"/>
          </a:xfrm>
          <a:prstGeom prst="rect">
            <a:avLst/>
          </a:prstGeom>
        </p:spPr>
      </p:pic>
      <p:sp>
        <p:nvSpPr>
          <p:cNvPr id="331" name="Прямоугольник 330"/>
          <p:cNvSpPr/>
          <p:nvPr/>
        </p:nvSpPr>
        <p:spPr>
          <a:xfrm>
            <a:off x="1619794" y="4046929"/>
            <a:ext cx="4387557" cy="32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DINPro-Regular" panose="02000503030000020004" pitchFamily="50" charset="0"/>
              </a:rPr>
              <a:t>Текущее состояние</a:t>
            </a:r>
          </a:p>
        </p:txBody>
      </p:sp>
      <p:sp>
        <p:nvSpPr>
          <p:cNvPr id="332" name="Прямоугольник 331"/>
          <p:cNvSpPr/>
          <p:nvPr/>
        </p:nvSpPr>
        <p:spPr>
          <a:xfrm>
            <a:off x="6424614" y="4046929"/>
            <a:ext cx="3688304" cy="32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DINPro-Regular" panose="02000503030000020004" pitchFamily="50" charset="0"/>
              </a:rPr>
              <a:t>Целевое состояние</a:t>
            </a:r>
          </a:p>
        </p:txBody>
      </p:sp>
      <p:sp>
        <p:nvSpPr>
          <p:cNvPr id="333" name="trian16_2_solid"/>
          <p:cNvSpPr/>
          <p:nvPr/>
        </p:nvSpPr>
        <p:spPr>
          <a:xfrm>
            <a:off x="6128542" y="5360782"/>
            <a:ext cx="283347" cy="351824"/>
          </a:xfrm>
          <a:prstGeom prst="chevron">
            <a:avLst>
              <a:gd name="adj" fmla="val 54096"/>
            </a:avLst>
          </a:prstGeom>
          <a:solidFill>
            <a:srgbClr val="00569B"/>
          </a:solidFill>
          <a:ln>
            <a:solidFill>
              <a:srgbClr val="00569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7" name="Прямоугольник 126"/>
          <p:cNvSpPr/>
          <p:nvPr/>
        </p:nvSpPr>
        <p:spPr>
          <a:xfrm>
            <a:off x="1716916" y="4423140"/>
            <a:ext cx="4241652" cy="230832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ru-RU" sz="1200" dirty="0"/>
              <a:t>1. С 01.01.2019г. действует, утвержденный Минэнерго РФ, Порядок определения количества нефтяного сырья, направленного на переработку, в целях исчисления акциза на нефтяное сырье (с 01.06.2019 определяется количества НС по массе нетто).</a:t>
            </a:r>
          </a:p>
          <a:p>
            <a:r>
              <a:rPr lang="ru-RU" sz="1200" dirty="0"/>
              <a:t>2. Порядок МЭ РФ действует до 31.12.2021г. в соответствии с НК РФ</a:t>
            </a:r>
          </a:p>
          <a:p>
            <a:r>
              <a:rPr lang="ru-RU" sz="1200" dirty="0"/>
              <a:t>3. Учет НС на НПЗ введется по системе учёта резервуарных запасов и средствам измерений применяемых при производственном учёте</a:t>
            </a:r>
          </a:p>
          <a:p>
            <a:r>
              <a:rPr lang="ru-RU" sz="1200" dirty="0"/>
              <a:t>4. Не определены метрологические требования в части точности определения количества НС Приказом МЭ РФ №179 </a:t>
            </a:r>
          </a:p>
        </p:txBody>
      </p:sp>
      <p:sp>
        <p:nvSpPr>
          <p:cNvPr id="336" name="Прямоугольник 335"/>
          <p:cNvSpPr/>
          <p:nvPr/>
        </p:nvSpPr>
        <p:spPr>
          <a:xfrm>
            <a:off x="6472794" y="4541487"/>
            <a:ext cx="3950880" cy="15696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ru-RU" sz="1200" dirty="0"/>
              <a:t>С 01.01.2022г. должен быть обеспечен учёт НС прямым или косвенным методами динамических измерений </a:t>
            </a:r>
          </a:p>
          <a:p>
            <a:pPr marL="228600" indent="-228600">
              <a:buAutoNum type="arabicPeriod"/>
            </a:pPr>
            <a:r>
              <a:rPr lang="ru-RU" sz="1200" dirty="0"/>
              <a:t>Метод измерения НС должен соответствовать действующим метрологическим требованиям в соответствии с законодательством РФ</a:t>
            </a:r>
          </a:p>
          <a:p>
            <a:endParaRPr lang="ru-RU" sz="1200" dirty="0"/>
          </a:p>
          <a:p>
            <a:r>
              <a:rPr lang="ru-RU" sz="1200" dirty="0"/>
              <a:t> </a:t>
            </a:r>
          </a:p>
        </p:txBody>
      </p:sp>
      <p:sp>
        <p:nvSpPr>
          <p:cNvPr id="57" name="Picture165"/>
          <p:cNvSpPr>
            <a:spLocks/>
          </p:cNvSpPr>
          <p:nvPr/>
        </p:nvSpPr>
        <p:spPr bwMode="auto">
          <a:xfrm>
            <a:off x="1186549" y="6287215"/>
            <a:ext cx="504056" cy="417066"/>
          </a:xfrm>
          <a:custGeom>
            <a:avLst/>
            <a:gdLst>
              <a:gd name="T0" fmla="*/ 0 w 762"/>
              <a:gd name="T1" fmla="*/ 467 h 912"/>
              <a:gd name="T2" fmla="*/ 152 w 762"/>
              <a:gd name="T3" fmla="*/ 372 h 912"/>
              <a:gd name="T4" fmla="*/ 280 w 762"/>
              <a:gd name="T5" fmla="*/ 608 h 912"/>
              <a:gd name="T6" fmla="*/ 609 w 762"/>
              <a:gd name="T7" fmla="*/ 0 h 912"/>
              <a:gd name="T8" fmla="*/ 762 w 762"/>
              <a:gd name="T9" fmla="*/ 95 h 912"/>
              <a:gd name="T10" fmla="*/ 280 w 762"/>
              <a:gd name="T11" fmla="*/ 912 h 912"/>
              <a:gd name="T12" fmla="*/ 0 w 762"/>
              <a:gd name="T13" fmla="*/ 467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2" h="912">
                <a:moveTo>
                  <a:pt x="0" y="467"/>
                </a:moveTo>
                <a:lnTo>
                  <a:pt x="152" y="372"/>
                </a:lnTo>
                <a:lnTo>
                  <a:pt x="280" y="608"/>
                </a:lnTo>
                <a:lnTo>
                  <a:pt x="609" y="0"/>
                </a:lnTo>
                <a:lnTo>
                  <a:pt x="762" y="95"/>
                </a:lnTo>
                <a:lnTo>
                  <a:pt x="280" y="912"/>
                </a:lnTo>
                <a:lnTo>
                  <a:pt x="0" y="467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lIns="75613" tIns="37806" rIns="75613" bIns="37806"/>
          <a:lstStyle/>
          <a:p>
            <a:pPr>
              <a:defRPr/>
            </a:pPr>
            <a:endParaRPr lang="ru-RU" sz="1100"/>
          </a:p>
        </p:txBody>
      </p:sp>
    </p:spTree>
    <p:extLst>
      <p:ext uri="{BB962C8B-B14F-4D97-AF65-F5344CB8AC3E}">
        <p14:creationId xmlns:p14="http://schemas.microsoft.com/office/powerpoint/2010/main" val="1196437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Объект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855073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Slide" r:id="rId4" imgW="366" imgH="369" progId="TCLayout.ActiveDocument.1">
                  <p:embed/>
                </p:oleObj>
              </mc:Choice>
              <mc:Fallback>
                <p:oleObj name="think-cell Slide" r:id="rId4" imgW="366" imgH="369" progId="TCLayout.ActiveDocument.1">
                  <p:embed/>
                  <p:pic>
                    <p:nvPicPr>
                      <p:cNvPr id="23" name="Объект 2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902118" y="537251"/>
            <a:ext cx="8719112" cy="328280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latin typeface="DINPro-Black" panose="02000503030000020004" pitchFamily="50" charset="0"/>
              </a:rPr>
              <a:t>Срок реализации проекта, проблематика и предложения</a:t>
            </a:r>
            <a:endParaRPr lang="ru-RU" dirty="0">
              <a:latin typeface="DINPro-Black" panose="02000503030000020004" pitchFamily="50" charset="0"/>
            </a:endParaRPr>
          </a:p>
        </p:txBody>
      </p:sp>
      <p:sp>
        <p:nvSpPr>
          <p:cNvPr id="218" name="Прямоугольник 217"/>
          <p:cNvSpPr/>
          <p:nvPr/>
        </p:nvSpPr>
        <p:spPr>
          <a:xfrm>
            <a:off x="10451306" y="5799144"/>
            <a:ext cx="214313" cy="1989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39" name="Freeform 61"/>
          <p:cNvSpPr>
            <a:spLocks/>
          </p:cNvSpPr>
          <p:nvPr/>
        </p:nvSpPr>
        <p:spPr bwMode="auto">
          <a:xfrm>
            <a:off x="14255276" y="5471678"/>
            <a:ext cx="602105" cy="370225"/>
          </a:xfrm>
          <a:custGeom>
            <a:avLst/>
            <a:gdLst>
              <a:gd name="T0" fmla="*/ 475 w 476"/>
              <a:gd name="T1" fmla="*/ 70 h 126"/>
              <a:gd name="T2" fmla="*/ 460 w 476"/>
              <a:gd name="T3" fmla="*/ 66 h 126"/>
              <a:gd name="T4" fmla="*/ 454 w 476"/>
              <a:gd name="T5" fmla="*/ 48 h 126"/>
              <a:gd name="T6" fmla="*/ 452 w 476"/>
              <a:gd name="T7" fmla="*/ 43 h 126"/>
              <a:gd name="T8" fmla="*/ 451 w 476"/>
              <a:gd name="T9" fmla="*/ 44 h 126"/>
              <a:gd name="T10" fmla="*/ 446 w 476"/>
              <a:gd name="T11" fmla="*/ 66 h 126"/>
              <a:gd name="T12" fmla="*/ 441 w 476"/>
              <a:gd name="T13" fmla="*/ 71 h 126"/>
              <a:gd name="T14" fmla="*/ 436 w 476"/>
              <a:gd name="T15" fmla="*/ 67 h 126"/>
              <a:gd name="T16" fmla="*/ 430 w 476"/>
              <a:gd name="T17" fmla="*/ 70 h 126"/>
              <a:gd name="T18" fmla="*/ 348 w 476"/>
              <a:gd name="T19" fmla="*/ 73 h 126"/>
              <a:gd name="T20" fmla="*/ 346 w 476"/>
              <a:gd name="T21" fmla="*/ 66 h 126"/>
              <a:gd name="T22" fmla="*/ 318 w 476"/>
              <a:gd name="T23" fmla="*/ 61 h 126"/>
              <a:gd name="T24" fmla="*/ 317 w 476"/>
              <a:gd name="T25" fmla="*/ 73 h 126"/>
              <a:gd name="T26" fmla="*/ 290 w 476"/>
              <a:gd name="T27" fmla="*/ 65 h 126"/>
              <a:gd name="T28" fmla="*/ 240 w 476"/>
              <a:gd name="T29" fmla="*/ 72 h 126"/>
              <a:gd name="T30" fmla="*/ 269 w 476"/>
              <a:gd name="T31" fmla="*/ 56 h 126"/>
              <a:gd name="T32" fmla="*/ 240 w 476"/>
              <a:gd name="T33" fmla="*/ 70 h 126"/>
              <a:gd name="T34" fmla="*/ 239 w 476"/>
              <a:gd name="T35" fmla="*/ 49 h 126"/>
              <a:gd name="T36" fmla="*/ 209 w 476"/>
              <a:gd name="T37" fmla="*/ 55 h 126"/>
              <a:gd name="T38" fmla="*/ 239 w 476"/>
              <a:gd name="T39" fmla="*/ 72 h 126"/>
              <a:gd name="T40" fmla="*/ 168 w 476"/>
              <a:gd name="T41" fmla="*/ 57 h 126"/>
              <a:gd name="T42" fmla="*/ 166 w 476"/>
              <a:gd name="T43" fmla="*/ 72 h 126"/>
              <a:gd name="T44" fmla="*/ 103 w 476"/>
              <a:gd name="T45" fmla="*/ 62 h 126"/>
              <a:gd name="T46" fmla="*/ 94 w 476"/>
              <a:gd name="T47" fmla="*/ 56 h 126"/>
              <a:gd name="T48" fmla="*/ 98 w 476"/>
              <a:gd name="T49" fmla="*/ 65 h 126"/>
              <a:gd name="T50" fmla="*/ 103 w 476"/>
              <a:gd name="T51" fmla="*/ 42 h 126"/>
              <a:gd name="T52" fmla="*/ 87 w 476"/>
              <a:gd name="T53" fmla="*/ 34 h 126"/>
              <a:gd name="T54" fmla="*/ 79 w 476"/>
              <a:gd name="T55" fmla="*/ 32 h 126"/>
              <a:gd name="T56" fmla="*/ 78 w 476"/>
              <a:gd name="T57" fmla="*/ 22 h 126"/>
              <a:gd name="T58" fmla="*/ 78 w 476"/>
              <a:gd name="T59" fmla="*/ 32 h 126"/>
              <a:gd name="T60" fmla="*/ 74 w 476"/>
              <a:gd name="T61" fmla="*/ 33 h 126"/>
              <a:gd name="T62" fmla="*/ 64 w 476"/>
              <a:gd name="T63" fmla="*/ 5 h 126"/>
              <a:gd name="T64" fmla="*/ 56 w 476"/>
              <a:gd name="T65" fmla="*/ 4 h 126"/>
              <a:gd name="T66" fmla="*/ 55 w 476"/>
              <a:gd name="T67" fmla="*/ 0 h 126"/>
              <a:gd name="T68" fmla="*/ 55 w 476"/>
              <a:gd name="T69" fmla="*/ 7 h 126"/>
              <a:gd name="T70" fmla="*/ 59 w 476"/>
              <a:gd name="T71" fmla="*/ 35 h 126"/>
              <a:gd name="T72" fmla="*/ 54 w 476"/>
              <a:gd name="T73" fmla="*/ 32 h 126"/>
              <a:gd name="T74" fmla="*/ 53 w 476"/>
              <a:gd name="T75" fmla="*/ 21 h 126"/>
              <a:gd name="T76" fmla="*/ 49 w 476"/>
              <a:gd name="T77" fmla="*/ 32 h 126"/>
              <a:gd name="T78" fmla="*/ 48 w 476"/>
              <a:gd name="T79" fmla="*/ 34 h 126"/>
              <a:gd name="T80" fmla="*/ 45 w 476"/>
              <a:gd name="T81" fmla="*/ 25 h 126"/>
              <a:gd name="T82" fmla="*/ 40 w 476"/>
              <a:gd name="T83" fmla="*/ 25 h 126"/>
              <a:gd name="T84" fmla="*/ 35 w 476"/>
              <a:gd name="T85" fmla="*/ 26 h 126"/>
              <a:gd name="T86" fmla="*/ 29 w 476"/>
              <a:gd name="T87" fmla="*/ 59 h 126"/>
              <a:gd name="T88" fmla="*/ 27 w 476"/>
              <a:gd name="T89" fmla="*/ 64 h 126"/>
              <a:gd name="T90" fmla="*/ 19 w 476"/>
              <a:gd name="T91" fmla="*/ 74 h 126"/>
              <a:gd name="T92" fmla="*/ 1 w 476"/>
              <a:gd name="T93" fmla="*/ 76 h 126"/>
              <a:gd name="T94" fmla="*/ 18 w 476"/>
              <a:gd name="T95" fmla="*/ 100 h 126"/>
              <a:gd name="T96" fmla="*/ 14 w 476"/>
              <a:gd name="T97" fmla="*/ 112 h 126"/>
              <a:gd name="T98" fmla="*/ 22 w 476"/>
              <a:gd name="T99" fmla="*/ 102 h 126"/>
              <a:gd name="T100" fmla="*/ 33 w 476"/>
              <a:gd name="T101" fmla="*/ 111 h 126"/>
              <a:gd name="T102" fmla="*/ 475 w 476"/>
              <a:gd name="T103" fmla="*/ 114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76" h="126">
                <a:moveTo>
                  <a:pt x="470" y="105"/>
                </a:moveTo>
                <a:cubicBezTo>
                  <a:pt x="467" y="103"/>
                  <a:pt x="464" y="101"/>
                  <a:pt x="464" y="98"/>
                </a:cubicBezTo>
                <a:cubicBezTo>
                  <a:pt x="464" y="88"/>
                  <a:pt x="474" y="72"/>
                  <a:pt x="475" y="70"/>
                </a:cubicBezTo>
                <a:cubicBezTo>
                  <a:pt x="471" y="70"/>
                  <a:pt x="469" y="70"/>
                  <a:pt x="465" y="70"/>
                </a:cubicBezTo>
                <a:cubicBezTo>
                  <a:pt x="465" y="68"/>
                  <a:pt x="465" y="68"/>
                  <a:pt x="465" y="68"/>
                </a:cubicBezTo>
                <a:cubicBezTo>
                  <a:pt x="465" y="65"/>
                  <a:pt x="463" y="66"/>
                  <a:pt x="460" y="66"/>
                </a:cubicBezTo>
                <a:cubicBezTo>
                  <a:pt x="454" y="66"/>
                  <a:pt x="454" y="66"/>
                  <a:pt x="454" y="66"/>
                </a:cubicBezTo>
                <a:cubicBezTo>
                  <a:pt x="454" y="48"/>
                  <a:pt x="454" y="48"/>
                  <a:pt x="454" y="48"/>
                </a:cubicBezTo>
                <a:cubicBezTo>
                  <a:pt x="454" y="48"/>
                  <a:pt x="454" y="48"/>
                  <a:pt x="454" y="48"/>
                </a:cubicBezTo>
                <a:cubicBezTo>
                  <a:pt x="454" y="47"/>
                  <a:pt x="454" y="47"/>
                  <a:pt x="454" y="47"/>
                </a:cubicBezTo>
                <a:cubicBezTo>
                  <a:pt x="454" y="45"/>
                  <a:pt x="454" y="45"/>
                  <a:pt x="454" y="45"/>
                </a:cubicBezTo>
                <a:cubicBezTo>
                  <a:pt x="454" y="44"/>
                  <a:pt x="453" y="43"/>
                  <a:pt x="452" y="43"/>
                </a:cubicBezTo>
                <a:cubicBezTo>
                  <a:pt x="452" y="43"/>
                  <a:pt x="452" y="43"/>
                  <a:pt x="451" y="44"/>
                </a:cubicBezTo>
                <a:cubicBezTo>
                  <a:pt x="451" y="44"/>
                  <a:pt x="451" y="44"/>
                  <a:pt x="451" y="44"/>
                </a:cubicBezTo>
                <a:cubicBezTo>
                  <a:pt x="451" y="44"/>
                  <a:pt x="451" y="44"/>
                  <a:pt x="451" y="44"/>
                </a:cubicBezTo>
                <a:cubicBezTo>
                  <a:pt x="451" y="45"/>
                  <a:pt x="451" y="45"/>
                  <a:pt x="451" y="45"/>
                </a:cubicBezTo>
                <a:cubicBezTo>
                  <a:pt x="451" y="66"/>
                  <a:pt x="451" y="66"/>
                  <a:pt x="451" y="66"/>
                </a:cubicBezTo>
                <a:cubicBezTo>
                  <a:pt x="446" y="66"/>
                  <a:pt x="446" y="66"/>
                  <a:pt x="446" y="66"/>
                </a:cubicBezTo>
                <a:cubicBezTo>
                  <a:pt x="444" y="66"/>
                  <a:pt x="441" y="65"/>
                  <a:pt x="441" y="68"/>
                </a:cubicBezTo>
                <a:cubicBezTo>
                  <a:pt x="441" y="71"/>
                  <a:pt x="441" y="71"/>
                  <a:pt x="441" y="71"/>
                </a:cubicBezTo>
                <a:cubicBezTo>
                  <a:pt x="441" y="71"/>
                  <a:pt x="441" y="71"/>
                  <a:pt x="441" y="71"/>
                </a:cubicBezTo>
                <a:cubicBezTo>
                  <a:pt x="440" y="71"/>
                  <a:pt x="439" y="71"/>
                  <a:pt x="438" y="71"/>
                </a:cubicBezTo>
                <a:cubicBezTo>
                  <a:pt x="437" y="71"/>
                  <a:pt x="436" y="70"/>
                  <a:pt x="436" y="70"/>
                </a:cubicBezTo>
                <a:cubicBezTo>
                  <a:pt x="436" y="67"/>
                  <a:pt x="436" y="67"/>
                  <a:pt x="436" y="67"/>
                </a:cubicBezTo>
                <a:cubicBezTo>
                  <a:pt x="436" y="66"/>
                  <a:pt x="434" y="66"/>
                  <a:pt x="433" y="66"/>
                </a:cubicBezTo>
                <a:cubicBezTo>
                  <a:pt x="431" y="66"/>
                  <a:pt x="430" y="66"/>
                  <a:pt x="430" y="67"/>
                </a:cubicBezTo>
                <a:cubicBezTo>
                  <a:pt x="430" y="70"/>
                  <a:pt x="430" y="70"/>
                  <a:pt x="430" y="70"/>
                </a:cubicBezTo>
                <a:cubicBezTo>
                  <a:pt x="429" y="70"/>
                  <a:pt x="402" y="70"/>
                  <a:pt x="390" y="70"/>
                </a:cubicBezTo>
                <a:cubicBezTo>
                  <a:pt x="389" y="72"/>
                  <a:pt x="388" y="74"/>
                  <a:pt x="386" y="74"/>
                </a:cubicBezTo>
                <a:cubicBezTo>
                  <a:pt x="383" y="74"/>
                  <a:pt x="369" y="74"/>
                  <a:pt x="348" y="73"/>
                </a:cubicBezTo>
                <a:cubicBezTo>
                  <a:pt x="348" y="66"/>
                  <a:pt x="348" y="66"/>
                  <a:pt x="348" y="66"/>
                </a:cubicBezTo>
                <a:cubicBezTo>
                  <a:pt x="348" y="66"/>
                  <a:pt x="348" y="65"/>
                  <a:pt x="347" y="65"/>
                </a:cubicBezTo>
                <a:cubicBezTo>
                  <a:pt x="347" y="65"/>
                  <a:pt x="346" y="66"/>
                  <a:pt x="346" y="66"/>
                </a:cubicBezTo>
                <a:cubicBezTo>
                  <a:pt x="346" y="73"/>
                  <a:pt x="346" y="73"/>
                  <a:pt x="346" y="73"/>
                </a:cubicBezTo>
                <a:cubicBezTo>
                  <a:pt x="338" y="73"/>
                  <a:pt x="328" y="73"/>
                  <a:pt x="318" y="73"/>
                </a:cubicBezTo>
                <a:cubicBezTo>
                  <a:pt x="318" y="61"/>
                  <a:pt x="318" y="61"/>
                  <a:pt x="318" y="61"/>
                </a:cubicBezTo>
                <a:cubicBezTo>
                  <a:pt x="318" y="60"/>
                  <a:pt x="318" y="60"/>
                  <a:pt x="317" y="60"/>
                </a:cubicBezTo>
                <a:cubicBezTo>
                  <a:pt x="317" y="60"/>
                  <a:pt x="317" y="60"/>
                  <a:pt x="317" y="61"/>
                </a:cubicBezTo>
                <a:cubicBezTo>
                  <a:pt x="317" y="73"/>
                  <a:pt x="317" y="73"/>
                  <a:pt x="317" y="73"/>
                </a:cubicBezTo>
                <a:cubicBezTo>
                  <a:pt x="308" y="73"/>
                  <a:pt x="300" y="73"/>
                  <a:pt x="291" y="73"/>
                </a:cubicBezTo>
                <a:cubicBezTo>
                  <a:pt x="291" y="66"/>
                  <a:pt x="291" y="66"/>
                  <a:pt x="291" y="66"/>
                </a:cubicBezTo>
                <a:cubicBezTo>
                  <a:pt x="291" y="66"/>
                  <a:pt x="291" y="65"/>
                  <a:pt x="290" y="65"/>
                </a:cubicBezTo>
                <a:cubicBezTo>
                  <a:pt x="290" y="65"/>
                  <a:pt x="289" y="66"/>
                  <a:pt x="289" y="66"/>
                </a:cubicBezTo>
                <a:cubicBezTo>
                  <a:pt x="289" y="73"/>
                  <a:pt x="289" y="73"/>
                  <a:pt x="289" y="73"/>
                </a:cubicBezTo>
                <a:cubicBezTo>
                  <a:pt x="274" y="73"/>
                  <a:pt x="257" y="73"/>
                  <a:pt x="240" y="72"/>
                </a:cubicBezTo>
                <a:cubicBezTo>
                  <a:pt x="240" y="72"/>
                  <a:pt x="240" y="72"/>
                  <a:pt x="240" y="72"/>
                </a:cubicBezTo>
                <a:cubicBezTo>
                  <a:pt x="240" y="71"/>
                  <a:pt x="240" y="71"/>
                  <a:pt x="240" y="71"/>
                </a:cubicBezTo>
                <a:cubicBezTo>
                  <a:pt x="269" y="56"/>
                  <a:pt x="269" y="56"/>
                  <a:pt x="269" y="56"/>
                </a:cubicBezTo>
                <a:cubicBezTo>
                  <a:pt x="270" y="55"/>
                  <a:pt x="270" y="55"/>
                  <a:pt x="270" y="55"/>
                </a:cubicBezTo>
                <a:cubicBezTo>
                  <a:pt x="270" y="54"/>
                  <a:pt x="269" y="54"/>
                  <a:pt x="269" y="54"/>
                </a:cubicBezTo>
                <a:cubicBezTo>
                  <a:pt x="240" y="70"/>
                  <a:pt x="240" y="70"/>
                  <a:pt x="240" y="70"/>
                </a:cubicBezTo>
                <a:cubicBezTo>
                  <a:pt x="240" y="49"/>
                  <a:pt x="240" y="49"/>
                  <a:pt x="240" y="49"/>
                </a:cubicBezTo>
                <a:cubicBezTo>
                  <a:pt x="240" y="48"/>
                  <a:pt x="240" y="48"/>
                  <a:pt x="239" y="48"/>
                </a:cubicBezTo>
                <a:cubicBezTo>
                  <a:pt x="239" y="48"/>
                  <a:pt x="239" y="48"/>
                  <a:pt x="239" y="49"/>
                </a:cubicBezTo>
                <a:cubicBezTo>
                  <a:pt x="239" y="70"/>
                  <a:pt x="239" y="70"/>
                  <a:pt x="239" y="70"/>
                </a:cubicBezTo>
                <a:cubicBezTo>
                  <a:pt x="210" y="54"/>
                  <a:pt x="210" y="54"/>
                  <a:pt x="210" y="54"/>
                </a:cubicBezTo>
                <a:cubicBezTo>
                  <a:pt x="209" y="54"/>
                  <a:pt x="209" y="54"/>
                  <a:pt x="209" y="55"/>
                </a:cubicBezTo>
                <a:cubicBezTo>
                  <a:pt x="209" y="55"/>
                  <a:pt x="209" y="55"/>
                  <a:pt x="209" y="56"/>
                </a:cubicBezTo>
                <a:cubicBezTo>
                  <a:pt x="238" y="71"/>
                  <a:pt x="238" y="71"/>
                  <a:pt x="238" y="71"/>
                </a:cubicBezTo>
                <a:cubicBezTo>
                  <a:pt x="239" y="72"/>
                  <a:pt x="239" y="72"/>
                  <a:pt x="239" y="72"/>
                </a:cubicBezTo>
                <a:cubicBezTo>
                  <a:pt x="239" y="72"/>
                  <a:pt x="239" y="72"/>
                  <a:pt x="239" y="72"/>
                </a:cubicBezTo>
                <a:cubicBezTo>
                  <a:pt x="214" y="72"/>
                  <a:pt x="189" y="72"/>
                  <a:pt x="168" y="72"/>
                </a:cubicBezTo>
                <a:cubicBezTo>
                  <a:pt x="168" y="57"/>
                  <a:pt x="168" y="57"/>
                  <a:pt x="168" y="57"/>
                </a:cubicBezTo>
                <a:cubicBezTo>
                  <a:pt x="168" y="57"/>
                  <a:pt x="167" y="57"/>
                  <a:pt x="167" y="57"/>
                </a:cubicBezTo>
                <a:cubicBezTo>
                  <a:pt x="167" y="57"/>
                  <a:pt x="166" y="57"/>
                  <a:pt x="166" y="57"/>
                </a:cubicBezTo>
                <a:cubicBezTo>
                  <a:pt x="166" y="72"/>
                  <a:pt x="166" y="72"/>
                  <a:pt x="166" y="72"/>
                </a:cubicBezTo>
                <a:cubicBezTo>
                  <a:pt x="131" y="71"/>
                  <a:pt x="106" y="71"/>
                  <a:pt x="104" y="71"/>
                </a:cubicBezTo>
                <a:cubicBezTo>
                  <a:pt x="104" y="63"/>
                  <a:pt x="104" y="63"/>
                  <a:pt x="104" y="63"/>
                </a:cubicBezTo>
                <a:cubicBezTo>
                  <a:pt x="104" y="63"/>
                  <a:pt x="104" y="62"/>
                  <a:pt x="103" y="62"/>
                </a:cubicBezTo>
                <a:cubicBezTo>
                  <a:pt x="101" y="62"/>
                  <a:pt x="101" y="62"/>
                  <a:pt x="101" y="62"/>
                </a:cubicBezTo>
                <a:cubicBezTo>
                  <a:pt x="95" y="56"/>
                  <a:pt x="95" y="56"/>
                  <a:pt x="95" y="56"/>
                </a:cubicBezTo>
                <a:cubicBezTo>
                  <a:pt x="94" y="56"/>
                  <a:pt x="94" y="56"/>
                  <a:pt x="94" y="56"/>
                </a:cubicBezTo>
                <a:cubicBezTo>
                  <a:pt x="99" y="62"/>
                  <a:pt x="99" y="62"/>
                  <a:pt x="99" y="62"/>
                </a:cubicBezTo>
                <a:cubicBezTo>
                  <a:pt x="98" y="62"/>
                  <a:pt x="98" y="62"/>
                  <a:pt x="98" y="62"/>
                </a:cubicBezTo>
                <a:cubicBezTo>
                  <a:pt x="98" y="64"/>
                  <a:pt x="98" y="65"/>
                  <a:pt x="98" y="65"/>
                </a:cubicBezTo>
                <a:cubicBezTo>
                  <a:pt x="93" y="65"/>
                  <a:pt x="93" y="65"/>
                  <a:pt x="93" y="65"/>
                </a:cubicBezTo>
                <a:cubicBezTo>
                  <a:pt x="93" y="65"/>
                  <a:pt x="93" y="54"/>
                  <a:pt x="93" y="49"/>
                </a:cubicBezTo>
                <a:cubicBezTo>
                  <a:pt x="93" y="48"/>
                  <a:pt x="101" y="43"/>
                  <a:pt x="103" y="42"/>
                </a:cubicBezTo>
                <a:cubicBezTo>
                  <a:pt x="103" y="37"/>
                  <a:pt x="103" y="37"/>
                  <a:pt x="103" y="37"/>
                </a:cubicBezTo>
                <a:cubicBezTo>
                  <a:pt x="87" y="37"/>
                  <a:pt x="87" y="37"/>
                  <a:pt x="87" y="37"/>
                </a:cubicBezTo>
                <a:cubicBezTo>
                  <a:pt x="87" y="34"/>
                  <a:pt x="87" y="34"/>
                  <a:pt x="87" y="34"/>
                </a:cubicBezTo>
                <a:cubicBezTo>
                  <a:pt x="87" y="33"/>
                  <a:pt x="86" y="32"/>
                  <a:pt x="85" y="32"/>
                </a:cubicBezTo>
                <a:cubicBezTo>
                  <a:pt x="80" y="32"/>
                  <a:pt x="80" y="32"/>
                  <a:pt x="80" y="32"/>
                </a:cubicBezTo>
                <a:cubicBezTo>
                  <a:pt x="79" y="32"/>
                  <a:pt x="79" y="32"/>
                  <a:pt x="79" y="32"/>
                </a:cubicBezTo>
                <a:cubicBezTo>
                  <a:pt x="79" y="26"/>
                  <a:pt x="79" y="26"/>
                  <a:pt x="79" y="26"/>
                </a:cubicBezTo>
                <a:cubicBezTo>
                  <a:pt x="79" y="25"/>
                  <a:pt x="80" y="25"/>
                  <a:pt x="80" y="24"/>
                </a:cubicBezTo>
                <a:cubicBezTo>
                  <a:pt x="80" y="23"/>
                  <a:pt x="79" y="22"/>
                  <a:pt x="78" y="22"/>
                </a:cubicBezTo>
                <a:cubicBezTo>
                  <a:pt x="77" y="22"/>
                  <a:pt x="77" y="23"/>
                  <a:pt x="77" y="24"/>
                </a:cubicBezTo>
                <a:cubicBezTo>
                  <a:pt x="77" y="25"/>
                  <a:pt x="77" y="25"/>
                  <a:pt x="78" y="26"/>
                </a:cubicBezTo>
                <a:cubicBezTo>
                  <a:pt x="78" y="32"/>
                  <a:pt x="78" y="32"/>
                  <a:pt x="78" y="32"/>
                </a:cubicBezTo>
                <a:cubicBezTo>
                  <a:pt x="78" y="32"/>
                  <a:pt x="78" y="32"/>
                  <a:pt x="78" y="32"/>
                </a:cubicBezTo>
                <a:cubicBezTo>
                  <a:pt x="75" y="32"/>
                  <a:pt x="75" y="32"/>
                  <a:pt x="75" y="32"/>
                </a:cubicBezTo>
                <a:cubicBezTo>
                  <a:pt x="75" y="32"/>
                  <a:pt x="74" y="33"/>
                  <a:pt x="74" y="33"/>
                </a:cubicBezTo>
                <a:cubicBezTo>
                  <a:pt x="61" y="33"/>
                  <a:pt x="61" y="33"/>
                  <a:pt x="61" y="33"/>
                </a:cubicBezTo>
                <a:cubicBezTo>
                  <a:pt x="61" y="28"/>
                  <a:pt x="61" y="11"/>
                  <a:pt x="61" y="11"/>
                </a:cubicBezTo>
                <a:cubicBezTo>
                  <a:pt x="64" y="10"/>
                  <a:pt x="64" y="8"/>
                  <a:pt x="64" y="5"/>
                </a:cubicBezTo>
                <a:cubicBezTo>
                  <a:pt x="65" y="5"/>
                  <a:pt x="66" y="5"/>
                  <a:pt x="66" y="5"/>
                </a:cubicBezTo>
                <a:cubicBezTo>
                  <a:pt x="66" y="5"/>
                  <a:pt x="66" y="5"/>
                  <a:pt x="66" y="5"/>
                </a:cubicBezTo>
                <a:cubicBezTo>
                  <a:pt x="63" y="4"/>
                  <a:pt x="60" y="4"/>
                  <a:pt x="56" y="4"/>
                </a:cubicBezTo>
                <a:cubicBezTo>
                  <a:pt x="56" y="0"/>
                  <a:pt x="56" y="0"/>
                  <a:pt x="56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5" y="4"/>
                  <a:pt x="55" y="4"/>
                  <a:pt x="55" y="4"/>
                </a:cubicBezTo>
                <a:cubicBezTo>
                  <a:pt x="55" y="4"/>
                  <a:pt x="55" y="5"/>
                  <a:pt x="55" y="5"/>
                </a:cubicBezTo>
                <a:cubicBezTo>
                  <a:pt x="55" y="7"/>
                  <a:pt x="55" y="7"/>
                  <a:pt x="55" y="7"/>
                </a:cubicBezTo>
                <a:cubicBezTo>
                  <a:pt x="55" y="8"/>
                  <a:pt x="55" y="10"/>
                  <a:pt x="55" y="10"/>
                </a:cubicBezTo>
                <a:cubicBezTo>
                  <a:pt x="55" y="10"/>
                  <a:pt x="59" y="11"/>
                  <a:pt x="59" y="14"/>
                </a:cubicBezTo>
                <a:cubicBezTo>
                  <a:pt x="59" y="16"/>
                  <a:pt x="59" y="30"/>
                  <a:pt x="59" y="35"/>
                </a:cubicBezTo>
                <a:cubicBezTo>
                  <a:pt x="58" y="34"/>
                  <a:pt x="58" y="34"/>
                  <a:pt x="58" y="34"/>
                </a:cubicBezTo>
                <a:cubicBezTo>
                  <a:pt x="56" y="32"/>
                  <a:pt x="56" y="32"/>
                  <a:pt x="56" y="32"/>
                </a:cubicBezTo>
                <a:cubicBezTo>
                  <a:pt x="54" y="32"/>
                  <a:pt x="54" y="32"/>
                  <a:pt x="54" y="32"/>
                </a:cubicBezTo>
                <a:cubicBezTo>
                  <a:pt x="54" y="21"/>
                  <a:pt x="54" y="21"/>
                  <a:pt x="54" y="21"/>
                </a:cubicBezTo>
                <a:cubicBezTo>
                  <a:pt x="54" y="21"/>
                  <a:pt x="54" y="21"/>
                  <a:pt x="54" y="21"/>
                </a:cubicBezTo>
                <a:cubicBezTo>
                  <a:pt x="53" y="21"/>
                  <a:pt x="53" y="21"/>
                  <a:pt x="53" y="21"/>
                </a:cubicBezTo>
                <a:cubicBezTo>
                  <a:pt x="53" y="32"/>
                  <a:pt x="53" y="32"/>
                  <a:pt x="53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33"/>
                  <a:pt x="48" y="33"/>
                  <a:pt x="48" y="34"/>
                </a:cubicBezTo>
                <a:cubicBezTo>
                  <a:pt x="48" y="34"/>
                  <a:pt x="48" y="34"/>
                  <a:pt x="48" y="34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25"/>
                  <a:pt x="47" y="25"/>
                  <a:pt x="47" y="25"/>
                </a:cubicBezTo>
                <a:cubicBezTo>
                  <a:pt x="45" y="25"/>
                  <a:pt x="45" y="25"/>
                  <a:pt x="45" y="25"/>
                </a:cubicBezTo>
                <a:cubicBezTo>
                  <a:pt x="44" y="23"/>
                  <a:pt x="44" y="21"/>
                  <a:pt x="44" y="20"/>
                </a:cubicBezTo>
                <a:cubicBezTo>
                  <a:pt x="44" y="17"/>
                  <a:pt x="40" y="16"/>
                  <a:pt x="40" y="16"/>
                </a:cubicBezTo>
                <a:cubicBezTo>
                  <a:pt x="40" y="25"/>
                  <a:pt x="40" y="25"/>
                  <a:pt x="40" y="25"/>
                </a:cubicBezTo>
                <a:cubicBezTo>
                  <a:pt x="40" y="25"/>
                  <a:pt x="40" y="25"/>
                  <a:pt x="40" y="25"/>
                </a:cubicBezTo>
                <a:cubicBezTo>
                  <a:pt x="36" y="25"/>
                  <a:pt x="36" y="25"/>
                  <a:pt x="36" y="25"/>
                </a:cubicBezTo>
                <a:cubicBezTo>
                  <a:pt x="35" y="25"/>
                  <a:pt x="35" y="25"/>
                  <a:pt x="35" y="26"/>
                </a:cubicBezTo>
                <a:cubicBezTo>
                  <a:pt x="35" y="56"/>
                  <a:pt x="35" y="56"/>
                  <a:pt x="35" y="56"/>
                </a:cubicBezTo>
                <a:cubicBezTo>
                  <a:pt x="33" y="57"/>
                  <a:pt x="30" y="56"/>
                  <a:pt x="28" y="56"/>
                </a:cubicBezTo>
                <a:cubicBezTo>
                  <a:pt x="29" y="57"/>
                  <a:pt x="28" y="59"/>
                  <a:pt x="29" y="59"/>
                </a:cubicBezTo>
                <a:cubicBezTo>
                  <a:pt x="30" y="60"/>
                  <a:pt x="30" y="60"/>
                  <a:pt x="30" y="61"/>
                </a:cubicBezTo>
                <a:cubicBezTo>
                  <a:pt x="30" y="64"/>
                  <a:pt x="30" y="64"/>
                  <a:pt x="30" y="64"/>
                </a:cubicBezTo>
                <a:cubicBezTo>
                  <a:pt x="29" y="64"/>
                  <a:pt x="28" y="64"/>
                  <a:pt x="27" y="64"/>
                </a:cubicBezTo>
                <a:cubicBezTo>
                  <a:pt x="27" y="70"/>
                  <a:pt x="27" y="70"/>
                  <a:pt x="27" y="70"/>
                </a:cubicBezTo>
                <a:cubicBezTo>
                  <a:pt x="26" y="70"/>
                  <a:pt x="25" y="70"/>
                  <a:pt x="23" y="70"/>
                </a:cubicBezTo>
                <a:cubicBezTo>
                  <a:pt x="23" y="74"/>
                  <a:pt x="23" y="74"/>
                  <a:pt x="19" y="74"/>
                </a:cubicBezTo>
                <a:cubicBezTo>
                  <a:pt x="16" y="74"/>
                  <a:pt x="14" y="74"/>
                  <a:pt x="12" y="74"/>
                </a:cubicBezTo>
                <a:cubicBezTo>
                  <a:pt x="11" y="75"/>
                  <a:pt x="11" y="76"/>
                  <a:pt x="11" y="76"/>
                </a:cubicBezTo>
                <a:cubicBezTo>
                  <a:pt x="1" y="76"/>
                  <a:pt x="1" y="76"/>
                  <a:pt x="1" y="76"/>
                </a:cubicBezTo>
                <a:cubicBezTo>
                  <a:pt x="1" y="79"/>
                  <a:pt x="1" y="82"/>
                  <a:pt x="1" y="85"/>
                </a:cubicBezTo>
                <a:cubicBezTo>
                  <a:pt x="0" y="89"/>
                  <a:pt x="3" y="91"/>
                  <a:pt x="6" y="93"/>
                </a:cubicBezTo>
                <a:cubicBezTo>
                  <a:pt x="8" y="94"/>
                  <a:pt x="15" y="98"/>
                  <a:pt x="18" y="100"/>
                </a:cubicBezTo>
                <a:cubicBezTo>
                  <a:pt x="19" y="100"/>
                  <a:pt x="18" y="102"/>
                  <a:pt x="18" y="103"/>
                </a:cubicBezTo>
                <a:cubicBezTo>
                  <a:pt x="18" y="105"/>
                  <a:pt x="15" y="103"/>
                  <a:pt x="14" y="104"/>
                </a:cubicBezTo>
                <a:cubicBezTo>
                  <a:pt x="14" y="112"/>
                  <a:pt x="14" y="112"/>
                  <a:pt x="14" y="112"/>
                </a:cubicBezTo>
                <a:cubicBezTo>
                  <a:pt x="17" y="112"/>
                  <a:pt x="20" y="112"/>
                  <a:pt x="23" y="112"/>
                </a:cubicBezTo>
                <a:cubicBezTo>
                  <a:pt x="23" y="112"/>
                  <a:pt x="24" y="112"/>
                  <a:pt x="24" y="111"/>
                </a:cubicBezTo>
                <a:cubicBezTo>
                  <a:pt x="24" y="108"/>
                  <a:pt x="25" y="103"/>
                  <a:pt x="22" y="102"/>
                </a:cubicBezTo>
                <a:cubicBezTo>
                  <a:pt x="22" y="102"/>
                  <a:pt x="22" y="102"/>
                  <a:pt x="22" y="101"/>
                </a:cubicBezTo>
                <a:cubicBezTo>
                  <a:pt x="23" y="101"/>
                  <a:pt x="28" y="103"/>
                  <a:pt x="30" y="104"/>
                </a:cubicBezTo>
                <a:cubicBezTo>
                  <a:pt x="32" y="104"/>
                  <a:pt x="34" y="109"/>
                  <a:pt x="33" y="111"/>
                </a:cubicBezTo>
                <a:cubicBezTo>
                  <a:pt x="32" y="112"/>
                  <a:pt x="33" y="114"/>
                  <a:pt x="34" y="114"/>
                </a:cubicBezTo>
                <a:cubicBezTo>
                  <a:pt x="40" y="115"/>
                  <a:pt x="446" y="126"/>
                  <a:pt x="467" y="126"/>
                </a:cubicBezTo>
                <a:cubicBezTo>
                  <a:pt x="472" y="126"/>
                  <a:pt x="474" y="120"/>
                  <a:pt x="475" y="114"/>
                </a:cubicBezTo>
                <a:cubicBezTo>
                  <a:pt x="476" y="110"/>
                  <a:pt x="474" y="107"/>
                  <a:pt x="470" y="105"/>
                </a:cubicBezTo>
              </a:path>
            </a:pathLst>
          </a:cu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>
              <a:solidFill>
                <a:srgbClr val="3C3C3C"/>
              </a:solidFill>
              <a:latin typeface="Arial"/>
            </a:endParaRPr>
          </a:p>
        </p:txBody>
      </p:sp>
      <p:sp>
        <p:nvSpPr>
          <p:cNvPr id="331" name="Прямоугольник 330"/>
          <p:cNvSpPr/>
          <p:nvPr/>
        </p:nvSpPr>
        <p:spPr>
          <a:xfrm>
            <a:off x="1847292" y="3977292"/>
            <a:ext cx="4250531" cy="32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tx1"/>
                </a:solidFill>
                <a:latin typeface="DINPro-Regular" panose="02000503030000020004" pitchFamily="50" charset="0"/>
              </a:rPr>
              <a:t>Проблематика</a:t>
            </a:r>
          </a:p>
          <a:p>
            <a:endParaRPr lang="ru-RU" dirty="0">
              <a:solidFill>
                <a:schemeClr val="tx1"/>
              </a:solidFill>
              <a:latin typeface="DINPro-Regular" panose="02000503030000020004" pitchFamily="50" charset="0"/>
            </a:endParaRPr>
          </a:p>
        </p:txBody>
      </p:sp>
      <p:sp>
        <p:nvSpPr>
          <p:cNvPr id="332" name="Прямоугольник 331"/>
          <p:cNvSpPr/>
          <p:nvPr/>
        </p:nvSpPr>
        <p:spPr>
          <a:xfrm>
            <a:off x="7085822" y="3886486"/>
            <a:ext cx="3688304" cy="32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tx1"/>
                </a:solidFill>
                <a:latin typeface="DINPro-Regular" panose="02000503030000020004" pitchFamily="50" charset="0"/>
              </a:rPr>
              <a:t>Предложения</a:t>
            </a:r>
          </a:p>
        </p:txBody>
      </p:sp>
      <p:sp>
        <p:nvSpPr>
          <p:cNvPr id="333" name="trian16_2_solid"/>
          <p:cNvSpPr/>
          <p:nvPr/>
        </p:nvSpPr>
        <p:spPr>
          <a:xfrm>
            <a:off x="6703833" y="5119853"/>
            <a:ext cx="283347" cy="351824"/>
          </a:xfrm>
          <a:prstGeom prst="chevron">
            <a:avLst>
              <a:gd name="adj" fmla="val 54096"/>
            </a:avLst>
          </a:prstGeom>
          <a:solidFill>
            <a:srgbClr val="00569B"/>
          </a:solidFill>
          <a:ln>
            <a:solidFill>
              <a:srgbClr val="00569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7" name="Прямоугольник 126"/>
          <p:cNvSpPr/>
          <p:nvPr/>
        </p:nvSpPr>
        <p:spPr>
          <a:xfrm>
            <a:off x="1847292" y="4276777"/>
            <a:ext cx="4702951" cy="21236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ru-RU" sz="1200" dirty="0"/>
              <a:t>Нет ТТ, ТЗ, т.к. законодательно не определены требования в части точности </a:t>
            </a:r>
            <a:r>
              <a:rPr lang="ru-RU" sz="1200"/>
              <a:t>определения количества НС</a:t>
            </a:r>
            <a:endParaRPr lang="ru-RU" sz="1200" dirty="0"/>
          </a:p>
          <a:p>
            <a:pPr marL="228600" indent="-228600">
              <a:buAutoNum type="arabicPeriod"/>
            </a:pPr>
            <a:r>
              <a:rPr lang="ru-RU" sz="1200" dirty="0"/>
              <a:t>Монтаж необходимо провести в период капитального ремонта установки (в учётом существующего межремонтного цикла)</a:t>
            </a:r>
          </a:p>
          <a:p>
            <a:pPr marL="228600" indent="-228600">
              <a:buAutoNum type="arabicPeriod"/>
            </a:pPr>
            <a:r>
              <a:rPr lang="ru-RU" sz="1200" dirty="0"/>
              <a:t>В случае специального останова для монтажа узлов учёта Компания несет потери, а рынок недополучает нефтепродукт</a:t>
            </a:r>
          </a:p>
          <a:p>
            <a:pPr marL="228600" indent="-228600">
              <a:buAutoNum type="arabicPeriod"/>
            </a:pPr>
            <a:r>
              <a:rPr lang="ru-RU" sz="1200" dirty="0"/>
              <a:t>Необходимо реализовывать проект в сжатые сроки</a:t>
            </a:r>
          </a:p>
          <a:p>
            <a:pPr marL="228600" indent="-228600">
              <a:buAutoNum type="arabicPeriod"/>
            </a:pPr>
            <a:r>
              <a:rPr lang="ru-RU" sz="1200" dirty="0"/>
              <a:t>Необходимо оценить заложенные в проекте изменений Приказа №179  показатели точности для вакуумного газойля и гудрона, т.к. НС – это нефть, газовый конденсат стабильный, мазут, вакуумный газойль* и гудрон* (* - при определенных условиях)</a:t>
            </a:r>
          </a:p>
        </p:txBody>
      </p:sp>
      <p:sp>
        <p:nvSpPr>
          <p:cNvPr id="336" name="Прямоугольник 335"/>
          <p:cNvSpPr/>
          <p:nvPr/>
        </p:nvSpPr>
        <p:spPr>
          <a:xfrm>
            <a:off x="7140770" y="4276778"/>
            <a:ext cx="3148859" cy="138499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ru-RU" sz="1200" dirty="0"/>
              <a:t>Установить показатели точности и методы измерения НС (для каждого вида НС) в рамках Приказа №179 МЭ РФ</a:t>
            </a:r>
          </a:p>
          <a:p>
            <a:pPr marL="228600" indent="-228600">
              <a:buAutoNum type="arabicPeriod"/>
            </a:pPr>
            <a:r>
              <a:rPr lang="ru-RU" sz="1200" dirty="0"/>
              <a:t>Рассмотреть возможность продления срока действия Порядка МЭ РФ</a:t>
            </a:r>
          </a:p>
          <a:p>
            <a:pPr marL="228600" indent="-228600">
              <a:buAutoNum type="arabicPeriod"/>
            </a:pPr>
            <a:r>
              <a:rPr lang="ru-RU" sz="1200" dirty="0"/>
              <a:t>Внести данные предложения в резолюцию конференции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50879" y="2301045"/>
            <a:ext cx="8652677" cy="1261409"/>
          </a:xfrm>
          <a:prstGeom prst="rect">
            <a:avLst/>
          </a:prstGeom>
          <a:solidFill>
            <a:schemeClr val="accent6">
              <a:alpha val="11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ru-RU" sz="1600" b="1" dirty="0">
                <a:solidFill>
                  <a:schemeClr val="tx1"/>
                </a:solidFill>
                <a:latin typeface="DINPro-Regular" panose="02000503030000020004" pitchFamily="50" charset="0"/>
              </a:rPr>
              <a:t>Задачи в рамках реализации проекта </a:t>
            </a:r>
            <a:endParaRPr lang="ru-RU" sz="1600" b="1" baseline="30000" dirty="0">
              <a:solidFill>
                <a:schemeClr val="tx1"/>
              </a:solidFill>
              <a:latin typeface="DINPro-Regular" panose="02000503030000020004" pitchFamily="50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1710265" y="1587772"/>
            <a:ext cx="933450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Разработка ТТ, ТЗ</a:t>
            </a:r>
          </a:p>
        </p:txBody>
      </p:sp>
      <p:sp>
        <p:nvSpPr>
          <p:cNvPr id="97" name="Прямоугольник 96"/>
          <p:cNvSpPr/>
          <p:nvPr/>
        </p:nvSpPr>
        <p:spPr>
          <a:xfrm>
            <a:off x="2560284" y="1645621"/>
            <a:ext cx="1344100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Выбор исполнителя ПИР</a:t>
            </a:r>
          </a:p>
        </p:txBody>
      </p:sp>
      <p:sp>
        <p:nvSpPr>
          <p:cNvPr id="98" name="Прямоугольник 97"/>
          <p:cNvSpPr/>
          <p:nvPr/>
        </p:nvSpPr>
        <p:spPr>
          <a:xfrm>
            <a:off x="9267028" y="1666122"/>
            <a:ext cx="14939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Ввод в ПЭ до 31.12.2021г.</a:t>
            </a:r>
          </a:p>
        </p:txBody>
      </p:sp>
      <p:sp>
        <p:nvSpPr>
          <p:cNvPr id="99" name="Bar4_1_solid"/>
          <p:cNvSpPr>
            <a:spLocks noChangeAspect="1"/>
          </p:cNvSpPr>
          <p:nvPr/>
        </p:nvSpPr>
        <p:spPr>
          <a:xfrm>
            <a:off x="6385615" y="2033408"/>
            <a:ext cx="551070" cy="550464"/>
          </a:xfrm>
          <a:prstGeom prst="ellipse">
            <a:avLst/>
          </a:prstGeom>
          <a:solidFill>
            <a:srgbClr val="00569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norm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DINPro-Regular" panose="02000503030000020004" pitchFamily="50" charset="0"/>
              </a:rPr>
              <a:t>5</a:t>
            </a:r>
          </a:p>
        </p:txBody>
      </p:sp>
      <p:sp>
        <p:nvSpPr>
          <p:cNvPr id="100" name="Bar4_1_solid"/>
          <p:cNvSpPr>
            <a:spLocks noChangeAspect="1"/>
          </p:cNvSpPr>
          <p:nvPr/>
        </p:nvSpPr>
        <p:spPr>
          <a:xfrm>
            <a:off x="7540176" y="2025812"/>
            <a:ext cx="551070" cy="55046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norm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DINPro-Regular" panose="02000503030000020004" pitchFamily="50" charset="0"/>
              </a:rPr>
              <a:t>6</a:t>
            </a:r>
          </a:p>
        </p:txBody>
      </p:sp>
      <p:sp>
        <p:nvSpPr>
          <p:cNvPr id="101" name="Bar4_1_solid"/>
          <p:cNvSpPr>
            <a:spLocks noChangeAspect="1"/>
          </p:cNvSpPr>
          <p:nvPr/>
        </p:nvSpPr>
        <p:spPr>
          <a:xfrm>
            <a:off x="1850879" y="2022791"/>
            <a:ext cx="551070" cy="55046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norm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DINPro-Regular" panose="02000503030000020004" pitchFamily="50" charset="0"/>
              </a:rPr>
              <a:t>1</a:t>
            </a:r>
          </a:p>
        </p:txBody>
      </p:sp>
      <p:sp>
        <p:nvSpPr>
          <p:cNvPr id="102" name="Bar4_1_solid"/>
          <p:cNvSpPr>
            <a:spLocks noChangeAspect="1"/>
          </p:cNvSpPr>
          <p:nvPr/>
        </p:nvSpPr>
        <p:spPr>
          <a:xfrm>
            <a:off x="2956799" y="2033408"/>
            <a:ext cx="551070" cy="550464"/>
          </a:xfrm>
          <a:prstGeom prst="ellipse">
            <a:avLst/>
          </a:prstGeom>
          <a:solidFill>
            <a:srgbClr val="00569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norm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DINPro-Regular" panose="02000503030000020004" pitchFamily="50" charset="0"/>
              </a:rPr>
              <a:t>2</a:t>
            </a:r>
          </a:p>
        </p:txBody>
      </p:sp>
      <p:sp>
        <p:nvSpPr>
          <p:cNvPr id="103" name="Bar4_1_solid"/>
          <p:cNvSpPr>
            <a:spLocks noChangeAspect="1"/>
          </p:cNvSpPr>
          <p:nvPr/>
        </p:nvSpPr>
        <p:spPr>
          <a:xfrm>
            <a:off x="4129625" y="2041227"/>
            <a:ext cx="551070" cy="550464"/>
          </a:xfrm>
          <a:prstGeom prst="ellipse">
            <a:avLst/>
          </a:prstGeom>
          <a:solidFill>
            <a:srgbClr val="00569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norm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DINPro-Regular" panose="02000503030000020004" pitchFamily="50" charset="0"/>
              </a:rPr>
              <a:t>3</a:t>
            </a:r>
          </a:p>
        </p:txBody>
      </p:sp>
      <p:sp>
        <p:nvSpPr>
          <p:cNvPr id="104" name="Bar4_1_solid"/>
          <p:cNvSpPr>
            <a:spLocks noChangeAspect="1"/>
          </p:cNvSpPr>
          <p:nvPr/>
        </p:nvSpPr>
        <p:spPr>
          <a:xfrm>
            <a:off x="5242147" y="2041227"/>
            <a:ext cx="551070" cy="550464"/>
          </a:xfrm>
          <a:prstGeom prst="ellipse">
            <a:avLst/>
          </a:prstGeom>
          <a:solidFill>
            <a:srgbClr val="00569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norm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DINPro-Regular" panose="02000503030000020004" pitchFamily="50" charset="0"/>
              </a:rPr>
              <a:t>4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3597342" y="1648127"/>
            <a:ext cx="1344100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ПИР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4858012" y="1630453"/>
            <a:ext cx="14939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Выбор поставщиков оборудования</a:t>
            </a:r>
          </a:p>
        </p:txBody>
      </p:sp>
      <p:sp>
        <p:nvSpPr>
          <p:cNvPr id="107" name="Прямоугольник 106"/>
          <p:cNvSpPr/>
          <p:nvPr/>
        </p:nvSpPr>
        <p:spPr>
          <a:xfrm>
            <a:off x="5914198" y="1724064"/>
            <a:ext cx="14939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Разработка ЭД</a:t>
            </a:r>
          </a:p>
        </p:txBody>
      </p:sp>
      <p:sp>
        <p:nvSpPr>
          <p:cNvPr id="108" name="Bar4_1_solid"/>
          <p:cNvSpPr>
            <a:spLocks noChangeAspect="1"/>
          </p:cNvSpPr>
          <p:nvPr/>
        </p:nvSpPr>
        <p:spPr>
          <a:xfrm>
            <a:off x="8795123" y="2035793"/>
            <a:ext cx="551070" cy="550464"/>
          </a:xfrm>
          <a:prstGeom prst="ellipse">
            <a:avLst/>
          </a:prstGeom>
          <a:solidFill>
            <a:srgbClr val="00569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norm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DINPro-Regular" panose="02000503030000020004" pitchFamily="50" charset="0"/>
              </a:rPr>
              <a:t>7</a:t>
            </a:r>
          </a:p>
        </p:txBody>
      </p:sp>
      <p:sp>
        <p:nvSpPr>
          <p:cNvPr id="113" name="Bar4_1_solid"/>
          <p:cNvSpPr>
            <a:spLocks noChangeAspect="1"/>
          </p:cNvSpPr>
          <p:nvPr/>
        </p:nvSpPr>
        <p:spPr>
          <a:xfrm>
            <a:off x="9912519" y="2033408"/>
            <a:ext cx="551070" cy="550464"/>
          </a:xfrm>
          <a:prstGeom prst="ellipse">
            <a:avLst/>
          </a:prstGeom>
          <a:solidFill>
            <a:srgbClr val="00569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norm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DINPro-Regular" panose="02000503030000020004" pitchFamily="50" charset="0"/>
              </a:rPr>
              <a:t>8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7035329" y="1688729"/>
            <a:ext cx="14939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Монтаж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8299867" y="1688729"/>
            <a:ext cx="14939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ПНР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1794111" y="2770367"/>
            <a:ext cx="933450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Экспертиза ТТ, ТЗ</a:t>
            </a:r>
          </a:p>
        </p:txBody>
      </p:sp>
      <p:cxnSp>
        <p:nvCxnSpPr>
          <p:cNvPr id="117" name="Прямая со стрелкой 116"/>
          <p:cNvCxnSpPr>
            <a:stCxn id="101" idx="6"/>
            <a:endCxn id="102" idx="2"/>
          </p:cNvCxnSpPr>
          <p:nvPr/>
        </p:nvCxnSpPr>
        <p:spPr>
          <a:xfrm>
            <a:off x="2401949" y="2298024"/>
            <a:ext cx="554850" cy="10617"/>
          </a:xfrm>
          <a:prstGeom prst="straightConnector1">
            <a:avLst/>
          </a:prstGeom>
          <a:ln w="19050">
            <a:solidFill>
              <a:srgbClr val="0056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 стрелкой 117"/>
          <p:cNvCxnSpPr>
            <a:stCxn id="102" idx="6"/>
            <a:endCxn id="103" idx="2"/>
          </p:cNvCxnSpPr>
          <p:nvPr/>
        </p:nvCxnSpPr>
        <p:spPr>
          <a:xfrm>
            <a:off x="3507869" y="2308641"/>
            <a:ext cx="621756" cy="7819"/>
          </a:xfrm>
          <a:prstGeom prst="straightConnector1">
            <a:avLst/>
          </a:prstGeom>
          <a:ln w="19050">
            <a:solidFill>
              <a:srgbClr val="0056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 стрелкой 118"/>
          <p:cNvCxnSpPr>
            <a:stCxn id="103" idx="6"/>
            <a:endCxn id="104" idx="2"/>
          </p:cNvCxnSpPr>
          <p:nvPr/>
        </p:nvCxnSpPr>
        <p:spPr>
          <a:xfrm>
            <a:off x="4680695" y="2316459"/>
            <a:ext cx="561452" cy="0"/>
          </a:xfrm>
          <a:prstGeom prst="straightConnector1">
            <a:avLst/>
          </a:prstGeom>
          <a:ln w="19050">
            <a:solidFill>
              <a:srgbClr val="0056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 стрелкой 119"/>
          <p:cNvCxnSpPr>
            <a:stCxn id="104" idx="6"/>
            <a:endCxn id="99" idx="2"/>
          </p:cNvCxnSpPr>
          <p:nvPr/>
        </p:nvCxnSpPr>
        <p:spPr>
          <a:xfrm flipV="1">
            <a:off x="5793217" y="2308641"/>
            <a:ext cx="592398" cy="7819"/>
          </a:xfrm>
          <a:prstGeom prst="straightConnector1">
            <a:avLst/>
          </a:prstGeom>
          <a:ln w="19050">
            <a:solidFill>
              <a:srgbClr val="0056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 стрелкой 120"/>
          <p:cNvCxnSpPr>
            <a:stCxn id="99" idx="6"/>
            <a:endCxn id="100" idx="2"/>
          </p:cNvCxnSpPr>
          <p:nvPr/>
        </p:nvCxnSpPr>
        <p:spPr>
          <a:xfrm flipV="1">
            <a:off x="6936686" y="2301044"/>
            <a:ext cx="603491" cy="7596"/>
          </a:xfrm>
          <a:prstGeom prst="straightConnector1">
            <a:avLst/>
          </a:prstGeom>
          <a:ln w="19050">
            <a:solidFill>
              <a:srgbClr val="0056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 стрелкой 121"/>
          <p:cNvCxnSpPr>
            <a:stCxn id="100" idx="6"/>
            <a:endCxn id="108" idx="2"/>
          </p:cNvCxnSpPr>
          <p:nvPr/>
        </p:nvCxnSpPr>
        <p:spPr>
          <a:xfrm>
            <a:off x="8091247" y="2301045"/>
            <a:ext cx="703877" cy="9981"/>
          </a:xfrm>
          <a:prstGeom prst="straightConnector1">
            <a:avLst/>
          </a:prstGeom>
          <a:ln w="19050">
            <a:solidFill>
              <a:srgbClr val="0056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 стрелкой 122"/>
          <p:cNvCxnSpPr>
            <a:stCxn id="108" idx="6"/>
            <a:endCxn id="113" idx="2"/>
          </p:cNvCxnSpPr>
          <p:nvPr/>
        </p:nvCxnSpPr>
        <p:spPr>
          <a:xfrm flipV="1">
            <a:off x="9346193" y="2308641"/>
            <a:ext cx="566326" cy="2385"/>
          </a:xfrm>
          <a:prstGeom prst="straightConnector1">
            <a:avLst/>
          </a:prstGeom>
          <a:ln w="19050">
            <a:solidFill>
              <a:srgbClr val="00569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Прямоугольник 123"/>
          <p:cNvSpPr/>
          <p:nvPr/>
        </p:nvSpPr>
        <p:spPr>
          <a:xfrm>
            <a:off x="2499976" y="2807993"/>
            <a:ext cx="14201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Техническая экспертиза предложений</a:t>
            </a:r>
          </a:p>
        </p:txBody>
      </p:sp>
      <p:sp>
        <p:nvSpPr>
          <p:cNvPr id="126" name="Прямоугольник 125"/>
          <p:cNvSpPr/>
          <p:nvPr/>
        </p:nvSpPr>
        <p:spPr>
          <a:xfrm>
            <a:off x="3631418" y="2770367"/>
            <a:ext cx="14201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Метрологическая экспертиза ПД, ТРП, РД</a:t>
            </a:r>
          </a:p>
        </p:txBody>
      </p:sp>
      <p:sp>
        <p:nvSpPr>
          <p:cNvPr id="128" name="Прямоугольник 127"/>
          <p:cNvSpPr/>
          <p:nvPr/>
        </p:nvSpPr>
        <p:spPr>
          <a:xfrm>
            <a:off x="4858012" y="2770367"/>
            <a:ext cx="14201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Техническая экспертиза предложений</a:t>
            </a:r>
          </a:p>
        </p:txBody>
      </p:sp>
      <p:sp>
        <p:nvSpPr>
          <p:cNvPr id="129" name="Прямоугольник 128"/>
          <p:cNvSpPr/>
          <p:nvPr/>
        </p:nvSpPr>
        <p:spPr>
          <a:xfrm>
            <a:off x="6029517" y="2808415"/>
            <a:ext cx="14201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Метрологическая экспертиза + разработка НМД </a:t>
            </a:r>
          </a:p>
        </p:txBody>
      </p:sp>
      <p:sp>
        <p:nvSpPr>
          <p:cNvPr id="131" name="Прямоугольник 130"/>
          <p:cNvSpPr/>
          <p:nvPr/>
        </p:nvSpPr>
        <p:spPr>
          <a:xfrm>
            <a:off x="7147898" y="2860231"/>
            <a:ext cx="14201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Контроль соблюдения требований по монтажу </a:t>
            </a:r>
          </a:p>
        </p:txBody>
      </p:sp>
      <p:sp>
        <p:nvSpPr>
          <p:cNvPr id="132" name="Прямоугольник 131"/>
          <p:cNvSpPr/>
          <p:nvPr/>
        </p:nvSpPr>
        <p:spPr>
          <a:xfrm>
            <a:off x="8336766" y="2821091"/>
            <a:ext cx="14201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Проведение ПНР, экспертная поддержка наладки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9436679" y="2799649"/>
            <a:ext cx="1420105" cy="368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  <a:latin typeface="DINPro-Regular" panose="02000503030000020004" pitchFamily="50" charset="0"/>
              </a:rPr>
              <a:t>Приемочные испытания</a:t>
            </a:r>
          </a:p>
        </p:txBody>
      </p:sp>
      <p:sp>
        <p:nvSpPr>
          <p:cNvPr id="134" name="Прямоугольник 133"/>
          <p:cNvSpPr/>
          <p:nvPr/>
        </p:nvSpPr>
        <p:spPr>
          <a:xfrm>
            <a:off x="1850879" y="1129762"/>
            <a:ext cx="8635942" cy="1172979"/>
          </a:xfrm>
          <a:prstGeom prst="rect">
            <a:avLst/>
          </a:prstGeom>
          <a:solidFill>
            <a:srgbClr val="2378D8">
              <a:alpha val="14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ru-RU" sz="1600" b="1" dirty="0">
                <a:solidFill>
                  <a:schemeClr val="tx1"/>
                </a:solidFill>
                <a:latin typeface="DINPro-Regular" panose="02000503030000020004" pitchFamily="50" charset="0"/>
              </a:rPr>
              <a:t>Этапы реализации проекта по оснащению (средний срок реализации 3 года)</a:t>
            </a:r>
          </a:p>
        </p:txBody>
      </p:sp>
      <p:sp>
        <p:nvSpPr>
          <p:cNvPr id="44" name="Picture165"/>
          <p:cNvSpPr>
            <a:spLocks/>
          </p:cNvSpPr>
          <p:nvPr/>
        </p:nvSpPr>
        <p:spPr bwMode="auto">
          <a:xfrm>
            <a:off x="1300001" y="4316284"/>
            <a:ext cx="504056" cy="417066"/>
          </a:xfrm>
          <a:custGeom>
            <a:avLst/>
            <a:gdLst>
              <a:gd name="T0" fmla="*/ 0 w 762"/>
              <a:gd name="T1" fmla="*/ 467 h 912"/>
              <a:gd name="T2" fmla="*/ 152 w 762"/>
              <a:gd name="T3" fmla="*/ 372 h 912"/>
              <a:gd name="T4" fmla="*/ 280 w 762"/>
              <a:gd name="T5" fmla="*/ 608 h 912"/>
              <a:gd name="T6" fmla="*/ 609 w 762"/>
              <a:gd name="T7" fmla="*/ 0 h 912"/>
              <a:gd name="T8" fmla="*/ 762 w 762"/>
              <a:gd name="T9" fmla="*/ 95 h 912"/>
              <a:gd name="T10" fmla="*/ 280 w 762"/>
              <a:gd name="T11" fmla="*/ 912 h 912"/>
              <a:gd name="T12" fmla="*/ 0 w 762"/>
              <a:gd name="T13" fmla="*/ 467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2" h="912">
                <a:moveTo>
                  <a:pt x="0" y="467"/>
                </a:moveTo>
                <a:lnTo>
                  <a:pt x="152" y="372"/>
                </a:lnTo>
                <a:lnTo>
                  <a:pt x="280" y="608"/>
                </a:lnTo>
                <a:lnTo>
                  <a:pt x="609" y="0"/>
                </a:lnTo>
                <a:lnTo>
                  <a:pt x="762" y="95"/>
                </a:lnTo>
                <a:lnTo>
                  <a:pt x="280" y="912"/>
                </a:lnTo>
                <a:lnTo>
                  <a:pt x="0" y="467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lIns="75613" tIns="37806" rIns="75613" bIns="37806"/>
          <a:lstStyle/>
          <a:p>
            <a:pPr>
              <a:defRPr/>
            </a:pPr>
            <a:endParaRPr lang="ru-RU" sz="1100"/>
          </a:p>
        </p:txBody>
      </p:sp>
      <p:sp>
        <p:nvSpPr>
          <p:cNvPr id="45" name="Picture165"/>
          <p:cNvSpPr>
            <a:spLocks/>
          </p:cNvSpPr>
          <p:nvPr/>
        </p:nvSpPr>
        <p:spPr bwMode="auto">
          <a:xfrm>
            <a:off x="10522098" y="4297332"/>
            <a:ext cx="504056" cy="417066"/>
          </a:xfrm>
          <a:custGeom>
            <a:avLst/>
            <a:gdLst>
              <a:gd name="T0" fmla="*/ 0 w 762"/>
              <a:gd name="T1" fmla="*/ 467 h 912"/>
              <a:gd name="T2" fmla="*/ 152 w 762"/>
              <a:gd name="T3" fmla="*/ 372 h 912"/>
              <a:gd name="T4" fmla="*/ 280 w 762"/>
              <a:gd name="T5" fmla="*/ 608 h 912"/>
              <a:gd name="T6" fmla="*/ 609 w 762"/>
              <a:gd name="T7" fmla="*/ 0 h 912"/>
              <a:gd name="T8" fmla="*/ 762 w 762"/>
              <a:gd name="T9" fmla="*/ 95 h 912"/>
              <a:gd name="T10" fmla="*/ 280 w 762"/>
              <a:gd name="T11" fmla="*/ 912 h 912"/>
              <a:gd name="T12" fmla="*/ 0 w 762"/>
              <a:gd name="T13" fmla="*/ 467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2" h="912">
                <a:moveTo>
                  <a:pt x="0" y="467"/>
                </a:moveTo>
                <a:lnTo>
                  <a:pt x="152" y="372"/>
                </a:lnTo>
                <a:lnTo>
                  <a:pt x="280" y="608"/>
                </a:lnTo>
                <a:lnTo>
                  <a:pt x="609" y="0"/>
                </a:lnTo>
                <a:lnTo>
                  <a:pt x="762" y="95"/>
                </a:lnTo>
                <a:lnTo>
                  <a:pt x="280" y="912"/>
                </a:lnTo>
                <a:lnTo>
                  <a:pt x="0" y="467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lIns="75613" tIns="37806" rIns="75613" bIns="37806"/>
          <a:lstStyle/>
          <a:p>
            <a:pPr>
              <a:defRPr/>
            </a:pPr>
            <a:endParaRPr lang="ru-RU" sz="1100"/>
          </a:p>
        </p:txBody>
      </p:sp>
    </p:spTree>
    <p:extLst>
      <p:ext uri="{BB962C8B-B14F-4D97-AF65-F5344CB8AC3E}">
        <p14:creationId xmlns:p14="http://schemas.microsoft.com/office/powerpoint/2010/main" val="2716583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Eg8k09ToSAyo36NU9E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cVwQB84kikGJtYJ7J4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Q7AHkNA0G624NstZtW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Q7AHkNA0G624NstZtW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L5LWuvtUqmfxJ2NZAR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JUFze83UuzOcvayR48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Ef5wC2NUiHE5494thU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cVwQB84kikGJtYJ7J4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Q7AHkNA0G624NstZtWu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L5LWuvtUqmfxJ2NZARt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JUFze83UuzOcvayR48r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cVwQB84kikGJtYJ7J4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651016A0-A3AF-40F6-9425-D72A16CB2CB7}" vid="{848BD82F-86D4-43BE-8936-4C6D72EDE432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pn_report</Template>
  <TotalTime>1923</TotalTime>
  <Words>1446</Words>
  <Application>Microsoft Office PowerPoint</Application>
  <PresentationFormat>Широкоэкранный</PresentationFormat>
  <Paragraphs>149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7</vt:i4>
      </vt:variant>
    </vt:vector>
  </HeadingPairs>
  <TitlesOfParts>
    <vt:vector size="19" baseType="lpstr">
      <vt:lpstr>Arial</vt:lpstr>
      <vt:lpstr>Calibri</vt:lpstr>
      <vt:lpstr>Calibri Light</vt:lpstr>
      <vt:lpstr>DINPro-Black</vt:lpstr>
      <vt:lpstr>DINPro-Regular</vt:lpstr>
      <vt:lpstr>Tahoma</vt:lpstr>
      <vt:lpstr>Times New Roman</vt:lpstr>
      <vt:lpstr>Wingdings</vt:lpstr>
      <vt:lpstr>gpn_report</vt:lpstr>
      <vt:lpstr>Тема Office</vt:lpstr>
      <vt:lpstr>think-cell Slide</vt:lpstr>
      <vt:lpstr>Acrobat Document</vt:lpstr>
      <vt:lpstr>Взаимодействия ПАО «Газпром нефть» в сфере технического регулирования, стандартизации и аккредитации с  Гос.органами. </vt:lpstr>
      <vt:lpstr>Введение в действие ТР ЕАЭС 036/2016 "Требования к сжиженным углеводородным газам для использования их в качестве топлива"</vt:lpstr>
      <vt:lpstr> Принят Решением Совета ЕЭК от 3 марта 2017г. №19 Вступает в силу  с 2 июня 2021г. [при соблюдении  п.2 Решения] </vt:lpstr>
      <vt:lpstr>Актуальные вопросы внедрения ГОСТ ISO/IEC 17025-2019 </vt:lpstr>
      <vt:lpstr>Резюме раздела «Метрологическое обеспечение при определении количества нефтяного сырья, направленного на переработку, для исчисления акциза»</vt:lpstr>
      <vt:lpstr>Текущее и целевое состояние в части учёта нефтяного сырья</vt:lpstr>
      <vt:lpstr>Срок реализации проекта, проблематика и предложения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заимодействия ПАО «Газпром нефть» в сфере технического регулирования, стандартизации и аккредитации с  Гос.органами.</dc:title>
  <dc:creator>Моисеева Татьяна Николаевна</dc:creator>
  <cp:lastModifiedBy>Масленников Александр Геннадьевич</cp:lastModifiedBy>
  <cp:revision>100</cp:revision>
  <dcterms:created xsi:type="dcterms:W3CDTF">2019-09-12T06:22:20Z</dcterms:created>
  <dcterms:modified xsi:type="dcterms:W3CDTF">2019-10-11T10:41:34Z</dcterms:modified>
</cp:coreProperties>
</file>